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ov" ContentType="video/quicktime"/>
  <Default Extension="mp4" ContentType="video/mp4"/>
  <Default Extension="png" ContentType="image/png"/>
  <Default Extension="rels" ContentType="application/vnd.openxmlformats-package.relationships+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5.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6.xml" ContentType="application/vnd.openxmlformats-officedocument.them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0" r:id="rId1"/>
    <p:sldMasterId id="2147483791" r:id="rId2"/>
    <p:sldMasterId id="2147483810" r:id="rId3"/>
    <p:sldMasterId id="2147483822" r:id="rId4"/>
    <p:sldMasterId id="2147483846" r:id="rId5"/>
    <p:sldMasterId id="2147483871" r:id="rId6"/>
    <p:sldMasterId id="2147483886" r:id="rId7"/>
  </p:sldMasterIdLst>
  <p:notesMasterIdLst>
    <p:notesMasterId r:id="rId65"/>
  </p:notesMasterIdLst>
  <p:sldIdLst>
    <p:sldId id="266" r:id="rId8"/>
    <p:sldId id="267" r:id="rId9"/>
    <p:sldId id="492" r:id="rId10"/>
    <p:sldId id="377" r:id="rId11"/>
    <p:sldId id="311" r:id="rId12"/>
    <p:sldId id="309" r:id="rId13"/>
    <p:sldId id="292" r:id="rId14"/>
    <p:sldId id="305" r:id="rId15"/>
    <p:sldId id="271" r:id="rId16"/>
    <p:sldId id="306" r:id="rId17"/>
    <p:sldId id="313" r:id="rId18"/>
    <p:sldId id="318" r:id="rId19"/>
    <p:sldId id="331" r:id="rId20"/>
    <p:sldId id="291" r:id="rId21"/>
    <p:sldId id="283" r:id="rId22"/>
    <p:sldId id="359" r:id="rId23"/>
    <p:sldId id="336" r:id="rId24"/>
    <p:sldId id="357" r:id="rId25"/>
    <p:sldId id="380" r:id="rId26"/>
    <p:sldId id="379" r:id="rId27"/>
    <p:sldId id="373" r:id="rId28"/>
    <p:sldId id="367" r:id="rId29"/>
    <p:sldId id="368" r:id="rId30"/>
    <p:sldId id="369" r:id="rId31"/>
    <p:sldId id="370" r:id="rId32"/>
    <p:sldId id="372" r:id="rId33"/>
    <p:sldId id="382" r:id="rId34"/>
    <p:sldId id="360" r:id="rId35"/>
    <p:sldId id="383" r:id="rId36"/>
    <p:sldId id="393" r:id="rId37"/>
    <p:sldId id="394" r:id="rId38"/>
    <p:sldId id="395" r:id="rId39"/>
    <p:sldId id="396" r:id="rId40"/>
    <p:sldId id="321" r:id="rId41"/>
    <p:sldId id="397" r:id="rId42"/>
    <p:sldId id="384" r:id="rId43"/>
    <p:sldId id="385" r:id="rId44"/>
    <p:sldId id="386" r:id="rId45"/>
    <p:sldId id="387" r:id="rId46"/>
    <p:sldId id="388" r:id="rId47"/>
    <p:sldId id="389" r:id="rId48"/>
    <p:sldId id="390" r:id="rId49"/>
    <p:sldId id="391" r:id="rId50"/>
    <p:sldId id="392" r:id="rId51"/>
    <p:sldId id="361" r:id="rId52"/>
    <p:sldId id="356" r:id="rId53"/>
    <p:sldId id="362" r:id="rId54"/>
    <p:sldId id="493" r:id="rId55"/>
    <p:sldId id="363" r:id="rId56"/>
    <p:sldId id="364" r:id="rId57"/>
    <p:sldId id="365" r:id="rId58"/>
    <p:sldId id="366" r:id="rId59"/>
    <p:sldId id="355" r:id="rId60"/>
    <p:sldId id="494" r:id="rId61"/>
    <p:sldId id="495" r:id="rId62"/>
    <p:sldId id="497" r:id="rId63"/>
    <p:sldId id="496" r:id="rId64"/>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D012FE4-659C-4389-9AA6-A463BF60DBF7}" v="21" dt="2019-02-28T17:40:03.551"/>
    <p1510:client id="{29F8E214-DC05-4BDA-AFC6-C34781983719}" v="5" dt="2019-02-28T05:17:27.10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77025" autoAdjust="0"/>
  </p:normalViewPr>
  <p:slideViewPr>
    <p:cSldViewPr snapToGrid="0">
      <p:cViewPr varScale="1">
        <p:scale>
          <a:sx n="63" d="100"/>
          <a:sy n="63" d="100"/>
        </p:scale>
        <p:origin x="1982" y="48"/>
      </p:cViewPr>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slide" Target="slides/slide56.xml"/><Relationship Id="rId68" Type="http://schemas.openxmlformats.org/officeDocument/2006/relationships/theme" Target="theme/theme1.xml"/><Relationship Id="rId7" Type="http://schemas.openxmlformats.org/officeDocument/2006/relationships/slideMaster" Target="slideMasters/slideMaster7.xml"/><Relationship Id="rId71"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61" Type="http://schemas.openxmlformats.org/officeDocument/2006/relationships/slide" Target="slides/slide54.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tableStyles" Target="tableStyle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viewProps" Target="viewProp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dres Collazo" userId="911ef8bb-6c35-4086-8cc6-5ad780b3af69" providerId="ADAL" clId="{5BABA469-596F-4E58-A404-4E69473396BB}"/>
    <pc:docChg chg="custSel modSld">
      <pc:chgData name="Andres Collazo" userId="911ef8bb-6c35-4086-8cc6-5ad780b3af69" providerId="ADAL" clId="{5BABA469-596F-4E58-A404-4E69473396BB}" dt="2019-02-15T23:56:30.538" v="5" actId="20577"/>
      <pc:docMkLst>
        <pc:docMk/>
      </pc:docMkLst>
      <pc:sldChg chg="modSp">
        <pc:chgData name="Andres Collazo" userId="911ef8bb-6c35-4086-8cc6-5ad780b3af69" providerId="ADAL" clId="{5BABA469-596F-4E58-A404-4E69473396BB}" dt="2019-02-15T23:56:30.538" v="5" actId="20577"/>
        <pc:sldMkLst>
          <pc:docMk/>
          <pc:sldMk cId="2899681309" sldId="266"/>
        </pc:sldMkLst>
        <pc:spChg chg="mod">
          <ac:chgData name="Andres Collazo" userId="911ef8bb-6c35-4086-8cc6-5ad780b3af69" providerId="ADAL" clId="{5BABA469-596F-4E58-A404-4E69473396BB}" dt="2019-02-15T23:56:25.131" v="2" actId="20577"/>
          <ac:spMkLst>
            <pc:docMk/>
            <pc:sldMk cId="2899681309" sldId="266"/>
            <ac:spMk id="2" creationId="{00000000-0000-0000-0000-000000000000}"/>
          </ac:spMkLst>
        </pc:spChg>
        <pc:spChg chg="mod">
          <ac:chgData name="Andres Collazo" userId="911ef8bb-6c35-4086-8cc6-5ad780b3af69" providerId="ADAL" clId="{5BABA469-596F-4E58-A404-4E69473396BB}" dt="2019-02-15T23:56:30.538" v="5" actId="20577"/>
          <ac:spMkLst>
            <pc:docMk/>
            <pc:sldMk cId="2899681309" sldId="266"/>
            <ac:spMk id="3" creationId="{00000000-0000-0000-0000-000000000000}"/>
          </ac:spMkLst>
        </pc:spChg>
      </pc:sldChg>
    </pc:docChg>
  </pc:docChgLst>
  <pc:docChgLst>
    <pc:chgData name="Andres Collazo" userId="911ef8bb-6c35-4086-8cc6-5ad780b3af69" providerId="ADAL" clId="{29F8E214-DC05-4BDA-AFC6-C34781983719}"/>
    <pc:docChg chg="addSld delSld modSld delMainMaster">
      <pc:chgData name="Andres Collazo" userId="911ef8bb-6c35-4086-8cc6-5ad780b3af69" providerId="ADAL" clId="{29F8E214-DC05-4BDA-AFC6-C34781983719}" dt="2019-02-28T05:17:27.109" v="21"/>
      <pc:docMkLst>
        <pc:docMk/>
      </pc:docMkLst>
      <pc:sldChg chg="add del">
        <pc:chgData name="Andres Collazo" userId="911ef8bb-6c35-4086-8cc6-5ad780b3af69" providerId="ADAL" clId="{29F8E214-DC05-4BDA-AFC6-C34781983719}" dt="2019-02-28T05:17:27.109" v="21"/>
        <pc:sldMkLst>
          <pc:docMk/>
          <pc:sldMk cId="2401309505" sldId="355"/>
        </pc:sldMkLst>
      </pc:sldChg>
      <pc:sldChg chg="add del">
        <pc:chgData name="Andres Collazo" userId="911ef8bb-6c35-4086-8cc6-5ad780b3af69" providerId="ADAL" clId="{29F8E214-DC05-4BDA-AFC6-C34781983719}" dt="2019-02-28T05:17:27.109" v="21"/>
        <pc:sldMkLst>
          <pc:docMk/>
          <pc:sldMk cId="437233920" sldId="356"/>
        </pc:sldMkLst>
      </pc:sldChg>
      <pc:sldChg chg="del">
        <pc:chgData name="Andres Collazo" userId="911ef8bb-6c35-4086-8cc6-5ad780b3af69" providerId="ADAL" clId="{29F8E214-DC05-4BDA-AFC6-C34781983719}" dt="2019-02-28T05:17:17.013" v="5" actId="2696"/>
        <pc:sldMkLst>
          <pc:docMk/>
          <pc:sldMk cId="1238014683" sldId="358"/>
        </pc:sldMkLst>
      </pc:sldChg>
      <pc:sldChg chg="add del">
        <pc:chgData name="Andres Collazo" userId="911ef8bb-6c35-4086-8cc6-5ad780b3af69" providerId="ADAL" clId="{29F8E214-DC05-4BDA-AFC6-C34781983719}" dt="2019-02-28T05:17:27.109" v="21"/>
        <pc:sldMkLst>
          <pc:docMk/>
          <pc:sldMk cId="2754266784" sldId="362"/>
        </pc:sldMkLst>
      </pc:sldChg>
      <pc:sldChg chg="add del">
        <pc:chgData name="Andres Collazo" userId="911ef8bb-6c35-4086-8cc6-5ad780b3af69" providerId="ADAL" clId="{29F8E214-DC05-4BDA-AFC6-C34781983719}" dt="2019-02-28T05:17:27.109" v="21"/>
        <pc:sldMkLst>
          <pc:docMk/>
          <pc:sldMk cId="1722756263" sldId="363"/>
        </pc:sldMkLst>
      </pc:sldChg>
      <pc:sldChg chg="add del">
        <pc:chgData name="Andres Collazo" userId="911ef8bb-6c35-4086-8cc6-5ad780b3af69" providerId="ADAL" clId="{29F8E214-DC05-4BDA-AFC6-C34781983719}" dt="2019-02-28T05:17:27.109" v="21"/>
        <pc:sldMkLst>
          <pc:docMk/>
          <pc:sldMk cId="1566250032" sldId="364"/>
        </pc:sldMkLst>
      </pc:sldChg>
      <pc:sldChg chg="add del">
        <pc:chgData name="Andres Collazo" userId="911ef8bb-6c35-4086-8cc6-5ad780b3af69" providerId="ADAL" clId="{29F8E214-DC05-4BDA-AFC6-C34781983719}" dt="2019-02-28T05:17:27.109" v="21"/>
        <pc:sldMkLst>
          <pc:docMk/>
          <pc:sldMk cId="175677925" sldId="365"/>
        </pc:sldMkLst>
      </pc:sldChg>
      <pc:sldChg chg="add del">
        <pc:chgData name="Andres Collazo" userId="911ef8bb-6c35-4086-8cc6-5ad780b3af69" providerId="ADAL" clId="{29F8E214-DC05-4BDA-AFC6-C34781983719}" dt="2019-02-28T05:17:27.109" v="21"/>
        <pc:sldMkLst>
          <pc:docMk/>
          <pc:sldMk cId="3475665841" sldId="366"/>
        </pc:sldMkLst>
      </pc:sldChg>
      <pc:sldChg chg="del">
        <pc:chgData name="Andres Collazo" userId="911ef8bb-6c35-4086-8cc6-5ad780b3af69" providerId="ADAL" clId="{29F8E214-DC05-4BDA-AFC6-C34781983719}" dt="2019-02-28T05:17:16.675" v="1" actId="2696"/>
        <pc:sldMkLst>
          <pc:docMk/>
          <pc:sldMk cId="2401309505" sldId="376"/>
        </pc:sldMkLst>
      </pc:sldChg>
      <pc:sldChg chg="del">
        <pc:chgData name="Andres Collazo" userId="911ef8bb-6c35-4086-8cc6-5ad780b3af69" providerId="ADAL" clId="{29F8E214-DC05-4BDA-AFC6-C34781983719}" dt="2019-02-28T05:17:16.982" v="3" actId="2696"/>
        <pc:sldMkLst>
          <pc:docMk/>
          <pc:sldMk cId="1139891173" sldId="378"/>
        </pc:sldMkLst>
      </pc:sldChg>
      <pc:sldChg chg="del">
        <pc:chgData name="Andres Collazo" userId="911ef8bb-6c35-4086-8cc6-5ad780b3af69" providerId="ADAL" clId="{29F8E214-DC05-4BDA-AFC6-C34781983719}" dt="2019-02-28T05:17:16.891" v="2" actId="2696"/>
        <pc:sldMkLst>
          <pc:docMk/>
          <pc:sldMk cId="1791417817" sldId="398"/>
        </pc:sldMkLst>
      </pc:sldChg>
      <pc:sldChg chg="del">
        <pc:chgData name="Andres Collazo" userId="911ef8bb-6c35-4086-8cc6-5ad780b3af69" providerId="ADAL" clId="{29F8E214-DC05-4BDA-AFC6-C34781983719}" dt="2019-02-28T05:17:16.999" v="4" actId="2696"/>
        <pc:sldMkLst>
          <pc:docMk/>
          <pc:sldMk cId="3666735248" sldId="399"/>
        </pc:sldMkLst>
      </pc:sldChg>
      <pc:sldChg chg="del">
        <pc:chgData name="Andres Collazo" userId="911ef8bb-6c35-4086-8cc6-5ad780b3af69" providerId="ADAL" clId="{29F8E214-DC05-4BDA-AFC6-C34781983719}" dt="2019-02-28T05:17:17.044" v="6" actId="2696"/>
        <pc:sldMkLst>
          <pc:docMk/>
          <pc:sldMk cId="3439274488" sldId="400"/>
        </pc:sldMkLst>
      </pc:sldChg>
      <pc:sldChg chg="add">
        <pc:chgData name="Andres Collazo" userId="911ef8bb-6c35-4086-8cc6-5ad780b3af69" providerId="ADAL" clId="{29F8E214-DC05-4BDA-AFC6-C34781983719}" dt="2019-02-28T05:09:36.275" v="0"/>
        <pc:sldMkLst>
          <pc:docMk/>
          <pc:sldMk cId="721650715" sldId="492"/>
        </pc:sldMkLst>
      </pc:sldChg>
      <pc:sldChg chg="add del">
        <pc:chgData name="Andres Collazo" userId="911ef8bb-6c35-4086-8cc6-5ad780b3af69" providerId="ADAL" clId="{29F8E214-DC05-4BDA-AFC6-C34781983719}" dt="2019-02-28T05:17:27.109" v="21"/>
        <pc:sldMkLst>
          <pc:docMk/>
          <pc:sldMk cId="394301678" sldId="493"/>
        </pc:sldMkLst>
      </pc:sldChg>
      <pc:sldChg chg="add del">
        <pc:chgData name="Andres Collazo" userId="911ef8bb-6c35-4086-8cc6-5ad780b3af69" providerId="ADAL" clId="{29F8E214-DC05-4BDA-AFC6-C34781983719}" dt="2019-02-28T05:17:27.109" v="21"/>
        <pc:sldMkLst>
          <pc:docMk/>
          <pc:sldMk cId="1791417817" sldId="494"/>
        </pc:sldMkLst>
      </pc:sldChg>
      <pc:sldChg chg="add del">
        <pc:chgData name="Andres Collazo" userId="911ef8bb-6c35-4086-8cc6-5ad780b3af69" providerId="ADAL" clId="{29F8E214-DC05-4BDA-AFC6-C34781983719}" dt="2019-02-28T05:17:27.109" v="21"/>
        <pc:sldMkLst>
          <pc:docMk/>
          <pc:sldMk cId="66589664" sldId="495"/>
        </pc:sldMkLst>
      </pc:sldChg>
      <pc:sldChg chg="add del">
        <pc:chgData name="Andres Collazo" userId="911ef8bb-6c35-4086-8cc6-5ad780b3af69" providerId="ADAL" clId="{29F8E214-DC05-4BDA-AFC6-C34781983719}" dt="2019-02-28T05:17:27.109" v="21"/>
        <pc:sldMkLst>
          <pc:docMk/>
          <pc:sldMk cId="2410236468" sldId="496"/>
        </pc:sldMkLst>
      </pc:sldChg>
      <pc:sldMasterChg chg="del delSldLayout">
        <pc:chgData name="Andres Collazo" userId="911ef8bb-6c35-4086-8cc6-5ad780b3af69" providerId="ADAL" clId="{29F8E214-DC05-4BDA-AFC6-C34781983719}" dt="2019-02-28T05:17:17.069" v="18" actId="2696"/>
        <pc:sldMasterMkLst>
          <pc:docMk/>
          <pc:sldMasterMk cId="3290138858" sldId="2147483886"/>
        </pc:sldMasterMkLst>
        <pc:sldLayoutChg chg="del">
          <pc:chgData name="Andres Collazo" userId="911ef8bb-6c35-4086-8cc6-5ad780b3af69" providerId="ADAL" clId="{29F8E214-DC05-4BDA-AFC6-C34781983719}" dt="2019-02-28T05:17:17.045" v="7" actId="2696"/>
          <pc:sldLayoutMkLst>
            <pc:docMk/>
            <pc:sldMasterMk cId="3290138858" sldId="2147483886"/>
            <pc:sldLayoutMk cId="1275842358" sldId="2147483887"/>
          </pc:sldLayoutMkLst>
        </pc:sldLayoutChg>
        <pc:sldLayoutChg chg="del">
          <pc:chgData name="Andres Collazo" userId="911ef8bb-6c35-4086-8cc6-5ad780b3af69" providerId="ADAL" clId="{29F8E214-DC05-4BDA-AFC6-C34781983719}" dt="2019-02-28T05:17:17.047" v="8" actId="2696"/>
          <pc:sldLayoutMkLst>
            <pc:docMk/>
            <pc:sldMasterMk cId="3290138858" sldId="2147483886"/>
            <pc:sldLayoutMk cId="3778653720" sldId="2147483888"/>
          </pc:sldLayoutMkLst>
        </pc:sldLayoutChg>
        <pc:sldLayoutChg chg="del">
          <pc:chgData name="Andres Collazo" userId="911ef8bb-6c35-4086-8cc6-5ad780b3af69" providerId="ADAL" clId="{29F8E214-DC05-4BDA-AFC6-C34781983719}" dt="2019-02-28T05:17:17.048" v="9" actId="2696"/>
          <pc:sldLayoutMkLst>
            <pc:docMk/>
            <pc:sldMasterMk cId="3290138858" sldId="2147483886"/>
            <pc:sldLayoutMk cId="1258802863" sldId="2147483889"/>
          </pc:sldLayoutMkLst>
        </pc:sldLayoutChg>
        <pc:sldLayoutChg chg="del">
          <pc:chgData name="Andres Collazo" userId="911ef8bb-6c35-4086-8cc6-5ad780b3af69" providerId="ADAL" clId="{29F8E214-DC05-4BDA-AFC6-C34781983719}" dt="2019-02-28T05:17:17.050" v="10" actId="2696"/>
          <pc:sldLayoutMkLst>
            <pc:docMk/>
            <pc:sldMasterMk cId="3290138858" sldId="2147483886"/>
            <pc:sldLayoutMk cId="211673305" sldId="2147483890"/>
          </pc:sldLayoutMkLst>
        </pc:sldLayoutChg>
        <pc:sldLayoutChg chg="del">
          <pc:chgData name="Andres Collazo" userId="911ef8bb-6c35-4086-8cc6-5ad780b3af69" providerId="ADAL" clId="{29F8E214-DC05-4BDA-AFC6-C34781983719}" dt="2019-02-28T05:17:17.053" v="11" actId="2696"/>
          <pc:sldLayoutMkLst>
            <pc:docMk/>
            <pc:sldMasterMk cId="3290138858" sldId="2147483886"/>
            <pc:sldLayoutMk cId="1466127643" sldId="2147483891"/>
          </pc:sldLayoutMkLst>
        </pc:sldLayoutChg>
        <pc:sldLayoutChg chg="del">
          <pc:chgData name="Andres Collazo" userId="911ef8bb-6c35-4086-8cc6-5ad780b3af69" providerId="ADAL" clId="{29F8E214-DC05-4BDA-AFC6-C34781983719}" dt="2019-02-28T05:17:17.054" v="12" actId="2696"/>
          <pc:sldLayoutMkLst>
            <pc:docMk/>
            <pc:sldMasterMk cId="3290138858" sldId="2147483886"/>
            <pc:sldLayoutMk cId="3738641527" sldId="2147483892"/>
          </pc:sldLayoutMkLst>
        </pc:sldLayoutChg>
        <pc:sldLayoutChg chg="del">
          <pc:chgData name="Andres Collazo" userId="911ef8bb-6c35-4086-8cc6-5ad780b3af69" providerId="ADAL" clId="{29F8E214-DC05-4BDA-AFC6-C34781983719}" dt="2019-02-28T05:17:17.055" v="13" actId="2696"/>
          <pc:sldLayoutMkLst>
            <pc:docMk/>
            <pc:sldMasterMk cId="3290138858" sldId="2147483886"/>
            <pc:sldLayoutMk cId="3142577324" sldId="2147483893"/>
          </pc:sldLayoutMkLst>
        </pc:sldLayoutChg>
        <pc:sldLayoutChg chg="del">
          <pc:chgData name="Andres Collazo" userId="911ef8bb-6c35-4086-8cc6-5ad780b3af69" providerId="ADAL" clId="{29F8E214-DC05-4BDA-AFC6-C34781983719}" dt="2019-02-28T05:17:17.057" v="14" actId="2696"/>
          <pc:sldLayoutMkLst>
            <pc:docMk/>
            <pc:sldMasterMk cId="3290138858" sldId="2147483886"/>
            <pc:sldLayoutMk cId="429559849" sldId="2147483894"/>
          </pc:sldLayoutMkLst>
        </pc:sldLayoutChg>
        <pc:sldLayoutChg chg="del">
          <pc:chgData name="Andres Collazo" userId="911ef8bb-6c35-4086-8cc6-5ad780b3af69" providerId="ADAL" clId="{29F8E214-DC05-4BDA-AFC6-C34781983719}" dt="2019-02-28T05:17:17.059" v="15" actId="2696"/>
          <pc:sldLayoutMkLst>
            <pc:docMk/>
            <pc:sldMasterMk cId="3290138858" sldId="2147483886"/>
            <pc:sldLayoutMk cId="548066811" sldId="2147483895"/>
          </pc:sldLayoutMkLst>
        </pc:sldLayoutChg>
        <pc:sldLayoutChg chg="del">
          <pc:chgData name="Andres Collazo" userId="911ef8bb-6c35-4086-8cc6-5ad780b3af69" providerId="ADAL" clId="{29F8E214-DC05-4BDA-AFC6-C34781983719}" dt="2019-02-28T05:17:17.060" v="16" actId="2696"/>
          <pc:sldLayoutMkLst>
            <pc:docMk/>
            <pc:sldMasterMk cId="3290138858" sldId="2147483886"/>
            <pc:sldLayoutMk cId="2183541705" sldId="2147483896"/>
          </pc:sldLayoutMkLst>
        </pc:sldLayoutChg>
        <pc:sldLayoutChg chg="del">
          <pc:chgData name="Andres Collazo" userId="911ef8bb-6c35-4086-8cc6-5ad780b3af69" providerId="ADAL" clId="{29F8E214-DC05-4BDA-AFC6-C34781983719}" dt="2019-02-28T05:17:17.061" v="17" actId="2696"/>
          <pc:sldLayoutMkLst>
            <pc:docMk/>
            <pc:sldMasterMk cId="3290138858" sldId="2147483886"/>
            <pc:sldLayoutMk cId="861514213" sldId="2147483897"/>
          </pc:sldLayoutMkLst>
        </pc:sldLayoutChg>
      </pc:sldMasterChg>
    </pc:docChg>
  </pc:docChgLst>
  <pc:docChgLst>
    <pc:chgData name="Andres Collazo" userId="911ef8bb-6c35-4086-8cc6-5ad780b3af69" providerId="ADAL" clId="{FD012FE4-659C-4389-9AA6-A463BF60DBF7}"/>
    <pc:docChg chg="custSel addSld delSld modSld sldOrd delMainMaster">
      <pc:chgData name="Andres Collazo" userId="911ef8bb-6c35-4086-8cc6-5ad780b3af69" providerId="ADAL" clId="{FD012FE4-659C-4389-9AA6-A463BF60DBF7}" dt="2019-02-28T16:23:49.715" v="116" actId="255"/>
      <pc:docMkLst>
        <pc:docMk/>
      </pc:docMkLst>
      <pc:sldChg chg="del">
        <pc:chgData name="Andres Collazo" userId="911ef8bb-6c35-4086-8cc6-5ad780b3af69" providerId="ADAL" clId="{FD012FE4-659C-4389-9AA6-A463BF60DBF7}" dt="2019-02-27T16:20:55.861" v="1" actId="2696"/>
        <pc:sldMkLst>
          <pc:docMk/>
          <pc:sldMk cId="3928462455" sldId="257"/>
        </pc:sldMkLst>
      </pc:sldChg>
      <pc:sldChg chg="del">
        <pc:chgData name="Andres Collazo" userId="911ef8bb-6c35-4086-8cc6-5ad780b3af69" providerId="ADAL" clId="{FD012FE4-659C-4389-9AA6-A463BF60DBF7}" dt="2019-02-27T16:20:55.865" v="2" actId="2696"/>
        <pc:sldMkLst>
          <pc:docMk/>
          <pc:sldMk cId="358704378" sldId="258"/>
        </pc:sldMkLst>
      </pc:sldChg>
      <pc:sldChg chg="del">
        <pc:chgData name="Andres Collazo" userId="911ef8bb-6c35-4086-8cc6-5ad780b3af69" providerId="ADAL" clId="{FD012FE4-659C-4389-9AA6-A463BF60DBF7}" dt="2019-02-27T16:20:55.870" v="3" actId="2696"/>
        <pc:sldMkLst>
          <pc:docMk/>
          <pc:sldMk cId="219308365" sldId="259"/>
        </pc:sldMkLst>
      </pc:sldChg>
      <pc:sldChg chg="del">
        <pc:chgData name="Andres Collazo" userId="911ef8bb-6c35-4086-8cc6-5ad780b3af69" providerId="ADAL" clId="{FD012FE4-659C-4389-9AA6-A463BF60DBF7}" dt="2019-02-27T16:20:55.903" v="20" actId="2696"/>
        <pc:sldMkLst>
          <pc:docMk/>
          <pc:sldMk cId="4085993289" sldId="260"/>
        </pc:sldMkLst>
      </pc:sldChg>
      <pc:sldChg chg="del">
        <pc:chgData name="Andres Collazo" userId="911ef8bb-6c35-4086-8cc6-5ad780b3af69" providerId="ADAL" clId="{FD012FE4-659C-4389-9AA6-A463BF60DBF7}" dt="2019-02-27T16:20:55.909" v="21" actId="2696"/>
        <pc:sldMkLst>
          <pc:docMk/>
          <pc:sldMk cId="509625509" sldId="261"/>
        </pc:sldMkLst>
      </pc:sldChg>
      <pc:sldChg chg="del">
        <pc:chgData name="Andres Collazo" userId="911ef8bb-6c35-4086-8cc6-5ad780b3af69" providerId="ADAL" clId="{FD012FE4-659C-4389-9AA6-A463BF60DBF7}" dt="2019-02-27T16:20:55.917" v="23" actId="2696"/>
        <pc:sldMkLst>
          <pc:docMk/>
          <pc:sldMk cId="2672775896" sldId="263"/>
        </pc:sldMkLst>
      </pc:sldChg>
      <pc:sldChg chg="del">
        <pc:chgData name="Andres Collazo" userId="911ef8bb-6c35-4086-8cc6-5ad780b3af69" providerId="ADAL" clId="{FD012FE4-659C-4389-9AA6-A463BF60DBF7}" dt="2019-02-27T16:20:55.925" v="24" actId="2696"/>
        <pc:sldMkLst>
          <pc:docMk/>
          <pc:sldMk cId="1604006894" sldId="264"/>
        </pc:sldMkLst>
      </pc:sldChg>
      <pc:sldChg chg="del">
        <pc:chgData name="Andres Collazo" userId="911ef8bb-6c35-4086-8cc6-5ad780b3af69" providerId="ADAL" clId="{FD012FE4-659C-4389-9AA6-A463BF60DBF7}" dt="2019-02-27T16:20:55.929" v="25" actId="2696"/>
        <pc:sldMkLst>
          <pc:docMk/>
          <pc:sldMk cId="2244534093" sldId="265"/>
        </pc:sldMkLst>
      </pc:sldChg>
      <pc:sldChg chg="modSp">
        <pc:chgData name="Andres Collazo" userId="911ef8bb-6c35-4086-8cc6-5ad780b3af69" providerId="ADAL" clId="{FD012FE4-659C-4389-9AA6-A463BF60DBF7}" dt="2019-02-28T16:13:04.552" v="85" actId="20577"/>
        <pc:sldMkLst>
          <pc:docMk/>
          <pc:sldMk cId="2899681309" sldId="266"/>
        </pc:sldMkLst>
        <pc:spChg chg="mod">
          <ac:chgData name="Andres Collazo" userId="911ef8bb-6c35-4086-8cc6-5ad780b3af69" providerId="ADAL" clId="{FD012FE4-659C-4389-9AA6-A463BF60DBF7}" dt="2019-02-28T16:13:04.552" v="85" actId="20577"/>
          <ac:spMkLst>
            <pc:docMk/>
            <pc:sldMk cId="2899681309" sldId="266"/>
            <ac:spMk id="3" creationId="{00000000-0000-0000-0000-000000000000}"/>
          </ac:spMkLst>
        </pc:spChg>
      </pc:sldChg>
      <pc:sldChg chg="modSp">
        <pc:chgData name="Andres Collazo" userId="911ef8bb-6c35-4086-8cc6-5ad780b3af69" providerId="ADAL" clId="{FD012FE4-659C-4389-9AA6-A463BF60DBF7}" dt="2019-02-28T16:12:58.189" v="84" actId="20577"/>
        <pc:sldMkLst>
          <pc:docMk/>
          <pc:sldMk cId="1643124458" sldId="267"/>
        </pc:sldMkLst>
        <pc:spChg chg="mod">
          <ac:chgData name="Andres Collazo" userId="911ef8bb-6c35-4086-8cc6-5ad780b3af69" providerId="ADAL" clId="{FD012FE4-659C-4389-9AA6-A463BF60DBF7}" dt="2019-02-28T16:12:58.189" v="84" actId="20577"/>
          <ac:spMkLst>
            <pc:docMk/>
            <pc:sldMk cId="1643124458" sldId="267"/>
            <ac:spMk id="2" creationId="{00000000-0000-0000-0000-000000000000}"/>
          </ac:spMkLst>
        </pc:spChg>
        <pc:spChg chg="mod">
          <ac:chgData name="Andres Collazo" userId="911ef8bb-6c35-4086-8cc6-5ad780b3af69" providerId="ADAL" clId="{FD012FE4-659C-4389-9AA6-A463BF60DBF7}" dt="2019-02-28T16:11:49.515" v="83" actId="20577"/>
          <ac:spMkLst>
            <pc:docMk/>
            <pc:sldMk cId="1643124458" sldId="267"/>
            <ac:spMk id="3" creationId="{00000000-0000-0000-0000-000000000000}"/>
          </ac:spMkLst>
        </pc:spChg>
      </pc:sldChg>
      <pc:sldChg chg="del">
        <pc:chgData name="Andres Collazo" userId="911ef8bb-6c35-4086-8cc6-5ad780b3af69" providerId="ADAL" clId="{FD012FE4-659C-4389-9AA6-A463BF60DBF7}" dt="2019-02-27T16:20:55.879" v="5" actId="2696"/>
        <pc:sldMkLst>
          <pc:docMk/>
          <pc:sldMk cId="71952764" sldId="300"/>
        </pc:sldMkLst>
      </pc:sldChg>
      <pc:sldChg chg="del">
        <pc:chgData name="Andres Collazo" userId="911ef8bb-6c35-4086-8cc6-5ad780b3af69" providerId="ADAL" clId="{FD012FE4-659C-4389-9AA6-A463BF60DBF7}" dt="2019-02-27T16:20:55.913" v="22" actId="2696"/>
        <pc:sldMkLst>
          <pc:docMk/>
          <pc:sldMk cId="3760608506" sldId="304"/>
        </pc:sldMkLst>
      </pc:sldChg>
      <pc:sldChg chg="add del">
        <pc:chgData name="Andres Collazo" userId="911ef8bb-6c35-4086-8cc6-5ad780b3af69" providerId="ADAL" clId="{FD012FE4-659C-4389-9AA6-A463BF60DBF7}" dt="2019-02-28T00:20:07.192" v="28"/>
        <pc:sldMkLst>
          <pc:docMk/>
          <pc:sldMk cId="1238014683" sldId="358"/>
        </pc:sldMkLst>
      </pc:sldChg>
      <pc:sldChg chg="modSp ord">
        <pc:chgData name="Andres Collazo" userId="911ef8bb-6c35-4086-8cc6-5ad780b3af69" providerId="ADAL" clId="{FD012FE4-659C-4389-9AA6-A463BF60DBF7}" dt="2019-02-28T16:23:49.715" v="116" actId="255"/>
        <pc:sldMkLst>
          <pc:docMk/>
          <pc:sldMk cId="4015183766" sldId="360"/>
        </pc:sldMkLst>
        <pc:spChg chg="mod">
          <ac:chgData name="Andres Collazo" userId="911ef8bb-6c35-4086-8cc6-5ad780b3af69" providerId="ADAL" clId="{FD012FE4-659C-4389-9AA6-A463BF60DBF7}" dt="2019-02-28T16:23:49.715" v="116" actId="255"/>
          <ac:spMkLst>
            <pc:docMk/>
            <pc:sldMk cId="4015183766" sldId="360"/>
            <ac:spMk id="2" creationId="{00000000-0000-0000-0000-000000000000}"/>
          </ac:spMkLst>
        </pc:spChg>
      </pc:sldChg>
      <pc:sldChg chg="modSp">
        <pc:chgData name="Andres Collazo" userId="911ef8bb-6c35-4086-8cc6-5ad780b3af69" providerId="ADAL" clId="{FD012FE4-659C-4389-9AA6-A463BF60DBF7}" dt="2019-02-28T16:10:14.783" v="49" actId="20577"/>
        <pc:sldMkLst>
          <pc:docMk/>
          <pc:sldMk cId="1338392125" sldId="361"/>
        </pc:sldMkLst>
        <pc:spChg chg="mod">
          <ac:chgData name="Andres Collazo" userId="911ef8bb-6c35-4086-8cc6-5ad780b3af69" providerId="ADAL" clId="{FD012FE4-659C-4389-9AA6-A463BF60DBF7}" dt="2019-02-28T16:09:37.463" v="33"/>
          <ac:spMkLst>
            <pc:docMk/>
            <pc:sldMk cId="1338392125" sldId="361"/>
            <ac:spMk id="2" creationId="{00000000-0000-0000-0000-000000000000}"/>
          </ac:spMkLst>
        </pc:spChg>
        <pc:spChg chg="mod">
          <ac:chgData name="Andres Collazo" userId="911ef8bb-6c35-4086-8cc6-5ad780b3af69" providerId="ADAL" clId="{FD012FE4-659C-4389-9AA6-A463BF60DBF7}" dt="2019-02-28T16:10:14.783" v="49" actId="20577"/>
          <ac:spMkLst>
            <pc:docMk/>
            <pc:sldMk cId="1338392125" sldId="361"/>
            <ac:spMk id="5" creationId="{00000000-0000-0000-0000-000000000000}"/>
          </ac:spMkLst>
        </pc:spChg>
      </pc:sldChg>
      <pc:sldChg chg="del">
        <pc:chgData name="Andres Collazo" userId="911ef8bb-6c35-4086-8cc6-5ad780b3af69" providerId="ADAL" clId="{FD012FE4-659C-4389-9AA6-A463BF60DBF7}" dt="2019-02-27T16:20:55.883" v="6" actId="2696"/>
        <pc:sldMkLst>
          <pc:docMk/>
          <pc:sldMk cId="964659789" sldId="366"/>
        </pc:sldMkLst>
      </pc:sldChg>
      <pc:sldChg chg="ord">
        <pc:chgData name="Andres Collazo" userId="911ef8bb-6c35-4086-8cc6-5ad780b3af69" providerId="ADAL" clId="{FD012FE4-659C-4389-9AA6-A463BF60DBF7}" dt="2019-02-28T16:21:51.249" v="114"/>
        <pc:sldMkLst>
          <pc:docMk/>
          <pc:sldMk cId="918156142" sldId="373"/>
        </pc:sldMkLst>
      </pc:sldChg>
      <pc:sldChg chg="del">
        <pc:chgData name="Andres Collazo" userId="911ef8bb-6c35-4086-8cc6-5ad780b3af69" providerId="ADAL" clId="{FD012FE4-659C-4389-9AA6-A463BF60DBF7}" dt="2019-02-27T16:20:55.874" v="4" actId="2696"/>
        <pc:sldMkLst>
          <pc:docMk/>
          <pc:sldMk cId="1922905571" sldId="375"/>
        </pc:sldMkLst>
      </pc:sldChg>
      <pc:sldChg chg="add del">
        <pc:chgData name="Andres Collazo" userId="911ef8bb-6c35-4086-8cc6-5ad780b3af69" providerId="ADAL" clId="{FD012FE4-659C-4389-9AA6-A463BF60DBF7}" dt="2019-02-28T00:20:07.192" v="28"/>
        <pc:sldMkLst>
          <pc:docMk/>
          <pc:sldMk cId="2401309505" sldId="376"/>
        </pc:sldMkLst>
      </pc:sldChg>
      <pc:sldChg chg="add del">
        <pc:chgData name="Andres Collazo" userId="911ef8bb-6c35-4086-8cc6-5ad780b3af69" providerId="ADAL" clId="{FD012FE4-659C-4389-9AA6-A463BF60DBF7}" dt="2019-02-28T00:20:07.192" v="28"/>
        <pc:sldMkLst>
          <pc:docMk/>
          <pc:sldMk cId="1139891173" sldId="378"/>
        </pc:sldMkLst>
      </pc:sldChg>
      <pc:sldChg chg="ord">
        <pc:chgData name="Andres Collazo" userId="911ef8bb-6c35-4086-8cc6-5ad780b3af69" providerId="ADAL" clId="{FD012FE4-659C-4389-9AA6-A463BF60DBF7}" dt="2019-02-28T16:17:18.789" v="86"/>
        <pc:sldMkLst>
          <pc:docMk/>
          <pc:sldMk cId="2976101110" sldId="379"/>
        </pc:sldMkLst>
      </pc:sldChg>
      <pc:sldChg chg="add del">
        <pc:chgData name="Andres Collazo" userId="911ef8bb-6c35-4086-8cc6-5ad780b3af69" providerId="ADAL" clId="{FD012FE4-659C-4389-9AA6-A463BF60DBF7}" dt="2019-02-28T00:20:07.192" v="28"/>
        <pc:sldMkLst>
          <pc:docMk/>
          <pc:sldMk cId="1791417817" sldId="398"/>
        </pc:sldMkLst>
      </pc:sldChg>
      <pc:sldChg chg="add del">
        <pc:chgData name="Andres Collazo" userId="911ef8bb-6c35-4086-8cc6-5ad780b3af69" providerId="ADAL" clId="{FD012FE4-659C-4389-9AA6-A463BF60DBF7}" dt="2019-02-28T00:20:07.192" v="28"/>
        <pc:sldMkLst>
          <pc:docMk/>
          <pc:sldMk cId="3666735248" sldId="399"/>
        </pc:sldMkLst>
      </pc:sldChg>
      <pc:sldChg chg="add del">
        <pc:chgData name="Andres Collazo" userId="911ef8bb-6c35-4086-8cc6-5ad780b3af69" providerId="ADAL" clId="{FD012FE4-659C-4389-9AA6-A463BF60DBF7}" dt="2019-02-28T00:20:07.192" v="28"/>
        <pc:sldMkLst>
          <pc:docMk/>
          <pc:sldMk cId="3439274488" sldId="400"/>
        </pc:sldMkLst>
      </pc:sldChg>
      <pc:sldChg chg="addSp delSp modSp add ord modNotesTx">
        <pc:chgData name="Andres Collazo" userId="911ef8bb-6c35-4086-8cc6-5ad780b3af69" providerId="ADAL" clId="{FD012FE4-659C-4389-9AA6-A463BF60DBF7}" dt="2019-02-28T16:20:06.308" v="113"/>
        <pc:sldMkLst>
          <pc:docMk/>
          <pc:sldMk cId="1932508081" sldId="497"/>
        </pc:sldMkLst>
        <pc:spChg chg="add del mod">
          <ac:chgData name="Andres Collazo" userId="911ef8bb-6c35-4086-8cc6-5ad780b3af69" providerId="ADAL" clId="{FD012FE4-659C-4389-9AA6-A463BF60DBF7}" dt="2019-02-28T16:18:54.008" v="89" actId="931"/>
          <ac:spMkLst>
            <pc:docMk/>
            <pc:sldMk cId="1932508081" sldId="497"/>
            <ac:spMk id="5" creationId="{9E497D5B-79F9-41BB-B747-05EF2255B225}"/>
          </ac:spMkLst>
        </pc:spChg>
        <pc:picChg chg="del">
          <ac:chgData name="Andres Collazo" userId="911ef8bb-6c35-4086-8cc6-5ad780b3af69" providerId="ADAL" clId="{FD012FE4-659C-4389-9AA6-A463BF60DBF7}" dt="2019-02-28T16:18:24.849" v="88" actId="478"/>
          <ac:picMkLst>
            <pc:docMk/>
            <pc:sldMk cId="1932508081" sldId="497"/>
            <ac:picMk id="4" creationId="{00000000-0000-0000-0000-000000000000}"/>
          </ac:picMkLst>
        </pc:picChg>
        <pc:picChg chg="add mod">
          <ac:chgData name="Andres Collazo" userId="911ef8bb-6c35-4086-8cc6-5ad780b3af69" providerId="ADAL" clId="{FD012FE4-659C-4389-9AA6-A463BF60DBF7}" dt="2019-02-28T16:18:54.008" v="89" actId="931"/>
          <ac:picMkLst>
            <pc:docMk/>
            <pc:sldMk cId="1932508081" sldId="497"/>
            <ac:picMk id="7" creationId="{9E92ACC5-4A8A-47BB-8158-B1BE2731C69D}"/>
          </ac:picMkLst>
        </pc:picChg>
      </pc:sldChg>
      <pc:sldMasterChg chg="del delSldLayout">
        <pc:chgData name="Andres Collazo" userId="911ef8bb-6c35-4086-8cc6-5ad780b3af69" providerId="ADAL" clId="{FD012FE4-659C-4389-9AA6-A463BF60DBF7}" dt="2019-02-27T16:20:55.897" v="19" actId="2696"/>
        <pc:sldMasterMkLst>
          <pc:docMk/>
          <pc:sldMasterMk cId="116445682" sldId="2147483778"/>
        </pc:sldMasterMkLst>
        <pc:sldLayoutChg chg="del">
          <pc:chgData name="Andres Collazo" userId="911ef8bb-6c35-4086-8cc6-5ad780b3af69" providerId="ADAL" clId="{FD012FE4-659C-4389-9AA6-A463BF60DBF7}" dt="2019-02-27T16:20:55.885" v="7" actId="2696"/>
          <pc:sldLayoutMkLst>
            <pc:docMk/>
            <pc:sldMasterMk cId="116445682" sldId="2147483778"/>
            <pc:sldLayoutMk cId="4199236910" sldId="2147483779"/>
          </pc:sldLayoutMkLst>
        </pc:sldLayoutChg>
        <pc:sldLayoutChg chg="del">
          <pc:chgData name="Andres Collazo" userId="911ef8bb-6c35-4086-8cc6-5ad780b3af69" providerId="ADAL" clId="{FD012FE4-659C-4389-9AA6-A463BF60DBF7}" dt="2019-02-27T16:20:55.886" v="8" actId="2696"/>
          <pc:sldLayoutMkLst>
            <pc:docMk/>
            <pc:sldMasterMk cId="116445682" sldId="2147483778"/>
            <pc:sldLayoutMk cId="1351608287" sldId="2147483780"/>
          </pc:sldLayoutMkLst>
        </pc:sldLayoutChg>
        <pc:sldLayoutChg chg="del">
          <pc:chgData name="Andres Collazo" userId="911ef8bb-6c35-4086-8cc6-5ad780b3af69" providerId="ADAL" clId="{FD012FE4-659C-4389-9AA6-A463BF60DBF7}" dt="2019-02-27T16:20:55.886" v="9" actId="2696"/>
          <pc:sldLayoutMkLst>
            <pc:docMk/>
            <pc:sldMasterMk cId="116445682" sldId="2147483778"/>
            <pc:sldLayoutMk cId="328224710" sldId="2147483781"/>
          </pc:sldLayoutMkLst>
        </pc:sldLayoutChg>
        <pc:sldLayoutChg chg="del">
          <pc:chgData name="Andres Collazo" userId="911ef8bb-6c35-4086-8cc6-5ad780b3af69" providerId="ADAL" clId="{FD012FE4-659C-4389-9AA6-A463BF60DBF7}" dt="2019-02-27T16:20:55.887" v="10" actId="2696"/>
          <pc:sldLayoutMkLst>
            <pc:docMk/>
            <pc:sldMasterMk cId="116445682" sldId="2147483778"/>
            <pc:sldLayoutMk cId="2310997803" sldId="2147483782"/>
          </pc:sldLayoutMkLst>
        </pc:sldLayoutChg>
        <pc:sldLayoutChg chg="del">
          <pc:chgData name="Andres Collazo" userId="911ef8bb-6c35-4086-8cc6-5ad780b3af69" providerId="ADAL" clId="{FD012FE4-659C-4389-9AA6-A463BF60DBF7}" dt="2019-02-27T16:20:55.889" v="11" actId="2696"/>
          <pc:sldLayoutMkLst>
            <pc:docMk/>
            <pc:sldMasterMk cId="116445682" sldId="2147483778"/>
            <pc:sldLayoutMk cId="3415556402" sldId="2147483783"/>
          </pc:sldLayoutMkLst>
        </pc:sldLayoutChg>
        <pc:sldLayoutChg chg="del">
          <pc:chgData name="Andres Collazo" userId="911ef8bb-6c35-4086-8cc6-5ad780b3af69" providerId="ADAL" clId="{FD012FE4-659C-4389-9AA6-A463BF60DBF7}" dt="2019-02-27T16:20:55.889" v="12" actId="2696"/>
          <pc:sldLayoutMkLst>
            <pc:docMk/>
            <pc:sldMasterMk cId="116445682" sldId="2147483778"/>
            <pc:sldLayoutMk cId="1473324226" sldId="2147483784"/>
          </pc:sldLayoutMkLst>
        </pc:sldLayoutChg>
        <pc:sldLayoutChg chg="del">
          <pc:chgData name="Andres Collazo" userId="911ef8bb-6c35-4086-8cc6-5ad780b3af69" providerId="ADAL" clId="{FD012FE4-659C-4389-9AA6-A463BF60DBF7}" dt="2019-02-27T16:20:55.890" v="13" actId="2696"/>
          <pc:sldLayoutMkLst>
            <pc:docMk/>
            <pc:sldMasterMk cId="116445682" sldId="2147483778"/>
            <pc:sldLayoutMk cId="1257435289" sldId="2147483785"/>
          </pc:sldLayoutMkLst>
        </pc:sldLayoutChg>
        <pc:sldLayoutChg chg="del">
          <pc:chgData name="Andres Collazo" userId="911ef8bb-6c35-4086-8cc6-5ad780b3af69" providerId="ADAL" clId="{FD012FE4-659C-4389-9AA6-A463BF60DBF7}" dt="2019-02-27T16:20:55.891" v="14" actId="2696"/>
          <pc:sldLayoutMkLst>
            <pc:docMk/>
            <pc:sldMasterMk cId="116445682" sldId="2147483778"/>
            <pc:sldLayoutMk cId="903700470" sldId="2147483786"/>
          </pc:sldLayoutMkLst>
        </pc:sldLayoutChg>
        <pc:sldLayoutChg chg="del">
          <pc:chgData name="Andres Collazo" userId="911ef8bb-6c35-4086-8cc6-5ad780b3af69" providerId="ADAL" clId="{FD012FE4-659C-4389-9AA6-A463BF60DBF7}" dt="2019-02-27T16:20:55.892" v="15" actId="2696"/>
          <pc:sldLayoutMkLst>
            <pc:docMk/>
            <pc:sldMasterMk cId="116445682" sldId="2147483778"/>
            <pc:sldLayoutMk cId="271206201" sldId="2147483787"/>
          </pc:sldLayoutMkLst>
        </pc:sldLayoutChg>
        <pc:sldLayoutChg chg="del">
          <pc:chgData name="Andres Collazo" userId="911ef8bb-6c35-4086-8cc6-5ad780b3af69" providerId="ADAL" clId="{FD012FE4-659C-4389-9AA6-A463BF60DBF7}" dt="2019-02-27T16:20:55.893" v="16" actId="2696"/>
          <pc:sldLayoutMkLst>
            <pc:docMk/>
            <pc:sldMasterMk cId="116445682" sldId="2147483778"/>
            <pc:sldLayoutMk cId="1651721836" sldId="2147483788"/>
          </pc:sldLayoutMkLst>
        </pc:sldLayoutChg>
        <pc:sldLayoutChg chg="del">
          <pc:chgData name="Andres Collazo" userId="911ef8bb-6c35-4086-8cc6-5ad780b3af69" providerId="ADAL" clId="{FD012FE4-659C-4389-9AA6-A463BF60DBF7}" dt="2019-02-27T16:20:55.894" v="17" actId="2696"/>
          <pc:sldLayoutMkLst>
            <pc:docMk/>
            <pc:sldMasterMk cId="116445682" sldId="2147483778"/>
            <pc:sldLayoutMk cId="2764548426" sldId="2147483789"/>
          </pc:sldLayoutMkLst>
        </pc:sldLayoutChg>
        <pc:sldLayoutChg chg="del">
          <pc:chgData name="Andres Collazo" userId="911ef8bb-6c35-4086-8cc6-5ad780b3af69" providerId="ADAL" clId="{FD012FE4-659C-4389-9AA6-A463BF60DBF7}" dt="2019-02-27T16:20:55.895" v="18" actId="2696"/>
          <pc:sldLayoutMkLst>
            <pc:docMk/>
            <pc:sldMasterMk cId="116445682" sldId="2147483778"/>
            <pc:sldLayoutMk cId="1612065842" sldId="2147483790"/>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image" Target="../media/image24.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29.wmf"/><Relationship Id="rId1" Type="http://schemas.openxmlformats.org/officeDocument/2006/relationships/image" Target="../media/image28.w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5.w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5.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218608-BAF7-4346-96EE-659C3AE059FF}" type="datetimeFigureOut">
              <a:rPr lang="en-US" smtClean="0"/>
              <a:t>2/28/2019</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397BDA-7C5D-426B-8F63-5169389F863D}" type="slidenum">
              <a:rPr lang="en-US" smtClean="0"/>
              <a:t>‹#›</a:t>
            </a:fld>
            <a:endParaRPr lang="en-US"/>
          </a:p>
        </p:txBody>
      </p:sp>
    </p:spTree>
    <p:extLst>
      <p:ext uri="{BB962C8B-B14F-4D97-AF65-F5344CB8AC3E}">
        <p14:creationId xmlns:p14="http://schemas.microsoft.com/office/powerpoint/2010/main" val="21472286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8" Type="http://schemas.openxmlformats.org/officeDocument/2006/relationships/hyperlink" Target="http://en.wikipedia.org/wiki/Vertico_SMI" TargetMode="External"/><Relationship Id="rId13" Type="http://schemas.openxmlformats.org/officeDocument/2006/relationships/hyperlink" Target="http://en.wikipedia.org/wiki/Photoactivated_localization_microscopy" TargetMode="External"/><Relationship Id="rId3" Type="http://schemas.openxmlformats.org/officeDocument/2006/relationships/hyperlink" Target="http://en.wikipedia.org/wiki/Evanescent_waves" TargetMode="External"/><Relationship Id="rId7" Type="http://schemas.openxmlformats.org/officeDocument/2006/relationships/hyperlink" Target="http://en.wikipedia.org/wiki/4Pi_Microscope" TargetMode="External"/><Relationship Id="rId12" Type="http://schemas.openxmlformats.org/officeDocument/2006/relationships/hyperlink" Target="http://en.wikipedia.org/wiki/RESOLFT" TargetMode="External"/><Relationship Id="rId2" Type="http://schemas.openxmlformats.org/officeDocument/2006/relationships/slide" Target="../slides/slide20.xml"/><Relationship Id="rId1" Type="http://schemas.openxmlformats.org/officeDocument/2006/relationships/notesMaster" Target="../notesMasters/notesMaster1.xml"/><Relationship Id="rId6" Type="http://schemas.openxmlformats.org/officeDocument/2006/relationships/hyperlink" Target="http://en.wikipedia.org/wiki/Near_field_scanning_optical_microscopy" TargetMode="External"/><Relationship Id="rId11" Type="http://schemas.openxmlformats.org/officeDocument/2006/relationships/hyperlink" Target="http://en.wikipedia.org/wiki/GSD_microscopy" TargetMode="External"/><Relationship Id="rId5" Type="http://schemas.openxmlformats.org/officeDocument/2006/relationships/hyperlink" Target="http://en.wikipedia.org/wiki/Superlens" TargetMode="External"/><Relationship Id="rId10" Type="http://schemas.openxmlformats.org/officeDocument/2006/relationships/hyperlink" Target="http://en.wikipedia.org/wiki/STED_microscopy" TargetMode="External"/><Relationship Id="rId4" Type="http://schemas.openxmlformats.org/officeDocument/2006/relationships/hyperlink" Target="http://en.wikipedia.org/wiki/Super-resolution_microscopy#cite_note-2" TargetMode="External"/><Relationship Id="rId9" Type="http://schemas.openxmlformats.org/officeDocument/2006/relationships/hyperlink" Target="http://en.wikipedia.org/wiki/Fluorophores"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8" Type="http://schemas.openxmlformats.org/officeDocument/2006/relationships/hyperlink" Target="http://en.wikipedia.org/wiki/Vertico_SMI" TargetMode="External"/><Relationship Id="rId13" Type="http://schemas.openxmlformats.org/officeDocument/2006/relationships/hyperlink" Target="http://en.wikipedia.org/wiki/Photoactivated_localization_microscopy" TargetMode="External"/><Relationship Id="rId3" Type="http://schemas.openxmlformats.org/officeDocument/2006/relationships/hyperlink" Target="http://en.wikipedia.org/wiki/Evanescent_waves" TargetMode="External"/><Relationship Id="rId7" Type="http://schemas.openxmlformats.org/officeDocument/2006/relationships/hyperlink" Target="http://en.wikipedia.org/wiki/4Pi_Microscope" TargetMode="External"/><Relationship Id="rId12" Type="http://schemas.openxmlformats.org/officeDocument/2006/relationships/hyperlink" Target="http://en.wikipedia.org/wiki/RESOLFT"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en.wikipedia.org/wiki/Near_field_scanning_optical_microscopy" TargetMode="External"/><Relationship Id="rId11" Type="http://schemas.openxmlformats.org/officeDocument/2006/relationships/hyperlink" Target="http://en.wikipedia.org/wiki/GSD_microscopy" TargetMode="External"/><Relationship Id="rId5" Type="http://schemas.openxmlformats.org/officeDocument/2006/relationships/hyperlink" Target="http://en.wikipedia.org/wiki/Superlens" TargetMode="External"/><Relationship Id="rId10" Type="http://schemas.openxmlformats.org/officeDocument/2006/relationships/hyperlink" Target="http://en.wikipedia.org/wiki/STED_microscopy" TargetMode="External"/><Relationship Id="rId4" Type="http://schemas.openxmlformats.org/officeDocument/2006/relationships/hyperlink" Target="http://en.wikipedia.org/wiki/Super-resolution_microscopy#cite_note-2" TargetMode="External"/><Relationship Id="rId9" Type="http://schemas.openxmlformats.org/officeDocument/2006/relationships/hyperlink" Target="http://en.wikipedia.org/wiki/Fluorophores" TargetMode="Externa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elifesciences.org/content/5/e18659#fig4" TargetMode="External"/><Relationship Id="rId2" Type="http://schemas.openxmlformats.org/officeDocument/2006/relationships/slide" Target="../slides/slide55.xml"/><Relationship Id="rId1" Type="http://schemas.openxmlformats.org/officeDocument/2006/relationships/notesMaster" Target="../notesMasters/notesMaster1.xml"/><Relationship Id="rId5" Type="http://schemas.openxmlformats.org/officeDocument/2006/relationships/hyperlink" Target="https://elifesciences.org/content/5/e18659#fig4s2" TargetMode="External"/><Relationship Id="rId4" Type="http://schemas.openxmlformats.org/officeDocument/2006/relationships/hyperlink" Target="https://elifesciences.org/content/5/e18659#fig4s1" TargetMode="Externa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8" Type="http://schemas.openxmlformats.org/officeDocument/2006/relationships/hyperlink" Target="http://en.wikipedia.org/wiki/Vertico_SMI" TargetMode="External"/><Relationship Id="rId13" Type="http://schemas.openxmlformats.org/officeDocument/2006/relationships/hyperlink" Target="http://en.wikipedia.org/wiki/Photoactivated_localization_microscopy" TargetMode="External"/><Relationship Id="rId3" Type="http://schemas.openxmlformats.org/officeDocument/2006/relationships/hyperlink" Target="http://en.wikipedia.org/wiki/Evanescent_waves" TargetMode="External"/><Relationship Id="rId7" Type="http://schemas.openxmlformats.org/officeDocument/2006/relationships/hyperlink" Target="http://en.wikipedia.org/wiki/4Pi_Microscope" TargetMode="External"/><Relationship Id="rId12" Type="http://schemas.openxmlformats.org/officeDocument/2006/relationships/hyperlink" Target="http://en.wikipedia.org/wiki/RESOLFT" TargetMode="External"/><Relationship Id="rId2" Type="http://schemas.openxmlformats.org/officeDocument/2006/relationships/slide" Target="../slides/slide7.xml"/><Relationship Id="rId1" Type="http://schemas.openxmlformats.org/officeDocument/2006/relationships/notesMaster" Target="../notesMasters/notesMaster1.xml"/><Relationship Id="rId6" Type="http://schemas.openxmlformats.org/officeDocument/2006/relationships/hyperlink" Target="http://en.wikipedia.org/wiki/Near_field_scanning_optical_microscopy" TargetMode="External"/><Relationship Id="rId11" Type="http://schemas.openxmlformats.org/officeDocument/2006/relationships/hyperlink" Target="http://en.wikipedia.org/wiki/GSD_microscopy" TargetMode="External"/><Relationship Id="rId5" Type="http://schemas.openxmlformats.org/officeDocument/2006/relationships/hyperlink" Target="http://en.wikipedia.org/wiki/Superlens" TargetMode="External"/><Relationship Id="rId10" Type="http://schemas.openxmlformats.org/officeDocument/2006/relationships/hyperlink" Target="http://en.wikipedia.org/wiki/STED_microscopy" TargetMode="External"/><Relationship Id="rId4" Type="http://schemas.openxmlformats.org/officeDocument/2006/relationships/hyperlink" Target="http://en.wikipedia.org/wiki/Super-resolution_microscopy#cite_note-2" TargetMode="External"/><Relationship Id="rId9" Type="http://schemas.openxmlformats.org/officeDocument/2006/relationships/hyperlink" Target="http://en.wikipedia.org/wiki/Fluorophores" TargetMode="Externa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en.wikipedia.org/wiki/Vertico_SMI" TargetMode="External"/><Relationship Id="rId13" Type="http://schemas.openxmlformats.org/officeDocument/2006/relationships/hyperlink" Target="http://en.wikipedia.org/wiki/Photoactivated_localization_microscopy" TargetMode="External"/><Relationship Id="rId3" Type="http://schemas.openxmlformats.org/officeDocument/2006/relationships/hyperlink" Target="http://en.wikipedia.org/wiki/Evanescent_waves" TargetMode="External"/><Relationship Id="rId7" Type="http://schemas.openxmlformats.org/officeDocument/2006/relationships/hyperlink" Target="http://en.wikipedia.org/wiki/4Pi_Microscope" TargetMode="External"/><Relationship Id="rId12" Type="http://schemas.openxmlformats.org/officeDocument/2006/relationships/hyperlink" Target="http://en.wikipedia.org/wiki/RESOLFT"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en.wikipedia.org/wiki/Near_field_scanning_optical_microscopy" TargetMode="External"/><Relationship Id="rId11" Type="http://schemas.openxmlformats.org/officeDocument/2006/relationships/hyperlink" Target="http://en.wikipedia.org/wiki/GSD_microscopy" TargetMode="External"/><Relationship Id="rId5" Type="http://schemas.openxmlformats.org/officeDocument/2006/relationships/hyperlink" Target="http://en.wikipedia.org/wiki/Superlens" TargetMode="External"/><Relationship Id="rId10" Type="http://schemas.openxmlformats.org/officeDocument/2006/relationships/hyperlink" Target="http://en.wikipedia.org/wiki/STED_microscopy" TargetMode="External"/><Relationship Id="rId4" Type="http://schemas.openxmlformats.org/officeDocument/2006/relationships/hyperlink" Target="http://en.wikipedia.org/wiki/Super-resolution_microscopy#cite_note-2" TargetMode="External"/><Relationship Id="rId9" Type="http://schemas.openxmlformats.org/officeDocument/2006/relationships/hyperlink" Target="http://en.wikipedia.org/wiki/Fluorophores"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8" Type="http://schemas.openxmlformats.org/officeDocument/2006/relationships/hyperlink" Target="http://en.wikipedia.org/wiki/Superlens" TargetMode="External"/><Relationship Id="rId13" Type="http://schemas.openxmlformats.org/officeDocument/2006/relationships/hyperlink" Target="http://en.wikipedia.org/wiki/STED_microscopy" TargetMode="External"/><Relationship Id="rId3" Type="http://schemas.openxmlformats.org/officeDocument/2006/relationships/hyperlink" Target="http://en.wikipedia.org/wiki/Super-resolution_microscopy#cite_note-Rust_STORM-47" TargetMode="External"/><Relationship Id="rId7" Type="http://schemas.openxmlformats.org/officeDocument/2006/relationships/hyperlink" Target="http://en.wikipedia.org/wiki/Super-resolution_microscopy#cite_note-2" TargetMode="External"/><Relationship Id="rId12" Type="http://schemas.openxmlformats.org/officeDocument/2006/relationships/hyperlink" Target="http://en.wikipedia.org/wiki/Fluorophores" TargetMode="External"/><Relationship Id="rId2" Type="http://schemas.openxmlformats.org/officeDocument/2006/relationships/slide" Target="../slides/slide13.xml"/><Relationship Id="rId16" Type="http://schemas.openxmlformats.org/officeDocument/2006/relationships/hyperlink" Target="http://en.wikipedia.org/wiki/Photoactivated_localization_microscopy" TargetMode="External"/><Relationship Id="rId1" Type="http://schemas.openxmlformats.org/officeDocument/2006/relationships/notesMaster" Target="../notesMasters/notesMaster1.xml"/><Relationship Id="rId6" Type="http://schemas.openxmlformats.org/officeDocument/2006/relationships/hyperlink" Target="http://en.wikipedia.org/wiki/Evanescent_waves" TargetMode="External"/><Relationship Id="rId11" Type="http://schemas.openxmlformats.org/officeDocument/2006/relationships/hyperlink" Target="http://en.wikipedia.org/wiki/Vertico_SMI" TargetMode="External"/><Relationship Id="rId5" Type="http://schemas.openxmlformats.org/officeDocument/2006/relationships/hyperlink" Target="http://en.wikipedia.org/wiki/Super-resolution_microscopy#cite_note-Hess_FPALM-49" TargetMode="External"/><Relationship Id="rId15" Type="http://schemas.openxmlformats.org/officeDocument/2006/relationships/hyperlink" Target="http://en.wikipedia.org/wiki/RESOLFT" TargetMode="External"/><Relationship Id="rId10" Type="http://schemas.openxmlformats.org/officeDocument/2006/relationships/hyperlink" Target="http://en.wikipedia.org/wiki/4Pi_Microscope" TargetMode="External"/><Relationship Id="rId4" Type="http://schemas.openxmlformats.org/officeDocument/2006/relationships/hyperlink" Target="http://en.wikipedia.org/wiki/Super-resolution_microscopy#cite_note-Betzig_PALM-48" TargetMode="External"/><Relationship Id="rId9" Type="http://schemas.openxmlformats.org/officeDocument/2006/relationships/hyperlink" Target="http://en.wikipedia.org/wiki/Near_field_scanning_optical_microscopy" TargetMode="External"/><Relationship Id="rId14" Type="http://schemas.openxmlformats.org/officeDocument/2006/relationships/hyperlink" Target="http://en.wikipedia.org/wiki/GSD_microscopy"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zeiss-campus.magnet.fsu.edu/articles/superresolution/introduction.html</a:t>
            </a:r>
          </a:p>
          <a:p>
            <a:endParaRPr lang="en-US" dirty="0"/>
          </a:p>
        </p:txBody>
      </p:sp>
      <p:sp>
        <p:nvSpPr>
          <p:cNvPr id="4" name="Slide Number Placeholder 3"/>
          <p:cNvSpPr>
            <a:spLocks noGrp="1"/>
          </p:cNvSpPr>
          <p:nvPr>
            <p:ph type="sldNum" sz="quarter" idx="10"/>
          </p:nvPr>
        </p:nvSpPr>
        <p:spPr/>
        <p:txBody>
          <a:bodyPr/>
          <a:lstStyle/>
          <a:p>
            <a:fld id="{FC4B543D-ED1E-4713-BA77-DC08B6AEBD6F}" type="slidenum">
              <a:rPr lang="en-US" smtClean="0"/>
              <a:t>4</a:t>
            </a:fld>
            <a:endParaRPr lang="en-US"/>
          </a:p>
        </p:txBody>
      </p:sp>
    </p:spTree>
    <p:extLst>
      <p:ext uri="{BB962C8B-B14F-4D97-AF65-F5344CB8AC3E}">
        <p14:creationId xmlns:p14="http://schemas.microsoft.com/office/powerpoint/2010/main" val="31224162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jcb.rupress.org/content/190/2/165.full</a:t>
            </a:r>
          </a:p>
        </p:txBody>
      </p:sp>
      <p:sp>
        <p:nvSpPr>
          <p:cNvPr id="4" name="Slide Number Placeholder 3"/>
          <p:cNvSpPr>
            <a:spLocks noGrp="1"/>
          </p:cNvSpPr>
          <p:nvPr>
            <p:ph type="sldNum" sz="quarter" idx="10"/>
          </p:nvPr>
        </p:nvSpPr>
        <p:spPr/>
        <p:txBody>
          <a:bodyPr/>
          <a:lstStyle/>
          <a:p>
            <a:fld id="{45397BDA-7C5D-426B-8F63-5169389F863D}" type="slidenum">
              <a:rPr lang="en-US" smtClean="0"/>
              <a:t>17</a:t>
            </a:fld>
            <a:endParaRPr lang="en-US"/>
          </a:p>
        </p:txBody>
      </p:sp>
    </p:spTree>
    <p:extLst>
      <p:ext uri="{BB962C8B-B14F-4D97-AF65-F5344CB8AC3E}">
        <p14:creationId xmlns:p14="http://schemas.microsoft.com/office/powerpoint/2010/main" val="41203936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y fall into two broad categories, "true" super-resolution techniques, which capture information contained in </a:t>
            </a:r>
            <a:r>
              <a:rPr lang="en-US" dirty="0">
                <a:hlinkClick r:id="rId3" tooltip="Evanescent waves"/>
              </a:rPr>
              <a:t>evanescent waves</a:t>
            </a:r>
            <a:r>
              <a:rPr lang="en-US" dirty="0"/>
              <a:t>, and "functional" super-resolution techniques, which use clever experimental techniques and known limitations on the matter being imaged to reconstruct a super-resolution image.</a:t>
            </a:r>
            <a:r>
              <a:rPr lang="en-US" baseline="30000" dirty="0">
                <a:hlinkClick r:id="rId4"/>
              </a:rPr>
              <a:t>[2]</a:t>
            </a:r>
            <a:endParaRPr lang="en-US" baseline="30000" dirty="0"/>
          </a:p>
          <a:p>
            <a:endParaRPr lang="en-US" dirty="0"/>
          </a:p>
          <a:p>
            <a:r>
              <a:rPr lang="en-US" dirty="0"/>
              <a:t>True subwavelength imaging techniques include those that utilize the </a:t>
            </a:r>
            <a:r>
              <a:rPr lang="en-US" dirty="0" err="1">
                <a:hlinkClick r:id="rId5" tooltip="Superlens"/>
              </a:rPr>
              <a:t>Pendry</a:t>
            </a:r>
            <a:r>
              <a:rPr lang="en-US" dirty="0">
                <a:hlinkClick r:id="rId5" tooltip="Superlens"/>
              </a:rPr>
              <a:t> </a:t>
            </a:r>
            <a:r>
              <a:rPr lang="en-US" dirty="0" err="1">
                <a:hlinkClick r:id="rId5" tooltip="Superlens"/>
              </a:rPr>
              <a:t>Superlens</a:t>
            </a:r>
            <a:r>
              <a:rPr lang="en-US" dirty="0"/>
              <a:t> and </a:t>
            </a:r>
            <a:r>
              <a:rPr lang="en-US" dirty="0">
                <a:hlinkClick r:id="rId6" tooltip="Near field scanning optical microscopy"/>
              </a:rPr>
              <a:t>near field scanning optical microscopy</a:t>
            </a:r>
            <a:r>
              <a:rPr lang="en-US" dirty="0"/>
              <a:t>, the </a:t>
            </a:r>
            <a:r>
              <a:rPr lang="en-US" dirty="0">
                <a:hlinkClick r:id="rId7" tooltip="4Pi Microscope"/>
              </a:rPr>
              <a:t>4Pi Microscope</a:t>
            </a:r>
            <a:r>
              <a:rPr lang="en-US" dirty="0"/>
              <a:t> and structured illumination microscopy technologies like SIM and </a:t>
            </a:r>
            <a:r>
              <a:rPr lang="en-US" dirty="0">
                <a:hlinkClick r:id="rId8" tooltip="Vertico SMI"/>
              </a:rPr>
              <a:t>SMI</a:t>
            </a:r>
            <a:r>
              <a:rPr lang="en-US" dirty="0"/>
              <a:t>. However, the majority of techniques of importance in biological imaging fall into the functional category.</a:t>
            </a:r>
          </a:p>
          <a:p>
            <a:r>
              <a:rPr lang="en-US" dirty="0"/>
              <a:t>There are two major groups of methods for functional super-resolution microscopy:</a:t>
            </a:r>
          </a:p>
          <a:p>
            <a:r>
              <a:rPr lang="en-US" dirty="0"/>
              <a:t>Deterministic super-resolution: The most commonly used emitters in biological microscopy, </a:t>
            </a:r>
            <a:r>
              <a:rPr lang="en-US" dirty="0">
                <a:hlinkClick r:id="rId9" tooltip="Fluorophores"/>
              </a:rPr>
              <a:t>fluorophores</a:t>
            </a:r>
            <a:r>
              <a:rPr lang="en-US" dirty="0"/>
              <a:t>, show a nonlinear response to excitation, and this nonlinear response can be exploited to enhance resolution. These methods include </a:t>
            </a:r>
            <a:r>
              <a:rPr lang="en-US" dirty="0">
                <a:hlinkClick r:id="rId10" tooltip="STED microscopy"/>
              </a:rPr>
              <a:t>STED</a:t>
            </a:r>
            <a:r>
              <a:rPr lang="en-US" dirty="0"/>
              <a:t>, </a:t>
            </a:r>
            <a:r>
              <a:rPr lang="en-US" dirty="0">
                <a:hlinkClick r:id="rId11" tooltip="GSD microscopy"/>
              </a:rPr>
              <a:t>GSD</a:t>
            </a:r>
            <a:r>
              <a:rPr lang="en-US" dirty="0"/>
              <a:t>, </a:t>
            </a:r>
            <a:r>
              <a:rPr lang="en-US" dirty="0">
                <a:hlinkClick r:id="rId12" tooltip="RESOLFT"/>
              </a:rPr>
              <a:t>RESOLFT</a:t>
            </a:r>
            <a:r>
              <a:rPr lang="en-US" dirty="0"/>
              <a:t> and SSIM.</a:t>
            </a:r>
          </a:p>
          <a:p>
            <a:r>
              <a:rPr lang="en-US" dirty="0"/>
              <a:t>Stochastic super-resolution: The chemical complexity of many molecular light sources gives them a complex temporal </a:t>
            </a:r>
            <a:r>
              <a:rPr lang="en-US" dirty="0" err="1"/>
              <a:t>behaviour</a:t>
            </a:r>
            <a:r>
              <a:rPr lang="en-US" dirty="0"/>
              <a:t>, which can be used to make several close-by fluorophores emit light at separate times and thereby become resolvable in time. These methods include SOFI and all single-molecule localization methods (SMLM) such as </a:t>
            </a:r>
            <a:r>
              <a:rPr lang="en-US" dirty="0">
                <a:hlinkClick r:id="rId8" tooltip="Vertico SMI"/>
              </a:rPr>
              <a:t>SPDM</a:t>
            </a:r>
            <a:r>
              <a:rPr lang="en-US" dirty="0"/>
              <a:t>, </a:t>
            </a:r>
            <a:r>
              <a:rPr lang="en-US" dirty="0" err="1">
                <a:hlinkClick r:id="rId8" tooltip="Vertico SMI"/>
              </a:rPr>
              <a:t>SPDMphymod</a:t>
            </a:r>
            <a:r>
              <a:rPr lang="en-US" dirty="0"/>
              <a:t>, </a:t>
            </a:r>
            <a:r>
              <a:rPr lang="en-US" dirty="0">
                <a:hlinkClick r:id="rId13" tooltip="Photoactivated localization microscopy"/>
              </a:rPr>
              <a:t>PALM</a:t>
            </a:r>
            <a:r>
              <a:rPr lang="en-US" dirty="0"/>
              <a:t>, FPALM, STORM and </a:t>
            </a:r>
            <a:r>
              <a:rPr lang="en-US" dirty="0" err="1"/>
              <a:t>dSTORM</a:t>
            </a:r>
            <a:r>
              <a:rPr lang="en-US" dirty="0"/>
              <a:t>.</a:t>
            </a:r>
          </a:p>
          <a:p>
            <a:endParaRPr lang="en-US" dirty="0"/>
          </a:p>
        </p:txBody>
      </p:sp>
      <p:sp>
        <p:nvSpPr>
          <p:cNvPr id="4" name="Slide Number Placeholder 3"/>
          <p:cNvSpPr>
            <a:spLocks noGrp="1"/>
          </p:cNvSpPr>
          <p:nvPr>
            <p:ph type="sldNum" sz="quarter" idx="10"/>
          </p:nvPr>
        </p:nvSpPr>
        <p:spPr/>
        <p:txBody>
          <a:bodyPr/>
          <a:lstStyle/>
          <a:p>
            <a:fld id="{5C1915EA-2C58-4E3C-9B71-E32E967BD0E8}" type="slidenum">
              <a:rPr lang="en-US" smtClean="0"/>
              <a:t>20</a:t>
            </a:fld>
            <a:endParaRPr lang="en-US"/>
          </a:p>
        </p:txBody>
      </p:sp>
    </p:spTree>
    <p:extLst>
      <p:ext uri="{BB962C8B-B14F-4D97-AF65-F5344CB8AC3E}">
        <p14:creationId xmlns:p14="http://schemas.microsoft.com/office/powerpoint/2010/main" val="1391275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0178" name="Rectangle 2"/>
          <p:cNvSpPr>
            <a:spLocks noGrp="1" noRot="1" noChangeAspect="1" noChangeArrowheads="1" noTextEdit="1"/>
          </p:cNvSpPr>
          <p:nvPr>
            <p:ph type="sldImg"/>
          </p:nvPr>
        </p:nvSpPr>
        <p:spPr>
          <a:xfrm>
            <a:off x="1301750" y="803275"/>
            <a:ext cx="4256088" cy="3192463"/>
          </a:xfrm>
          <a:ln/>
        </p:spPr>
      </p:sp>
      <p:sp>
        <p:nvSpPr>
          <p:cNvPr id="690179" name="Rectangle 3"/>
          <p:cNvSpPr>
            <a:spLocks noGrp="1" noChangeArrowheads="1"/>
          </p:cNvSpPr>
          <p:nvPr>
            <p:ph type="body" idx="1"/>
          </p:nvPr>
        </p:nvSpPr>
        <p:spPr>
          <a:xfrm>
            <a:off x="911225" y="4359275"/>
            <a:ext cx="5035550" cy="3875088"/>
          </a:xfrm>
        </p:spPr>
        <p:txBody>
          <a:bodyPr lIns="91432" tIns="45716" rIns="91432" bIns="45716"/>
          <a:lstStyle/>
          <a:p>
            <a:r>
              <a:rPr lang="de-DE" altLang="en-US" dirty="0"/>
              <a:t>Deconvolution mostly used with wide field</a:t>
            </a:r>
            <a:r>
              <a:rPr lang="de-DE" altLang="en-US" baseline="0" dirty="0"/>
              <a:t> microscopes but can be used for confocal data as well</a:t>
            </a:r>
            <a:endParaRPr lang="de-DE" altLang="en-US" dirty="0"/>
          </a:p>
        </p:txBody>
      </p:sp>
    </p:spTree>
    <p:extLst>
      <p:ext uri="{BB962C8B-B14F-4D97-AF65-F5344CB8AC3E}">
        <p14:creationId xmlns:p14="http://schemas.microsoft.com/office/powerpoint/2010/main" val="4875061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Rectangle 7"/>
          <p:cNvSpPr>
            <a:spLocks noGrp="1" noChangeArrowheads="1"/>
          </p:cNvSpPr>
          <p:nvPr>
            <p:ph type="sldNum" sz="quarter" idx="5"/>
          </p:nvPr>
        </p:nvSpPr>
        <p:spPr>
          <a:noFill/>
        </p:spPr>
        <p:txBody>
          <a:bodyPr/>
          <a:lstStyle>
            <a:lvl1pPr defTabSz="926211">
              <a:defRPr sz="1800">
                <a:solidFill>
                  <a:schemeClr val="tx1"/>
                </a:solidFill>
                <a:latin typeface="LTFrutiger Next CondReg" pitchFamily="2" charset="0"/>
              </a:defRPr>
            </a:lvl1pPr>
            <a:lvl2pPr marL="820960" indent="-315754" defTabSz="926211">
              <a:defRPr sz="1800">
                <a:solidFill>
                  <a:schemeClr val="tx1"/>
                </a:solidFill>
                <a:latin typeface="LTFrutiger Next CondReg" pitchFamily="2" charset="0"/>
              </a:defRPr>
            </a:lvl2pPr>
            <a:lvl3pPr marL="1263015" indent="-252603" defTabSz="926211">
              <a:defRPr sz="1800">
                <a:solidFill>
                  <a:schemeClr val="tx1"/>
                </a:solidFill>
                <a:latin typeface="LTFrutiger Next CondReg" pitchFamily="2" charset="0"/>
              </a:defRPr>
            </a:lvl3pPr>
            <a:lvl4pPr marL="1768221" indent="-252603" defTabSz="926211">
              <a:defRPr sz="1800">
                <a:solidFill>
                  <a:schemeClr val="tx1"/>
                </a:solidFill>
                <a:latin typeface="LTFrutiger Next CondReg" pitchFamily="2" charset="0"/>
              </a:defRPr>
            </a:lvl4pPr>
            <a:lvl5pPr marL="2273427" indent="-252603" defTabSz="926211">
              <a:defRPr sz="1800">
                <a:solidFill>
                  <a:schemeClr val="tx1"/>
                </a:solidFill>
                <a:latin typeface="LTFrutiger Next CondReg" pitchFamily="2" charset="0"/>
              </a:defRPr>
            </a:lvl5pPr>
            <a:lvl6pPr marL="2778633" indent="-252603" defTabSz="926211" eaLnBrk="0" fontAlgn="base" hangingPunct="0">
              <a:lnSpc>
                <a:spcPct val="110000"/>
              </a:lnSpc>
              <a:spcBef>
                <a:spcPct val="0"/>
              </a:spcBef>
              <a:spcAft>
                <a:spcPct val="0"/>
              </a:spcAft>
              <a:buClr>
                <a:srgbClr val="0033CC"/>
              </a:buClr>
              <a:buSzPct val="110000"/>
              <a:buChar char="•"/>
              <a:defRPr sz="1800">
                <a:solidFill>
                  <a:schemeClr val="tx1"/>
                </a:solidFill>
                <a:latin typeface="LTFrutiger Next CondReg" pitchFamily="2" charset="0"/>
              </a:defRPr>
            </a:lvl6pPr>
            <a:lvl7pPr marL="3283839" indent="-252603" defTabSz="926211" eaLnBrk="0" fontAlgn="base" hangingPunct="0">
              <a:lnSpc>
                <a:spcPct val="110000"/>
              </a:lnSpc>
              <a:spcBef>
                <a:spcPct val="0"/>
              </a:spcBef>
              <a:spcAft>
                <a:spcPct val="0"/>
              </a:spcAft>
              <a:buClr>
                <a:srgbClr val="0033CC"/>
              </a:buClr>
              <a:buSzPct val="110000"/>
              <a:buChar char="•"/>
              <a:defRPr sz="1800">
                <a:solidFill>
                  <a:schemeClr val="tx1"/>
                </a:solidFill>
                <a:latin typeface="LTFrutiger Next CondReg" pitchFamily="2" charset="0"/>
              </a:defRPr>
            </a:lvl7pPr>
            <a:lvl8pPr marL="3789045" indent="-252603" defTabSz="926211" eaLnBrk="0" fontAlgn="base" hangingPunct="0">
              <a:lnSpc>
                <a:spcPct val="110000"/>
              </a:lnSpc>
              <a:spcBef>
                <a:spcPct val="0"/>
              </a:spcBef>
              <a:spcAft>
                <a:spcPct val="0"/>
              </a:spcAft>
              <a:buClr>
                <a:srgbClr val="0033CC"/>
              </a:buClr>
              <a:buSzPct val="110000"/>
              <a:buChar char="•"/>
              <a:defRPr sz="1800">
                <a:solidFill>
                  <a:schemeClr val="tx1"/>
                </a:solidFill>
                <a:latin typeface="LTFrutiger Next CondReg" pitchFamily="2" charset="0"/>
              </a:defRPr>
            </a:lvl8pPr>
            <a:lvl9pPr marL="4294251" indent="-252603" defTabSz="926211" eaLnBrk="0" fontAlgn="base" hangingPunct="0">
              <a:lnSpc>
                <a:spcPct val="110000"/>
              </a:lnSpc>
              <a:spcBef>
                <a:spcPct val="0"/>
              </a:spcBef>
              <a:spcAft>
                <a:spcPct val="0"/>
              </a:spcAft>
              <a:buClr>
                <a:srgbClr val="0033CC"/>
              </a:buClr>
              <a:buSzPct val="110000"/>
              <a:buChar char="•"/>
              <a:defRPr sz="1800">
                <a:solidFill>
                  <a:schemeClr val="tx1"/>
                </a:solidFill>
                <a:latin typeface="LTFrutiger Next CondReg" pitchFamily="2" charset="0"/>
              </a:defRPr>
            </a:lvl9pPr>
          </a:lstStyle>
          <a:p>
            <a:fld id="{186C42D8-A3F9-4250-9478-A9BB1D232B6B}" type="slidenum">
              <a:rPr lang="de-DE" sz="1200">
                <a:solidFill>
                  <a:prstClr val="black"/>
                </a:solidFill>
                <a:latin typeface="Arial" pitchFamily="34" charset="0"/>
              </a:rPr>
              <a:pPr/>
              <a:t>25</a:t>
            </a:fld>
            <a:endParaRPr lang="de-DE" sz="1200">
              <a:solidFill>
                <a:prstClr val="black"/>
              </a:solidFill>
              <a:latin typeface="Arial" pitchFamily="34" charset="0"/>
            </a:endParaRPr>
          </a:p>
        </p:txBody>
      </p:sp>
      <p:sp>
        <p:nvSpPr>
          <p:cNvPr id="132099" name="Rectangle 2"/>
          <p:cNvSpPr>
            <a:spLocks noGrp="1" noRot="1" noChangeAspect="1" noChangeArrowheads="1" noTextEdit="1"/>
          </p:cNvSpPr>
          <p:nvPr>
            <p:ph type="sldImg"/>
          </p:nvPr>
        </p:nvSpPr>
        <p:spPr>
          <a:ln/>
        </p:spPr>
      </p:sp>
      <p:sp>
        <p:nvSpPr>
          <p:cNvPr id="132100" name="Rectangle 3"/>
          <p:cNvSpPr>
            <a:spLocks noGrp="1" noChangeArrowheads="1"/>
          </p:cNvSpPr>
          <p:nvPr>
            <p:ph type="body" idx="1"/>
          </p:nvPr>
        </p:nvSpPr>
        <p:spPr>
          <a:noFill/>
        </p:spPr>
        <p:txBody>
          <a:bodyPr/>
          <a:lstStyle/>
          <a:p>
            <a:pPr eaLnBrk="1" hangingPunct="1"/>
            <a:r>
              <a:rPr lang="en-US" dirty="0"/>
              <a:t>The algorithm is looking</a:t>
            </a:r>
            <a:r>
              <a:rPr lang="en-US" baseline="0" dirty="0"/>
              <a:t> for a change in the local contrast. The algorithm is demodulating the images.</a:t>
            </a:r>
          </a:p>
          <a:p>
            <a:pPr eaLnBrk="1" hangingPunct="1"/>
            <a:r>
              <a:rPr lang="en-US" baseline="0" dirty="0"/>
              <a:t>Simple image analysis algorithm detects the brightness differences of the 3 raw images and removes the out-of-focus signals in the image (demodulation)</a:t>
            </a:r>
          </a:p>
        </p:txBody>
      </p:sp>
    </p:spTree>
    <p:extLst>
      <p:ext uri="{BB962C8B-B14F-4D97-AF65-F5344CB8AC3E}">
        <p14:creationId xmlns:p14="http://schemas.microsoft.com/office/powerpoint/2010/main" val="39944300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rab bag</a:t>
            </a:r>
            <a:r>
              <a:rPr lang="en-US" baseline="0" dirty="0"/>
              <a:t> of methods that are not </a:t>
            </a:r>
            <a:endParaRPr lang="en-US" dirty="0"/>
          </a:p>
        </p:txBody>
      </p:sp>
      <p:sp>
        <p:nvSpPr>
          <p:cNvPr id="4" name="Slide Number Placeholder 3"/>
          <p:cNvSpPr>
            <a:spLocks noGrp="1"/>
          </p:cNvSpPr>
          <p:nvPr>
            <p:ph type="sldNum" sz="quarter" idx="10"/>
          </p:nvPr>
        </p:nvSpPr>
        <p:spPr/>
        <p:txBody>
          <a:bodyPr/>
          <a:lstStyle/>
          <a:p>
            <a:fld id="{45397BDA-7C5D-426B-8F63-5169389F863D}" type="slidenum">
              <a:rPr lang="en-US" smtClean="0"/>
              <a:t>26</a:t>
            </a:fld>
            <a:endParaRPr lang="en-US"/>
          </a:p>
        </p:txBody>
      </p:sp>
    </p:spTree>
    <p:extLst>
      <p:ext uri="{BB962C8B-B14F-4D97-AF65-F5344CB8AC3E}">
        <p14:creationId xmlns:p14="http://schemas.microsoft.com/office/powerpoint/2010/main" val="20985970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zeiss-campus.magnet.fsu.edu/articles/superresolution/introduction.html</a:t>
            </a:r>
          </a:p>
          <a:p>
            <a:endParaRPr lang="en-US" dirty="0"/>
          </a:p>
        </p:txBody>
      </p:sp>
      <p:sp>
        <p:nvSpPr>
          <p:cNvPr id="4" name="Slide Number Placeholder 3"/>
          <p:cNvSpPr>
            <a:spLocks noGrp="1"/>
          </p:cNvSpPr>
          <p:nvPr>
            <p:ph type="sldNum" sz="quarter" idx="10"/>
          </p:nvPr>
        </p:nvSpPr>
        <p:spPr/>
        <p:txBody>
          <a:bodyPr/>
          <a:lstStyle/>
          <a:p>
            <a:fld id="{FC4B543D-ED1E-4713-BA77-DC08B6AEBD6F}" type="slidenum">
              <a:rPr lang="en-US" smtClean="0"/>
              <a:t>27</a:t>
            </a:fld>
            <a:endParaRPr lang="en-US"/>
          </a:p>
        </p:txBody>
      </p:sp>
    </p:spTree>
    <p:extLst>
      <p:ext uri="{BB962C8B-B14F-4D97-AF65-F5344CB8AC3E}">
        <p14:creationId xmlns:p14="http://schemas.microsoft.com/office/powerpoint/2010/main" val="7812964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teral resolution can be increased over the classical Abbe limit by a factor of two (approximately 100 to 120 nanometers) in structured illumination without discarding any emission light using laser-generated spatially structured illumination coupled to a </a:t>
            </a:r>
            <a:r>
              <a:rPr lang="en-US" dirty="0" err="1"/>
              <a:t>widefield</a:t>
            </a:r>
            <a:r>
              <a:rPr lang="en-US" dirty="0"/>
              <a:t> fluorescence microscope in what is termed </a:t>
            </a:r>
            <a:r>
              <a:rPr lang="en-US" b="1" dirty="0" err="1"/>
              <a:t>superresolution</a:t>
            </a:r>
            <a:r>
              <a:rPr lang="en-US" b="1" dirty="0"/>
              <a:t> (SR) SIM</a:t>
            </a:r>
            <a:r>
              <a:rPr lang="en-US" dirty="0"/>
              <a:t>. Similar to the non-linear </a:t>
            </a:r>
            <a:r>
              <a:rPr lang="en-US" dirty="0" err="1"/>
              <a:t>superresolution</a:t>
            </a:r>
            <a:r>
              <a:rPr lang="en-US" dirty="0"/>
              <a:t> technique of SSIM described above, the linear SR-SIM structured light </a:t>
            </a:r>
            <a:r>
              <a:rPr lang="en-US" dirty="0" err="1"/>
              <a:t>wavefronts</a:t>
            </a:r>
            <a:r>
              <a:rPr lang="en-US" dirty="0"/>
              <a:t> render normally inaccessible high-resolution information available in the form of moiré fringes that contain harmonic frequencies from the specimen that are not available in conventional fluorescence microscopy. Thus, if two fine patterns are superposed in a multiplicative fashion, a beat pattern (moiré fringes) will appear in their product. In this case, one of the patterns is the spatial fluorophore distribution in the specimen and the other is the structured excitation light intensity. </a:t>
            </a:r>
          </a:p>
          <a:p>
            <a:endParaRPr lang="en-US" dirty="0"/>
          </a:p>
          <a:p>
            <a:r>
              <a:rPr lang="en-US" dirty="0"/>
              <a:t>http://zeiss-campus.magnet.fsu.edu/articles/superresolution/introduction.html</a:t>
            </a:r>
          </a:p>
          <a:p>
            <a:r>
              <a:rPr lang="en-US" dirty="0"/>
              <a:t>http://zeiss-campus.magnet.fsu.edu/articles/superresolution/supersim.html</a:t>
            </a:r>
          </a:p>
          <a:p>
            <a:endParaRPr lang="en-US" dirty="0"/>
          </a:p>
          <a:p>
            <a:endParaRPr lang="en-US" dirty="0"/>
          </a:p>
        </p:txBody>
      </p:sp>
      <p:sp>
        <p:nvSpPr>
          <p:cNvPr id="4" name="Slide Number Placeholder 3"/>
          <p:cNvSpPr>
            <a:spLocks noGrp="1"/>
          </p:cNvSpPr>
          <p:nvPr>
            <p:ph type="sldNum" sz="quarter" idx="10"/>
          </p:nvPr>
        </p:nvSpPr>
        <p:spPr/>
        <p:txBody>
          <a:bodyPr/>
          <a:lstStyle/>
          <a:p>
            <a:fld id="{45397BDA-7C5D-426B-8F63-5169389F863D}" type="slidenum">
              <a:rPr lang="en-US" smtClean="0"/>
              <a:t>28</a:t>
            </a:fld>
            <a:endParaRPr lang="en-US"/>
          </a:p>
        </p:txBody>
      </p:sp>
    </p:spTree>
    <p:extLst>
      <p:ext uri="{BB962C8B-B14F-4D97-AF65-F5344CB8AC3E}">
        <p14:creationId xmlns:p14="http://schemas.microsoft.com/office/powerpoint/2010/main" val="19110610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a:r>
              <a:rPr lang="en-US" sz="1200" dirty="0" err="1">
                <a:latin typeface="Segoe UI" panose="020B0502040204020203" pitchFamily="34" charset="0"/>
              </a:rPr>
              <a:t>Heintzmann</a:t>
            </a:r>
            <a:r>
              <a:rPr lang="en-US" sz="1200" dirty="0">
                <a:latin typeface="Segoe UI" panose="020B0502040204020203" pitchFamily="34" charset="0"/>
              </a:rPr>
              <a:t>, R., Cremer, C.G., 1999. Laterally modulated excitation microscopy: improvement of resolution by using a diffraction grating, pp. 185-196.</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solidFill>
                  <a:schemeClr val="tx1"/>
                </a:solidFill>
                <a:latin typeface="+mn-lt"/>
                <a:ea typeface="+mn-ea"/>
                <a:cs typeface="+mn-cs"/>
              </a:rPr>
              <a:t>Gustafsson</a:t>
            </a:r>
            <a:r>
              <a:rPr lang="en-US" sz="1200" kern="1200" dirty="0">
                <a:solidFill>
                  <a:schemeClr val="tx1"/>
                </a:solidFill>
                <a:latin typeface="+mn-lt"/>
                <a:ea typeface="+mn-ea"/>
                <a:cs typeface="+mn-cs"/>
              </a:rPr>
              <a:t>, M.G.L., 2000. Surpassing the lateral resolution limit by a factor of two using structured illumination microscopy. Journal of Microscopy 198, 82-87.</a:t>
            </a:r>
          </a:p>
          <a:p>
            <a:endParaRPr lang="en-US" dirty="0"/>
          </a:p>
          <a:p>
            <a:r>
              <a:rPr lang="en-US" sz="1200" b="0" i="0" u="none" strike="noStrike" kern="1200" baseline="0" dirty="0">
                <a:solidFill>
                  <a:schemeClr val="tx1"/>
                </a:solidFill>
                <a:latin typeface="+mn-lt"/>
                <a:ea typeface="+mn-ea"/>
                <a:cs typeface="+mn-cs"/>
              </a:rPr>
              <a:t>Fig. 1. Concept of resolution enhancement by structured illumination. (a) If two line patterns are superposed (multiplied), their product will</a:t>
            </a:r>
          </a:p>
          <a:p>
            <a:r>
              <a:rPr lang="en-US" sz="1200" b="0" i="0" u="none" strike="noStrike" kern="1200" baseline="0" dirty="0">
                <a:solidFill>
                  <a:schemeClr val="tx1"/>
                </a:solidFill>
                <a:latin typeface="+mn-lt"/>
                <a:ea typeface="+mn-ea"/>
                <a:cs typeface="+mn-cs"/>
              </a:rPr>
              <a:t>contain </a:t>
            </a:r>
            <a:r>
              <a:rPr lang="en-US" sz="1200" b="0" i="0" u="none" strike="noStrike" kern="1200" baseline="0" dirty="0" err="1">
                <a:solidFill>
                  <a:schemeClr val="tx1"/>
                </a:solidFill>
                <a:latin typeface="+mn-lt"/>
                <a:ea typeface="+mn-ea"/>
                <a:cs typeface="+mn-cs"/>
              </a:rPr>
              <a:t>moireÂ</a:t>
            </a:r>
            <a:r>
              <a:rPr lang="en-US" sz="1200" b="0" i="0" u="none" strike="noStrike" kern="1200" baseline="0" dirty="0">
                <a:solidFill>
                  <a:schemeClr val="tx1"/>
                </a:solidFill>
                <a:latin typeface="+mn-lt"/>
                <a:ea typeface="+mn-ea"/>
                <a:cs typeface="+mn-cs"/>
              </a:rPr>
              <a:t> fringes (seen here as the apparent vertical stripes in the overlap region). (b) A conventional microscope is limited by diffraction.</a:t>
            </a:r>
          </a:p>
          <a:p>
            <a:r>
              <a:rPr lang="en-US" sz="1200" b="0" i="0" u="none" strike="noStrike" kern="1200" baseline="0" dirty="0">
                <a:solidFill>
                  <a:schemeClr val="tx1"/>
                </a:solidFill>
                <a:latin typeface="+mn-lt"/>
                <a:ea typeface="+mn-ea"/>
                <a:cs typeface="+mn-cs"/>
              </a:rPr>
              <a:t>The set of low-resolution information that it can detect defines a circular `observable region' of reciprocal space. (c) A </a:t>
            </a:r>
            <a:r>
              <a:rPr lang="en-US" sz="1200" b="0" i="0" u="none" strike="noStrike" kern="1200" baseline="0" dirty="0" err="1">
                <a:solidFill>
                  <a:schemeClr val="tx1"/>
                </a:solidFill>
                <a:latin typeface="+mn-lt"/>
                <a:ea typeface="+mn-ea"/>
                <a:cs typeface="+mn-cs"/>
              </a:rPr>
              <a:t>sinusoidally</a:t>
            </a:r>
            <a:r>
              <a:rPr lang="en-US" sz="1200" b="0" i="0" u="none" strike="noStrike" kern="1200" baseline="0" dirty="0">
                <a:solidFill>
                  <a:schemeClr val="tx1"/>
                </a:solidFill>
                <a:latin typeface="+mn-lt"/>
                <a:ea typeface="+mn-ea"/>
                <a:cs typeface="+mn-cs"/>
              </a:rPr>
              <a:t> striped</a:t>
            </a:r>
          </a:p>
          <a:p>
            <a:r>
              <a:rPr lang="en-US" sz="1200" b="0" i="0" u="none" strike="noStrike" kern="1200" baseline="0" dirty="0">
                <a:solidFill>
                  <a:schemeClr val="tx1"/>
                </a:solidFill>
                <a:latin typeface="+mn-lt"/>
                <a:ea typeface="+mn-ea"/>
                <a:cs typeface="+mn-cs"/>
              </a:rPr>
              <a:t>illumination pattern has only three Fourier components. The possible positions of the two side components are limited by the same circle that</a:t>
            </a:r>
          </a:p>
          <a:p>
            <a:r>
              <a:rPr lang="en-US" sz="1200" b="0" i="0" u="none" strike="noStrike" kern="1200" baseline="0" dirty="0">
                <a:solidFill>
                  <a:schemeClr val="tx1"/>
                </a:solidFill>
                <a:latin typeface="+mn-lt"/>
                <a:ea typeface="+mn-ea"/>
                <a:cs typeface="+mn-cs"/>
              </a:rPr>
              <a:t>defines the observable region (dashed). If the sample is illuminated with such structured light, </a:t>
            </a:r>
            <a:r>
              <a:rPr lang="en-US" sz="1200" b="0" i="0" u="none" strike="noStrike" kern="1200" baseline="0" dirty="0" err="1">
                <a:solidFill>
                  <a:schemeClr val="tx1"/>
                </a:solidFill>
                <a:latin typeface="+mn-lt"/>
                <a:ea typeface="+mn-ea"/>
                <a:cs typeface="+mn-cs"/>
              </a:rPr>
              <a:t>moireÂ</a:t>
            </a:r>
            <a:r>
              <a:rPr lang="en-US" sz="1200" b="0" i="0" u="none" strike="noStrike" kern="1200" baseline="0" dirty="0">
                <a:solidFill>
                  <a:schemeClr val="tx1"/>
                </a:solidFill>
                <a:latin typeface="+mn-lt"/>
                <a:ea typeface="+mn-ea"/>
                <a:cs typeface="+mn-cs"/>
              </a:rPr>
              <a:t> fringes will appear which represent</a:t>
            </a:r>
          </a:p>
          <a:p>
            <a:r>
              <a:rPr lang="en-US" sz="1200" b="0" i="0" u="none" strike="noStrike" kern="1200" baseline="0" dirty="0">
                <a:solidFill>
                  <a:schemeClr val="tx1"/>
                </a:solidFill>
                <a:latin typeface="+mn-lt"/>
                <a:ea typeface="+mn-ea"/>
                <a:cs typeface="+mn-cs"/>
              </a:rPr>
              <a:t>information that has changed position in reciprocal space. The amounts of that movement correspond to the three Fourier components of the</a:t>
            </a:r>
          </a:p>
          <a:p>
            <a:r>
              <a:rPr lang="en-US" sz="1200" b="0" i="0" u="none" strike="noStrike" kern="1200" baseline="0" dirty="0">
                <a:solidFill>
                  <a:schemeClr val="tx1"/>
                </a:solidFill>
                <a:latin typeface="+mn-lt"/>
                <a:ea typeface="+mn-ea"/>
                <a:cs typeface="+mn-cs"/>
              </a:rPr>
              <a:t>illumination. The observable region will thus contain, in addition to the normal information, moved information that originates in two offset</a:t>
            </a:r>
          </a:p>
          <a:p>
            <a:r>
              <a:rPr lang="en-US" sz="1200" b="0" i="0" u="none" strike="noStrike" kern="1200" baseline="0" dirty="0">
                <a:solidFill>
                  <a:schemeClr val="tx1"/>
                </a:solidFill>
                <a:latin typeface="+mn-lt"/>
                <a:ea typeface="+mn-ea"/>
                <a:cs typeface="+mn-cs"/>
              </a:rPr>
              <a:t>regions (d). From a sequence of such images with different orientation and phase of the pattern, it is possible to recover information from an</a:t>
            </a:r>
          </a:p>
          <a:p>
            <a:r>
              <a:rPr lang="en-US" sz="1200" b="0" i="0" u="none" strike="noStrike" kern="1200" baseline="0" dirty="0">
                <a:solidFill>
                  <a:schemeClr val="tx1"/>
                </a:solidFill>
                <a:latin typeface="+mn-lt"/>
                <a:ea typeface="+mn-ea"/>
                <a:cs typeface="+mn-cs"/>
              </a:rPr>
              <a:t>area twice the size of the normally observable region, corresponding to twice the normal resolution (e).</a:t>
            </a:r>
            <a:endParaRPr lang="en-US" dirty="0"/>
          </a:p>
        </p:txBody>
      </p:sp>
      <p:sp>
        <p:nvSpPr>
          <p:cNvPr id="4" name="Slide Number Placeholder 3"/>
          <p:cNvSpPr>
            <a:spLocks noGrp="1"/>
          </p:cNvSpPr>
          <p:nvPr>
            <p:ph type="sldNum" sz="quarter" idx="10"/>
          </p:nvPr>
        </p:nvSpPr>
        <p:spPr/>
        <p:txBody>
          <a:bodyPr/>
          <a:lstStyle/>
          <a:p>
            <a:fld id="{45397BDA-7C5D-426B-8F63-5169389F863D}" type="slidenum">
              <a:rPr lang="en-US" smtClean="0"/>
              <a:t>29</a:t>
            </a:fld>
            <a:endParaRPr lang="en-US"/>
          </a:p>
        </p:txBody>
      </p:sp>
    </p:spTree>
    <p:extLst>
      <p:ext uri="{BB962C8B-B14F-4D97-AF65-F5344CB8AC3E}">
        <p14:creationId xmlns:p14="http://schemas.microsoft.com/office/powerpoint/2010/main" val="32901298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ig. 3. A cluster of fluorescent microspheres of nominal diameter</a:t>
            </a:r>
          </a:p>
          <a:p>
            <a:r>
              <a:rPr lang="en-US" sz="1200" b="0" i="0" u="none" strike="noStrike" kern="1200" baseline="0" dirty="0">
                <a:solidFill>
                  <a:schemeClr val="tx1"/>
                </a:solidFill>
                <a:latin typeface="+mn-lt"/>
                <a:ea typeface="+mn-ea"/>
                <a:cs typeface="+mn-cs"/>
              </a:rPr>
              <a:t>121 nm, as imaged by conventional (a), confocal (b), and</a:t>
            </a:r>
          </a:p>
          <a:p>
            <a:r>
              <a:rPr lang="en-US" sz="1200" b="0" i="0" u="none" strike="noStrike" kern="1200" baseline="0" dirty="0">
                <a:solidFill>
                  <a:schemeClr val="tx1"/>
                </a:solidFill>
                <a:latin typeface="+mn-lt"/>
                <a:ea typeface="+mn-ea"/>
                <a:cs typeface="+mn-cs"/>
              </a:rPr>
              <a:t>structured illumination (c) microscopy. The confocal microscope</a:t>
            </a:r>
          </a:p>
          <a:p>
            <a:r>
              <a:rPr lang="en-US" sz="1200" b="0" i="0" u="none" strike="noStrike" kern="1200" baseline="0" dirty="0">
                <a:solidFill>
                  <a:schemeClr val="tx1"/>
                </a:solidFill>
                <a:latin typeface="+mn-lt"/>
                <a:ea typeface="+mn-ea"/>
                <a:cs typeface="+mn-cs"/>
              </a:rPr>
              <a:t>was operated under maximum resolution conditions. The apparent</a:t>
            </a:r>
          </a:p>
          <a:p>
            <a:r>
              <a:rPr lang="en-US" sz="1200" b="0" i="0" u="none" strike="noStrike" kern="1200" baseline="0" dirty="0">
                <a:solidFill>
                  <a:schemeClr val="tx1"/>
                </a:solidFill>
                <a:latin typeface="+mn-lt"/>
                <a:ea typeface="+mn-ea"/>
                <a:cs typeface="+mn-cs"/>
              </a:rPr>
              <a:t>size (FWHM) of isolated beads is approximately 130 nm in the</a:t>
            </a:r>
          </a:p>
          <a:p>
            <a:r>
              <a:rPr lang="en-US" sz="1200" b="0" i="0" u="none" strike="noStrike" kern="1200" baseline="0" dirty="0">
                <a:solidFill>
                  <a:schemeClr val="tx1"/>
                </a:solidFill>
                <a:latin typeface="+mn-lt"/>
                <a:ea typeface="+mn-ea"/>
                <a:cs typeface="+mn-cs"/>
              </a:rPr>
              <a:t>structured illumination image, compared to 290 and 210 nm for</a:t>
            </a:r>
          </a:p>
          <a:p>
            <a:r>
              <a:rPr lang="en-US" sz="1200" b="0" i="0" u="none" strike="noStrike" kern="1200" baseline="0" dirty="0">
                <a:solidFill>
                  <a:schemeClr val="tx1"/>
                </a:solidFill>
                <a:latin typeface="+mn-lt"/>
                <a:ea typeface="+mn-ea"/>
                <a:cs typeface="+mn-cs"/>
              </a:rPr>
              <a:t>conventional and confocal microscopy.</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Fig. 4. The actin cytoskeleton at the edge of a HeLa cell, as imaged by (a, c) conventional and (b, d) structured illumination microscopy. (c, d)</a:t>
            </a:r>
          </a:p>
          <a:p>
            <a:r>
              <a:rPr lang="en-US" sz="1200" b="0" i="0" u="none" strike="noStrike" kern="1200" baseline="0" dirty="0">
                <a:solidFill>
                  <a:schemeClr val="tx1"/>
                </a:solidFill>
                <a:latin typeface="+mn-lt"/>
                <a:ea typeface="+mn-ea"/>
                <a:cs typeface="+mn-cs"/>
              </a:rPr>
              <a:t>Enlargements of the boxed areas in (a) and (b), respectively. </a:t>
            </a:r>
            <a:r>
              <a:rPr lang="en-US" sz="1200" b="0" i="0" u="none" strike="noStrike" kern="1200" baseline="0" dirty="0" err="1">
                <a:solidFill>
                  <a:schemeClr val="tx1"/>
                </a:solidFill>
                <a:latin typeface="+mn-lt"/>
                <a:ea typeface="+mn-ea"/>
                <a:cs typeface="+mn-cs"/>
              </a:rPr>
              <a:t>Fibres</a:t>
            </a:r>
            <a:r>
              <a:rPr lang="en-US" sz="1200" b="0" i="0" u="none" strike="noStrike" kern="1200" baseline="0" dirty="0">
                <a:solidFill>
                  <a:schemeClr val="tx1"/>
                </a:solidFill>
                <a:latin typeface="+mn-lt"/>
                <a:ea typeface="+mn-ea"/>
                <a:cs typeface="+mn-cs"/>
              </a:rPr>
              <a:t> separated by less than the resolution limit of the conventional microscope</a:t>
            </a:r>
          </a:p>
          <a:p>
            <a:r>
              <a:rPr lang="en-US" sz="1200" b="0" i="0" u="none" strike="noStrike" kern="1200" baseline="0" dirty="0">
                <a:solidFill>
                  <a:schemeClr val="tx1"/>
                </a:solidFill>
                <a:latin typeface="+mn-lt"/>
                <a:ea typeface="+mn-ea"/>
                <a:cs typeface="+mn-cs"/>
              </a:rPr>
              <a:t>are well resolved using structured illumination (d). The apparent widths (FWHM) of the finest protruding </a:t>
            </a:r>
            <a:r>
              <a:rPr lang="en-US" sz="1200" b="0" i="0" u="none" strike="noStrike" kern="1200" baseline="0" dirty="0" err="1">
                <a:solidFill>
                  <a:schemeClr val="tx1"/>
                </a:solidFill>
                <a:latin typeface="+mn-lt"/>
                <a:ea typeface="+mn-ea"/>
                <a:cs typeface="+mn-cs"/>
              </a:rPr>
              <a:t>fibres</a:t>
            </a:r>
            <a:r>
              <a:rPr lang="en-US" sz="1200" b="0" i="0" u="none" strike="noStrike" kern="1200" baseline="0" dirty="0">
                <a:solidFill>
                  <a:schemeClr val="tx1"/>
                </a:solidFill>
                <a:latin typeface="+mn-lt"/>
                <a:ea typeface="+mn-ea"/>
                <a:cs typeface="+mn-cs"/>
              </a:rPr>
              <a:t> [small arrows in (a, b)] are</a:t>
            </a:r>
          </a:p>
          <a:p>
            <a:r>
              <a:rPr lang="en-US" sz="1200" b="0" i="0" u="none" strike="noStrike" kern="1200" baseline="0" dirty="0">
                <a:solidFill>
                  <a:schemeClr val="tx1"/>
                </a:solidFill>
                <a:latin typeface="+mn-lt"/>
                <a:ea typeface="+mn-ea"/>
                <a:cs typeface="+mn-cs"/>
              </a:rPr>
              <a:t>lowered to 110±120 nm in (b), compared to 280±300 nm in (a).</a:t>
            </a:r>
            <a:endParaRPr lang="en-US" dirty="0"/>
          </a:p>
        </p:txBody>
      </p:sp>
      <p:sp>
        <p:nvSpPr>
          <p:cNvPr id="4" name="Slide Number Placeholder 3"/>
          <p:cNvSpPr>
            <a:spLocks noGrp="1"/>
          </p:cNvSpPr>
          <p:nvPr>
            <p:ph type="sldNum" sz="quarter" idx="10"/>
          </p:nvPr>
        </p:nvSpPr>
        <p:spPr/>
        <p:txBody>
          <a:bodyPr/>
          <a:lstStyle/>
          <a:p>
            <a:fld id="{45397BDA-7C5D-426B-8F63-5169389F863D}" type="slidenum">
              <a:rPr lang="en-US" smtClean="0"/>
              <a:t>30</a:t>
            </a:fld>
            <a:endParaRPr lang="en-US"/>
          </a:p>
        </p:txBody>
      </p:sp>
    </p:spTree>
    <p:extLst>
      <p:ext uri="{BB962C8B-B14F-4D97-AF65-F5344CB8AC3E}">
        <p14:creationId xmlns:p14="http://schemas.microsoft.com/office/powerpoint/2010/main" val="29161212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Figure 2 </a:t>
            </a:r>
            <a:r>
              <a:rPr lang="en-US" sz="1200" b="0" i="0" u="none" strike="noStrike" kern="1200" baseline="0" dirty="0">
                <a:solidFill>
                  <a:schemeClr val="tx1"/>
                </a:solidFill>
                <a:latin typeface="+mn-lt"/>
                <a:ea typeface="+mn-ea"/>
                <a:cs typeface="+mn-cs"/>
              </a:rPr>
              <a:t>| Live 3D SIM and conventional wide-field microscopy images of a HeLa cell stained with </a:t>
            </a:r>
            <a:r>
              <a:rPr lang="en-US" sz="1200" b="0" i="0" u="none" strike="noStrike" kern="1200" baseline="0" dirty="0" err="1">
                <a:solidFill>
                  <a:schemeClr val="tx1"/>
                </a:solidFill>
                <a:latin typeface="+mn-lt"/>
                <a:ea typeface="+mn-ea"/>
                <a:cs typeface="+mn-cs"/>
              </a:rPr>
              <a:t>MitoTracker</a:t>
            </a:r>
            <a:r>
              <a:rPr lang="en-US" sz="1200" b="0" i="0" u="none" strike="noStrike" kern="1200" baseline="0" dirty="0">
                <a:solidFill>
                  <a:schemeClr val="tx1"/>
                </a:solidFill>
                <a:latin typeface="+mn-lt"/>
                <a:ea typeface="+mn-ea"/>
                <a:cs typeface="+mn-cs"/>
              </a:rPr>
              <a:t> Green. (</a:t>
            </a:r>
            <a:r>
              <a:rPr lang="en-US" sz="1200" b="1" i="0" u="none" strike="noStrike" kern="1200" baseline="0" dirty="0">
                <a:solidFill>
                  <a:schemeClr val="tx1"/>
                </a:solidFill>
                <a:latin typeface="+mn-lt"/>
                <a:ea typeface="+mn-ea"/>
                <a:cs typeface="+mn-cs"/>
              </a:rPr>
              <a:t>a</a:t>
            </a:r>
            <a:r>
              <a:rPr lang="en-US" sz="1200" b="0" i="0" u="none" strike="noStrike" kern="1200" baseline="0" dirty="0">
                <a:solidFill>
                  <a:schemeClr val="tx1"/>
                </a:solidFill>
                <a:latin typeface="+mn-lt"/>
                <a:ea typeface="+mn-ea"/>
                <a:cs typeface="+mn-cs"/>
              </a:rPr>
              <a:t>) Maximum-intensity projection along </a:t>
            </a:r>
            <a:r>
              <a:rPr lang="en-US" sz="1200" b="0" i="1" u="none" strike="noStrike" kern="1200" baseline="0" dirty="0">
                <a:solidFill>
                  <a:schemeClr val="tx1"/>
                </a:solidFill>
                <a:latin typeface="+mn-lt"/>
                <a:ea typeface="+mn-ea"/>
                <a:cs typeface="+mn-cs"/>
              </a:rPr>
              <a:t>z </a:t>
            </a:r>
            <a:r>
              <a:rPr lang="en-US" sz="1200" b="0" i="0" u="none" strike="noStrike" kern="1200" baseline="0" dirty="0">
                <a:solidFill>
                  <a:schemeClr val="tx1"/>
                </a:solidFill>
                <a:latin typeface="+mn-lt"/>
                <a:ea typeface="+mn-ea"/>
                <a:cs typeface="+mn-cs"/>
              </a:rPr>
              <a:t>dimension through the cell volume at time 0 of a 50-time-point series. Each SIM volume was acquired in 20.33 s (that is, 35-ms exposure time × 38 axial planes × 15 patterns + 38 axial planes × 10-ms </a:t>
            </a:r>
            <a:r>
              <a:rPr lang="en-US" sz="1200" b="0" i="1" u="none" strike="noStrike" kern="1200" baseline="0" dirty="0">
                <a:solidFill>
                  <a:schemeClr val="tx1"/>
                </a:solidFill>
                <a:latin typeface="+mn-lt"/>
                <a:ea typeface="+mn-ea"/>
                <a:cs typeface="+mn-cs"/>
              </a:rPr>
              <a:t>z</a:t>
            </a:r>
            <a:r>
              <a:rPr lang="en-US" sz="1200" b="0" i="0" u="none" strike="noStrike" kern="1200" baseline="0" dirty="0">
                <a:solidFill>
                  <a:schemeClr val="tx1"/>
                </a:solidFill>
                <a:latin typeface="+mn-lt"/>
                <a:ea typeface="+mn-ea"/>
                <a:cs typeface="+mn-cs"/>
              </a:rPr>
              <a:t>-stage settle time). (</a:t>
            </a:r>
            <a:r>
              <a:rPr lang="en-US" sz="1200" b="1" i="0" u="none" strike="noStrike" kern="1200" baseline="0" dirty="0">
                <a:solidFill>
                  <a:schemeClr val="tx1"/>
                </a:solidFill>
                <a:latin typeface="+mn-lt"/>
                <a:ea typeface="+mn-ea"/>
                <a:cs typeface="+mn-cs"/>
              </a:rPr>
              <a:t>b</a:t>
            </a:r>
            <a:r>
              <a:rPr lang="en-US" sz="1200" b="0" i="0" u="none" strike="noStrike" kern="1200" baseline="0" dirty="0">
                <a:solidFill>
                  <a:schemeClr val="tx1"/>
                </a:solidFill>
                <a:latin typeface="+mn-lt"/>
                <a:ea typeface="+mn-ea"/>
                <a:cs typeface="+mn-cs"/>
              </a:rPr>
              <a:t>) One </a:t>
            </a:r>
            <a:r>
              <a:rPr lang="en-US" sz="1200" b="0" i="1" u="none" strike="noStrike" kern="1200" baseline="0" dirty="0">
                <a:solidFill>
                  <a:schemeClr val="tx1"/>
                </a:solidFill>
                <a:latin typeface="+mn-lt"/>
                <a:ea typeface="+mn-ea"/>
                <a:cs typeface="+mn-cs"/>
              </a:rPr>
              <a:t>x</a:t>
            </a:r>
            <a:r>
              <a:rPr lang="en-US" sz="1200" b="0" i="0" u="none" strike="noStrike" kern="1200" baseline="0" dirty="0">
                <a:solidFill>
                  <a:schemeClr val="tx1"/>
                </a:solidFill>
                <a:latin typeface="+mn-lt"/>
                <a:ea typeface="+mn-ea"/>
                <a:cs typeface="+mn-cs"/>
              </a:rPr>
              <a:t>–</a:t>
            </a:r>
            <a:r>
              <a:rPr lang="en-US" sz="1200" b="0" i="1" u="none" strike="noStrike" kern="1200" baseline="0" dirty="0">
                <a:solidFill>
                  <a:schemeClr val="tx1"/>
                </a:solidFill>
                <a:latin typeface="+mn-lt"/>
                <a:ea typeface="+mn-ea"/>
                <a:cs typeface="+mn-cs"/>
              </a:rPr>
              <a:t>z </a:t>
            </a:r>
            <a:r>
              <a:rPr lang="en-US" sz="1200" b="0" i="0" u="none" strike="noStrike" kern="1200" baseline="0" dirty="0">
                <a:solidFill>
                  <a:schemeClr val="tx1"/>
                </a:solidFill>
                <a:latin typeface="+mn-lt"/>
                <a:ea typeface="+mn-ea"/>
                <a:cs typeface="+mn-cs"/>
              </a:rPr>
              <a:t>cross-section of the same volume sliced through the dashed line shown in </a:t>
            </a:r>
            <a:r>
              <a:rPr lang="en-US" sz="1200" b="1" i="0" u="none" strike="noStrike" kern="1200" baseline="0" dirty="0">
                <a:solidFill>
                  <a:schemeClr val="tx1"/>
                </a:solidFill>
                <a:latin typeface="+mn-lt"/>
                <a:ea typeface="+mn-ea"/>
                <a:cs typeface="+mn-cs"/>
              </a:rPr>
              <a:t>a</a:t>
            </a:r>
            <a:r>
              <a:rPr lang="en-US" sz="1200" b="0" i="0" u="none" strike="noStrike" kern="1200" baseline="0" dirty="0">
                <a:solidFill>
                  <a:schemeClr val="tx1"/>
                </a:solidFill>
                <a:latin typeface="+mn-lt"/>
                <a:ea typeface="+mn-ea"/>
                <a:cs typeface="+mn-cs"/>
              </a:rPr>
              <a:t>. (</a:t>
            </a:r>
            <a:r>
              <a:rPr lang="en-US" sz="1200" b="1" i="0" u="none" strike="noStrike" kern="1200" baseline="0" dirty="0">
                <a:solidFill>
                  <a:schemeClr val="tx1"/>
                </a:solidFill>
                <a:latin typeface="+mn-lt"/>
                <a:ea typeface="+mn-ea"/>
                <a:cs typeface="+mn-cs"/>
              </a:rPr>
              <a:t>c</a:t>
            </a:r>
            <a:r>
              <a:rPr lang="en-US" sz="1200" b="0" i="0" u="none" strike="noStrike" kern="1200" baseline="0" dirty="0">
                <a:solidFill>
                  <a:schemeClr val="tx1"/>
                </a:solidFill>
                <a:latin typeface="+mn-lt"/>
                <a:ea typeface="+mn-ea"/>
                <a:cs typeface="+mn-cs"/>
              </a:rPr>
              <a:t>–</a:t>
            </a:r>
            <a:r>
              <a:rPr lang="en-US" sz="1200" b="1" i="0" u="none" strike="noStrike" kern="1200" baseline="0" dirty="0">
                <a:solidFill>
                  <a:schemeClr val="tx1"/>
                </a:solidFill>
                <a:latin typeface="+mn-lt"/>
                <a:ea typeface="+mn-ea"/>
                <a:cs typeface="+mn-cs"/>
              </a:rPr>
              <a:t>f</a:t>
            </a:r>
            <a:r>
              <a:rPr lang="en-US" sz="1200" b="0" i="0" u="none" strike="noStrike" kern="1200" baseline="0" dirty="0">
                <a:solidFill>
                  <a:schemeClr val="tx1"/>
                </a:solidFill>
                <a:latin typeface="+mn-lt"/>
                <a:ea typeface="+mn-ea"/>
                <a:cs typeface="+mn-cs"/>
              </a:rPr>
              <a:t>) Single-plane </a:t>
            </a:r>
            <a:r>
              <a:rPr lang="en-US" sz="1200" b="0" i="1" u="none" strike="noStrike" kern="1200" baseline="0" dirty="0">
                <a:solidFill>
                  <a:schemeClr val="tx1"/>
                </a:solidFill>
                <a:latin typeface="+mn-lt"/>
                <a:ea typeface="+mn-ea"/>
                <a:cs typeface="+mn-cs"/>
              </a:rPr>
              <a:t>x</a:t>
            </a:r>
            <a:r>
              <a:rPr lang="en-US" sz="1200" b="0" i="0" u="none" strike="noStrike" kern="1200" baseline="0" dirty="0">
                <a:solidFill>
                  <a:schemeClr val="tx1"/>
                </a:solidFill>
                <a:latin typeface="+mn-lt"/>
                <a:ea typeface="+mn-ea"/>
                <a:cs typeface="+mn-cs"/>
              </a:rPr>
              <a:t>–</a:t>
            </a:r>
            <a:r>
              <a:rPr lang="en-US" sz="1200" b="0" i="1" u="none" strike="noStrike" kern="1200" baseline="0" dirty="0">
                <a:solidFill>
                  <a:schemeClr val="tx1"/>
                </a:solidFill>
                <a:latin typeface="+mn-lt"/>
                <a:ea typeface="+mn-ea"/>
                <a:cs typeface="+mn-cs"/>
              </a:rPr>
              <a:t>y </a:t>
            </a:r>
            <a:r>
              <a:rPr lang="en-US" sz="1200" b="0" i="0" u="none" strike="noStrike" kern="1200" baseline="0" dirty="0">
                <a:solidFill>
                  <a:schemeClr val="tx1"/>
                </a:solidFill>
                <a:latin typeface="+mn-lt"/>
                <a:ea typeface="+mn-ea"/>
                <a:cs typeface="+mn-cs"/>
              </a:rPr>
              <a:t>slices corresponding to the boxed regions in </a:t>
            </a:r>
            <a:r>
              <a:rPr lang="en-US" sz="1200" b="1" i="0" u="none" strike="noStrike" kern="1200" baseline="0" dirty="0">
                <a:solidFill>
                  <a:schemeClr val="tx1"/>
                </a:solidFill>
                <a:latin typeface="+mn-lt"/>
                <a:ea typeface="+mn-ea"/>
                <a:cs typeface="+mn-cs"/>
              </a:rPr>
              <a:t>a</a:t>
            </a:r>
            <a:r>
              <a:rPr lang="en-US" sz="1200" b="0" i="0" u="none" strike="noStrike" kern="1200" baseline="0" dirty="0">
                <a:solidFill>
                  <a:schemeClr val="tx1"/>
                </a:solidFill>
                <a:latin typeface="+mn-lt"/>
                <a:ea typeface="+mn-ea"/>
                <a:cs typeface="+mn-cs"/>
              </a:rPr>
              <a:t>. (</a:t>
            </a:r>
            <a:r>
              <a:rPr lang="en-US" sz="1200" b="1" i="0" u="none" strike="noStrike" kern="1200" baseline="0" dirty="0">
                <a:solidFill>
                  <a:schemeClr val="tx1"/>
                </a:solidFill>
                <a:latin typeface="+mn-lt"/>
                <a:ea typeface="+mn-ea"/>
                <a:cs typeface="+mn-cs"/>
              </a:rPr>
              <a:t>g</a:t>
            </a:r>
            <a:r>
              <a:rPr lang="en-US" sz="1200" b="0" i="0" u="none" strike="noStrike" kern="1200" baseline="0" dirty="0">
                <a:solidFill>
                  <a:schemeClr val="tx1"/>
                </a:solidFill>
                <a:latin typeface="+mn-lt"/>
                <a:ea typeface="+mn-ea"/>
                <a:cs typeface="+mn-cs"/>
              </a:rPr>
              <a:t>) Eight time frames of the region boxed with dashed line in </a:t>
            </a:r>
            <a:r>
              <a:rPr lang="en-US" sz="1200" b="1" i="0" u="none" strike="noStrike" kern="1200" baseline="0" dirty="0">
                <a:solidFill>
                  <a:schemeClr val="tx1"/>
                </a:solidFill>
                <a:latin typeface="+mn-lt"/>
                <a:ea typeface="+mn-ea"/>
                <a:cs typeface="+mn-cs"/>
              </a:rPr>
              <a:t>a</a:t>
            </a:r>
            <a:r>
              <a:rPr lang="en-US" sz="1200" b="0" i="0" u="none" strike="noStrike" kern="1200" baseline="0" dirty="0">
                <a:solidFill>
                  <a:schemeClr val="tx1"/>
                </a:solidFill>
                <a:latin typeface="+mn-lt"/>
                <a:ea typeface="+mn-ea"/>
                <a:cs typeface="+mn-cs"/>
              </a:rPr>
              <a:t>. Each frame is a maximum-intensity projection along </a:t>
            </a:r>
            <a:r>
              <a:rPr lang="en-US" sz="1200" b="0" i="1" u="none" strike="noStrike" kern="1200" baseline="0" dirty="0">
                <a:solidFill>
                  <a:schemeClr val="tx1"/>
                </a:solidFill>
                <a:latin typeface="+mn-lt"/>
                <a:ea typeface="+mn-ea"/>
                <a:cs typeface="+mn-cs"/>
              </a:rPr>
              <a:t>z </a:t>
            </a:r>
            <a:r>
              <a:rPr lang="en-US" sz="1200" b="0" i="0" u="none" strike="noStrike" kern="1200" baseline="0" dirty="0">
                <a:solidFill>
                  <a:schemeClr val="tx1"/>
                </a:solidFill>
                <a:latin typeface="+mn-lt"/>
                <a:ea typeface="+mn-ea"/>
                <a:cs typeface="+mn-cs"/>
              </a:rPr>
              <a:t>over a 1.3 </a:t>
            </a:r>
            <a:r>
              <a:rPr lang="en-US" sz="1200" b="0" i="0" u="none" strike="noStrike" kern="1200" baseline="0" dirty="0" err="1">
                <a:solidFill>
                  <a:schemeClr val="tx1"/>
                </a:solidFill>
                <a:latin typeface="+mn-lt"/>
                <a:ea typeface="+mn-ea"/>
                <a:cs typeface="+mn-cs"/>
              </a:rPr>
              <a:t>μm</a:t>
            </a:r>
            <a:r>
              <a:rPr lang="en-US" sz="1200" b="0" i="0" u="none" strike="noStrike" kern="1200" baseline="0" dirty="0">
                <a:solidFill>
                  <a:schemeClr val="tx1"/>
                </a:solidFill>
                <a:latin typeface="+mn-lt"/>
                <a:ea typeface="+mn-ea"/>
                <a:cs typeface="+mn-cs"/>
              </a:rPr>
              <a:t> thickness that contains the featured ‘Y’-shaped mitochondrion. Scale bars, 2 </a:t>
            </a:r>
            <a:r>
              <a:rPr lang="en-US" sz="1200" b="0" i="0" u="none" strike="noStrike" kern="1200" baseline="0" dirty="0" err="1">
                <a:solidFill>
                  <a:schemeClr val="tx1"/>
                </a:solidFill>
                <a:latin typeface="+mn-lt"/>
                <a:ea typeface="+mn-ea"/>
                <a:cs typeface="+mn-cs"/>
              </a:rPr>
              <a:t>μm</a:t>
            </a:r>
            <a:r>
              <a:rPr lang="en-US" sz="1200" b="0" i="0" u="none" strike="noStrike" kern="1200" baseline="0" dirty="0">
                <a:solidFill>
                  <a:schemeClr val="tx1"/>
                </a:solidFill>
                <a:latin typeface="+mn-lt"/>
                <a:ea typeface="+mn-ea"/>
                <a:cs typeface="+mn-cs"/>
              </a:rPr>
              <a:t> (</a:t>
            </a:r>
            <a:r>
              <a:rPr lang="en-US" sz="1200" b="1" i="0" u="none" strike="noStrike" kern="1200" baseline="0" dirty="0" err="1">
                <a:solidFill>
                  <a:schemeClr val="tx1"/>
                </a:solidFill>
                <a:latin typeface="+mn-lt"/>
                <a:ea typeface="+mn-ea"/>
                <a:cs typeface="+mn-cs"/>
              </a:rPr>
              <a:t>a</a:t>
            </a:r>
            <a:r>
              <a:rPr lang="en-US" sz="1200" b="0" i="0" u="none" strike="noStrike" kern="1200" baseline="0" dirty="0" err="1">
                <a:solidFill>
                  <a:schemeClr val="tx1"/>
                </a:solidFill>
                <a:latin typeface="+mn-lt"/>
                <a:ea typeface="+mn-ea"/>
                <a:cs typeface="+mn-cs"/>
              </a:rPr>
              <a:t>,</a:t>
            </a:r>
            <a:r>
              <a:rPr lang="en-US" sz="1200" b="1" i="0" u="none" strike="noStrike" kern="1200" baseline="0" dirty="0" err="1">
                <a:solidFill>
                  <a:schemeClr val="tx1"/>
                </a:solidFill>
                <a:latin typeface="+mn-lt"/>
                <a:ea typeface="+mn-ea"/>
                <a:cs typeface="+mn-cs"/>
              </a:rPr>
              <a:t>b</a:t>
            </a:r>
            <a:r>
              <a:rPr lang="en-US" sz="1200" b="0" i="0" u="none" strike="noStrike" kern="1200" baseline="0" dirty="0">
                <a:solidFill>
                  <a:schemeClr val="tx1"/>
                </a:solidFill>
                <a:latin typeface="+mn-lt"/>
                <a:ea typeface="+mn-ea"/>
                <a:cs typeface="+mn-cs"/>
              </a:rPr>
              <a:t>) and 1 </a:t>
            </a:r>
            <a:r>
              <a:rPr lang="en-US" sz="1200" b="0" i="0" u="none" strike="noStrike" kern="1200" baseline="0" dirty="0" err="1">
                <a:solidFill>
                  <a:schemeClr val="tx1"/>
                </a:solidFill>
                <a:latin typeface="+mn-lt"/>
                <a:ea typeface="+mn-ea"/>
                <a:cs typeface="+mn-cs"/>
              </a:rPr>
              <a:t>μm</a:t>
            </a:r>
            <a:r>
              <a:rPr lang="en-US" sz="1200" b="0" i="0" u="none" strike="noStrike" kern="1200" baseline="0" dirty="0">
                <a:solidFill>
                  <a:schemeClr val="tx1"/>
                </a:solidFill>
                <a:latin typeface="+mn-lt"/>
                <a:ea typeface="+mn-ea"/>
                <a:cs typeface="+mn-cs"/>
              </a:rPr>
              <a:t> (</a:t>
            </a:r>
            <a:r>
              <a:rPr lang="en-US" sz="1200" b="1" i="0" u="none" strike="noStrike" kern="1200" baseline="0" dirty="0">
                <a:solidFill>
                  <a:schemeClr val="tx1"/>
                </a:solidFill>
                <a:latin typeface="+mn-lt"/>
                <a:ea typeface="+mn-ea"/>
                <a:cs typeface="+mn-cs"/>
              </a:rPr>
              <a:t>c</a:t>
            </a:r>
            <a:r>
              <a:rPr lang="en-US" sz="1200" b="0" i="0" u="none" strike="noStrike" kern="1200" baseline="0" dirty="0">
                <a:solidFill>
                  <a:schemeClr val="tx1"/>
                </a:solidFill>
                <a:latin typeface="+mn-lt"/>
                <a:ea typeface="+mn-ea"/>
                <a:cs typeface="+mn-cs"/>
              </a:rPr>
              <a:t>–</a:t>
            </a:r>
            <a:r>
              <a:rPr lang="en-US" sz="1200" b="1" i="0" u="none" strike="noStrike" kern="1200" baseline="0" dirty="0">
                <a:solidFill>
                  <a:schemeClr val="tx1"/>
                </a:solidFill>
                <a:latin typeface="+mn-lt"/>
                <a:ea typeface="+mn-ea"/>
                <a:cs typeface="+mn-cs"/>
              </a:rPr>
              <a:t>g</a:t>
            </a:r>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Shao, L., </a:t>
            </a:r>
            <a:r>
              <a:rPr lang="en-US" sz="1200" kern="1200" dirty="0" err="1">
                <a:solidFill>
                  <a:schemeClr val="tx1"/>
                </a:solidFill>
                <a:latin typeface="+mn-lt"/>
                <a:ea typeface="+mn-ea"/>
                <a:cs typeface="+mn-cs"/>
              </a:rPr>
              <a:t>Kner</a:t>
            </a:r>
            <a:r>
              <a:rPr lang="en-US" sz="1200" kern="1200" dirty="0">
                <a:solidFill>
                  <a:schemeClr val="tx1"/>
                </a:solidFill>
                <a:latin typeface="+mn-lt"/>
                <a:ea typeface="+mn-ea"/>
                <a:cs typeface="+mn-cs"/>
              </a:rPr>
              <a:t>, P., </a:t>
            </a:r>
            <a:r>
              <a:rPr lang="en-US" sz="1200" kern="1200" dirty="0" err="1">
                <a:solidFill>
                  <a:schemeClr val="tx1"/>
                </a:solidFill>
                <a:latin typeface="+mn-lt"/>
                <a:ea typeface="+mn-ea"/>
                <a:cs typeface="+mn-cs"/>
              </a:rPr>
              <a:t>Rego</a:t>
            </a:r>
            <a:r>
              <a:rPr lang="en-US" sz="1200" kern="1200" dirty="0">
                <a:solidFill>
                  <a:schemeClr val="tx1"/>
                </a:solidFill>
                <a:latin typeface="+mn-lt"/>
                <a:ea typeface="+mn-ea"/>
                <a:cs typeface="+mn-cs"/>
              </a:rPr>
              <a:t>, E.H., </a:t>
            </a:r>
            <a:r>
              <a:rPr lang="en-US" sz="1200" kern="1200" dirty="0" err="1">
                <a:solidFill>
                  <a:schemeClr val="tx1"/>
                </a:solidFill>
                <a:latin typeface="+mn-lt"/>
                <a:ea typeface="+mn-ea"/>
                <a:cs typeface="+mn-cs"/>
              </a:rPr>
              <a:t>Gustafsson</a:t>
            </a:r>
            <a:r>
              <a:rPr lang="en-US" sz="1200" kern="1200" dirty="0">
                <a:solidFill>
                  <a:schemeClr val="tx1"/>
                </a:solidFill>
                <a:latin typeface="+mn-lt"/>
                <a:ea typeface="+mn-ea"/>
                <a:cs typeface="+mn-cs"/>
              </a:rPr>
              <a:t>, M.G.L., 2011. Super-resolution 3D microscopy of live whole cells using structured illumination. Nat Meth 8, 1044-1046.</a:t>
            </a:r>
          </a:p>
          <a:p>
            <a:endParaRPr lang="en-US" dirty="0"/>
          </a:p>
        </p:txBody>
      </p:sp>
      <p:sp>
        <p:nvSpPr>
          <p:cNvPr id="4" name="Slide Number Placeholder 3"/>
          <p:cNvSpPr>
            <a:spLocks noGrp="1"/>
          </p:cNvSpPr>
          <p:nvPr>
            <p:ph type="sldNum" sz="quarter" idx="10"/>
          </p:nvPr>
        </p:nvSpPr>
        <p:spPr/>
        <p:txBody>
          <a:bodyPr/>
          <a:lstStyle/>
          <a:p>
            <a:fld id="{45397BDA-7C5D-426B-8F63-5169389F863D}" type="slidenum">
              <a:rPr lang="en-US" smtClean="0"/>
              <a:t>31</a:t>
            </a:fld>
            <a:endParaRPr lang="en-US"/>
          </a:p>
        </p:txBody>
      </p:sp>
    </p:spTree>
    <p:extLst>
      <p:ext uri="{BB962C8B-B14F-4D97-AF65-F5344CB8AC3E}">
        <p14:creationId xmlns:p14="http://schemas.microsoft.com/office/powerpoint/2010/main" val="17128766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y fall into two broad categories, "true" super-resolution techniques, which capture information contained in </a:t>
            </a:r>
            <a:r>
              <a:rPr lang="en-US" dirty="0">
                <a:hlinkClick r:id="rId3" tooltip="Evanescent waves"/>
              </a:rPr>
              <a:t>evanescent waves</a:t>
            </a:r>
            <a:r>
              <a:rPr lang="en-US" dirty="0"/>
              <a:t>, and "functional" super-resolution techniques, which use clever experimental techniques and known limitations on the matter being imaged to reconstruct a super-resolution image.</a:t>
            </a:r>
            <a:r>
              <a:rPr lang="en-US" baseline="30000" dirty="0">
                <a:hlinkClick r:id="rId4"/>
              </a:rPr>
              <a:t>[2]</a:t>
            </a:r>
            <a:endParaRPr lang="en-US" baseline="30000" dirty="0"/>
          </a:p>
          <a:p>
            <a:endParaRPr lang="en-US" dirty="0"/>
          </a:p>
          <a:p>
            <a:r>
              <a:rPr lang="en-US" dirty="0"/>
              <a:t>True subwavelength imaging techniques include those that utilize the </a:t>
            </a:r>
            <a:r>
              <a:rPr lang="en-US" dirty="0" err="1">
                <a:hlinkClick r:id="rId5" tooltip="Superlens"/>
              </a:rPr>
              <a:t>Pendry</a:t>
            </a:r>
            <a:r>
              <a:rPr lang="en-US" dirty="0">
                <a:hlinkClick r:id="rId5" tooltip="Superlens"/>
              </a:rPr>
              <a:t> </a:t>
            </a:r>
            <a:r>
              <a:rPr lang="en-US" dirty="0" err="1">
                <a:hlinkClick r:id="rId5" tooltip="Superlens"/>
              </a:rPr>
              <a:t>Superlens</a:t>
            </a:r>
            <a:r>
              <a:rPr lang="en-US" dirty="0"/>
              <a:t> and </a:t>
            </a:r>
            <a:r>
              <a:rPr lang="en-US" dirty="0">
                <a:hlinkClick r:id="rId6" tooltip="Near field scanning optical microscopy"/>
              </a:rPr>
              <a:t>near field scanning optical microscopy</a:t>
            </a:r>
            <a:r>
              <a:rPr lang="en-US" dirty="0"/>
              <a:t>, the </a:t>
            </a:r>
            <a:r>
              <a:rPr lang="en-US" dirty="0">
                <a:hlinkClick r:id="rId7" tooltip="4Pi Microscope"/>
              </a:rPr>
              <a:t>4Pi Microscope</a:t>
            </a:r>
            <a:r>
              <a:rPr lang="en-US" dirty="0"/>
              <a:t> and structured illumination microscopy technologies like SIM and </a:t>
            </a:r>
            <a:r>
              <a:rPr lang="en-US" dirty="0">
                <a:hlinkClick r:id="rId8" tooltip="Vertico SMI"/>
              </a:rPr>
              <a:t>SMI</a:t>
            </a:r>
            <a:r>
              <a:rPr lang="en-US" dirty="0"/>
              <a:t>. However, the majority of techniques of importance in biological imaging fall into the functional category.</a:t>
            </a:r>
          </a:p>
          <a:p>
            <a:r>
              <a:rPr lang="en-US" dirty="0"/>
              <a:t>There are two major groups of methods for functional super-resolution microscopy:</a:t>
            </a:r>
          </a:p>
          <a:p>
            <a:r>
              <a:rPr lang="en-US" dirty="0"/>
              <a:t>Deterministic super-resolution: The most commonly used emitters in biological microscopy, </a:t>
            </a:r>
            <a:r>
              <a:rPr lang="en-US" dirty="0">
                <a:hlinkClick r:id="rId9" tooltip="Fluorophores"/>
              </a:rPr>
              <a:t>fluorophores</a:t>
            </a:r>
            <a:r>
              <a:rPr lang="en-US" dirty="0"/>
              <a:t>, show a nonlinear response to excitation, and this nonlinear response can be exploited to enhance resolution. These methods include </a:t>
            </a:r>
            <a:r>
              <a:rPr lang="en-US" dirty="0">
                <a:hlinkClick r:id="rId10" tooltip="STED microscopy"/>
              </a:rPr>
              <a:t>STED</a:t>
            </a:r>
            <a:r>
              <a:rPr lang="en-US" dirty="0"/>
              <a:t>, </a:t>
            </a:r>
            <a:r>
              <a:rPr lang="en-US" dirty="0">
                <a:hlinkClick r:id="rId11" tooltip="GSD microscopy"/>
              </a:rPr>
              <a:t>GSD</a:t>
            </a:r>
            <a:r>
              <a:rPr lang="en-US" dirty="0"/>
              <a:t>, </a:t>
            </a:r>
            <a:r>
              <a:rPr lang="en-US" dirty="0">
                <a:hlinkClick r:id="rId12" tooltip="RESOLFT"/>
              </a:rPr>
              <a:t>RESOLFT</a:t>
            </a:r>
            <a:r>
              <a:rPr lang="en-US" dirty="0"/>
              <a:t> and SSIM.</a:t>
            </a:r>
          </a:p>
          <a:p>
            <a:r>
              <a:rPr lang="en-US" dirty="0"/>
              <a:t>Stochastic super-resolution: The chemical complexity of many molecular light sources gives them a complex temporal </a:t>
            </a:r>
            <a:r>
              <a:rPr lang="en-US" dirty="0" err="1"/>
              <a:t>behaviour</a:t>
            </a:r>
            <a:r>
              <a:rPr lang="en-US" dirty="0"/>
              <a:t>, which can be used to make several close-by fluorophores emit light at separate times and thereby become resolvable in time. These methods include SOFI and all single-molecule localization methods (SMLM) such as </a:t>
            </a:r>
            <a:r>
              <a:rPr lang="en-US" dirty="0">
                <a:hlinkClick r:id="rId8" tooltip="Vertico SMI"/>
              </a:rPr>
              <a:t>SPDM</a:t>
            </a:r>
            <a:r>
              <a:rPr lang="en-US" dirty="0"/>
              <a:t>, </a:t>
            </a:r>
            <a:r>
              <a:rPr lang="en-US" dirty="0" err="1">
                <a:hlinkClick r:id="rId8" tooltip="Vertico SMI"/>
              </a:rPr>
              <a:t>SPDMphymod</a:t>
            </a:r>
            <a:r>
              <a:rPr lang="en-US" dirty="0"/>
              <a:t>, </a:t>
            </a:r>
            <a:r>
              <a:rPr lang="en-US" dirty="0">
                <a:hlinkClick r:id="rId13" tooltip="Photoactivated localization microscopy"/>
              </a:rPr>
              <a:t>PALM</a:t>
            </a:r>
            <a:r>
              <a:rPr lang="en-US" dirty="0"/>
              <a:t>, FPALM, STORM and </a:t>
            </a:r>
            <a:r>
              <a:rPr lang="en-US" dirty="0" err="1"/>
              <a:t>dSTORM</a:t>
            </a:r>
            <a:r>
              <a:rPr lang="en-US" dirty="0"/>
              <a:t>.</a:t>
            </a:r>
          </a:p>
          <a:p>
            <a:endParaRPr lang="en-US" dirty="0"/>
          </a:p>
        </p:txBody>
      </p:sp>
      <p:sp>
        <p:nvSpPr>
          <p:cNvPr id="4" name="Slide Number Placeholder 3"/>
          <p:cNvSpPr>
            <a:spLocks noGrp="1"/>
          </p:cNvSpPr>
          <p:nvPr>
            <p:ph type="sldNum" sz="quarter" idx="10"/>
          </p:nvPr>
        </p:nvSpPr>
        <p:spPr/>
        <p:txBody>
          <a:bodyPr/>
          <a:lstStyle/>
          <a:p>
            <a:fld id="{5C1915EA-2C58-4E3C-9B71-E32E967BD0E8}" type="slidenum">
              <a:rPr lang="en-US" smtClean="0"/>
              <a:t>5</a:t>
            </a:fld>
            <a:endParaRPr lang="en-US"/>
          </a:p>
        </p:txBody>
      </p:sp>
    </p:spTree>
    <p:extLst>
      <p:ext uri="{BB962C8B-B14F-4D97-AF65-F5344CB8AC3E}">
        <p14:creationId xmlns:p14="http://schemas.microsoft.com/office/powerpoint/2010/main" val="2801419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nlinear TIRF-SIM with patterned activation; Actin cytoskeleton</a:t>
            </a:r>
            <a:endParaRPr lang="en-US" sz="120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Li, D., Shao, L., Chen, B.-C., Zhang, X., Zhang, M., Moses, B., </a:t>
            </a:r>
            <a:r>
              <a:rPr lang="en-US" sz="1200" kern="1200" dirty="0" err="1">
                <a:solidFill>
                  <a:schemeClr val="tx1"/>
                </a:solidFill>
                <a:latin typeface="+mn-lt"/>
                <a:ea typeface="+mn-ea"/>
                <a:cs typeface="+mn-cs"/>
              </a:rPr>
              <a:t>Milkie</a:t>
            </a:r>
            <a:r>
              <a:rPr lang="en-US" sz="1200" kern="1200" dirty="0">
                <a:solidFill>
                  <a:schemeClr val="tx1"/>
                </a:solidFill>
                <a:latin typeface="+mn-lt"/>
                <a:ea typeface="+mn-ea"/>
                <a:cs typeface="+mn-cs"/>
              </a:rPr>
              <a:t>, D.E., Beach, J.R., Hammer, J.A., </a:t>
            </a:r>
            <a:r>
              <a:rPr lang="en-US" sz="1200" kern="1200" dirty="0" err="1">
                <a:solidFill>
                  <a:schemeClr val="tx1"/>
                </a:solidFill>
                <a:latin typeface="+mn-lt"/>
                <a:ea typeface="+mn-ea"/>
                <a:cs typeface="+mn-cs"/>
              </a:rPr>
              <a:t>Pasham</a:t>
            </a:r>
            <a:r>
              <a:rPr lang="en-US" sz="1200" kern="1200" dirty="0">
                <a:solidFill>
                  <a:schemeClr val="tx1"/>
                </a:solidFill>
                <a:latin typeface="+mn-lt"/>
                <a:ea typeface="+mn-ea"/>
                <a:cs typeface="+mn-cs"/>
              </a:rPr>
              <a:t>, M., </a:t>
            </a:r>
            <a:r>
              <a:rPr lang="en-US" sz="1200" kern="1200" dirty="0" err="1">
                <a:solidFill>
                  <a:schemeClr val="tx1"/>
                </a:solidFill>
                <a:latin typeface="+mn-lt"/>
                <a:ea typeface="+mn-ea"/>
                <a:cs typeface="+mn-cs"/>
              </a:rPr>
              <a:t>Kirchhausen</a:t>
            </a:r>
            <a:r>
              <a:rPr lang="en-US" sz="1200" kern="1200" dirty="0">
                <a:solidFill>
                  <a:schemeClr val="tx1"/>
                </a:solidFill>
                <a:latin typeface="+mn-lt"/>
                <a:ea typeface="+mn-ea"/>
                <a:cs typeface="+mn-cs"/>
              </a:rPr>
              <a:t>, T., Baird, M.A., Davidson, M.W., Xu, P., Betzig, E., 2015. Extended-resolution structured illumination imaging of endocytic and cytoskeletal dynamics. Science 349.</a:t>
            </a:r>
          </a:p>
          <a:p>
            <a:endParaRPr lang="en-US" dirty="0"/>
          </a:p>
        </p:txBody>
      </p:sp>
      <p:sp>
        <p:nvSpPr>
          <p:cNvPr id="4" name="Slide Number Placeholder 3"/>
          <p:cNvSpPr>
            <a:spLocks noGrp="1"/>
          </p:cNvSpPr>
          <p:nvPr>
            <p:ph type="sldNum" sz="quarter" idx="10"/>
          </p:nvPr>
        </p:nvSpPr>
        <p:spPr/>
        <p:txBody>
          <a:bodyPr/>
          <a:lstStyle/>
          <a:p>
            <a:fld id="{45397BDA-7C5D-426B-8F63-5169389F863D}" type="slidenum">
              <a:rPr lang="en-US" smtClean="0"/>
              <a:t>32</a:t>
            </a:fld>
            <a:endParaRPr lang="en-US"/>
          </a:p>
        </p:txBody>
      </p:sp>
    </p:spTree>
    <p:extLst>
      <p:ext uri="{BB962C8B-B14F-4D97-AF65-F5344CB8AC3E}">
        <p14:creationId xmlns:p14="http://schemas.microsoft.com/office/powerpoint/2010/main" val="30972187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Nonlinear TIRF-SIM with patterned activation </a:t>
            </a:r>
            <a:r>
              <a:rPr lang="en-US" sz="1200" b="0" i="0" u="none" strike="noStrike" kern="1200" baseline="0" dirty="0" err="1">
                <a:solidFill>
                  <a:schemeClr val="tx1"/>
                </a:solidFill>
                <a:latin typeface="+mn-lt"/>
                <a:ea typeface="+mn-ea"/>
                <a:cs typeface="+mn-cs"/>
              </a:rPr>
              <a:t>caveolin</a:t>
            </a:r>
            <a:r>
              <a:rPr lang="en-US" sz="1200" b="0" i="0" u="none" strike="noStrike" kern="1200" baseline="0" dirty="0">
                <a:solidFill>
                  <a:schemeClr val="tx1"/>
                </a:solidFill>
                <a:latin typeface="+mn-lt"/>
                <a:ea typeface="+mn-ea"/>
                <a:cs typeface="+mn-cs"/>
              </a:rPr>
              <a:t>, </a:t>
            </a:r>
            <a:r>
              <a:rPr lang="en-US" sz="1200" b="0" i="0" u="none" strike="noStrike" kern="1200" baseline="0" dirty="0" err="1">
                <a:solidFill>
                  <a:schemeClr val="tx1"/>
                </a:solidFill>
                <a:latin typeface="+mn-lt"/>
                <a:ea typeface="+mn-ea"/>
                <a:cs typeface="+mn-cs"/>
              </a:rPr>
              <a:t>caveolea</a:t>
            </a:r>
            <a:endParaRPr lang="en-US" sz="120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Li, D., Shao, L., Chen, B.-C., Zhang, X., Zhang, M., Moses, B., </a:t>
            </a:r>
            <a:r>
              <a:rPr lang="en-US" sz="1200" kern="1200" dirty="0" err="1">
                <a:solidFill>
                  <a:schemeClr val="tx1"/>
                </a:solidFill>
                <a:latin typeface="+mn-lt"/>
                <a:ea typeface="+mn-ea"/>
                <a:cs typeface="+mn-cs"/>
              </a:rPr>
              <a:t>Milkie</a:t>
            </a:r>
            <a:r>
              <a:rPr lang="en-US" sz="1200" kern="1200" dirty="0">
                <a:solidFill>
                  <a:schemeClr val="tx1"/>
                </a:solidFill>
                <a:latin typeface="+mn-lt"/>
                <a:ea typeface="+mn-ea"/>
                <a:cs typeface="+mn-cs"/>
              </a:rPr>
              <a:t>, D.E., Beach, J.R., Hammer, J.A., </a:t>
            </a:r>
            <a:r>
              <a:rPr lang="en-US" sz="1200" kern="1200" dirty="0" err="1">
                <a:solidFill>
                  <a:schemeClr val="tx1"/>
                </a:solidFill>
                <a:latin typeface="+mn-lt"/>
                <a:ea typeface="+mn-ea"/>
                <a:cs typeface="+mn-cs"/>
              </a:rPr>
              <a:t>Pasham</a:t>
            </a:r>
            <a:r>
              <a:rPr lang="en-US" sz="1200" kern="1200" dirty="0">
                <a:solidFill>
                  <a:schemeClr val="tx1"/>
                </a:solidFill>
                <a:latin typeface="+mn-lt"/>
                <a:ea typeface="+mn-ea"/>
                <a:cs typeface="+mn-cs"/>
              </a:rPr>
              <a:t>, M., </a:t>
            </a:r>
            <a:r>
              <a:rPr lang="en-US" sz="1200" kern="1200" dirty="0" err="1">
                <a:solidFill>
                  <a:schemeClr val="tx1"/>
                </a:solidFill>
                <a:latin typeface="+mn-lt"/>
                <a:ea typeface="+mn-ea"/>
                <a:cs typeface="+mn-cs"/>
              </a:rPr>
              <a:t>Kirchhausen</a:t>
            </a:r>
            <a:r>
              <a:rPr lang="en-US" sz="1200" kern="1200" dirty="0">
                <a:solidFill>
                  <a:schemeClr val="tx1"/>
                </a:solidFill>
                <a:latin typeface="+mn-lt"/>
                <a:ea typeface="+mn-ea"/>
                <a:cs typeface="+mn-cs"/>
              </a:rPr>
              <a:t>, T., Baird, M.A., Davidson, M.W., Xu, P., Betzig, E., 2015. Extended-resolution structured illumination imaging of endocytic and cytoskeletal dynamics. Science 349.</a:t>
            </a:r>
          </a:p>
          <a:p>
            <a:endParaRPr lang="en-US" dirty="0"/>
          </a:p>
        </p:txBody>
      </p:sp>
      <p:sp>
        <p:nvSpPr>
          <p:cNvPr id="4" name="Slide Number Placeholder 3"/>
          <p:cNvSpPr>
            <a:spLocks noGrp="1"/>
          </p:cNvSpPr>
          <p:nvPr>
            <p:ph type="sldNum" sz="quarter" idx="10"/>
          </p:nvPr>
        </p:nvSpPr>
        <p:spPr/>
        <p:txBody>
          <a:bodyPr/>
          <a:lstStyle/>
          <a:p>
            <a:fld id="{45397BDA-7C5D-426B-8F63-5169389F863D}" type="slidenum">
              <a:rPr lang="en-US" smtClean="0"/>
              <a:t>33</a:t>
            </a:fld>
            <a:endParaRPr lang="en-US"/>
          </a:p>
        </p:txBody>
      </p:sp>
    </p:spTree>
    <p:extLst>
      <p:ext uri="{BB962C8B-B14F-4D97-AF65-F5344CB8AC3E}">
        <p14:creationId xmlns:p14="http://schemas.microsoft.com/office/powerpoint/2010/main" val="40545913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jcb.rupress.org/content/190/2/165.full</a:t>
            </a:r>
          </a:p>
        </p:txBody>
      </p:sp>
      <p:sp>
        <p:nvSpPr>
          <p:cNvPr id="4" name="Slide Number Placeholder 3"/>
          <p:cNvSpPr>
            <a:spLocks noGrp="1"/>
          </p:cNvSpPr>
          <p:nvPr>
            <p:ph type="sldNum" sz="quarter" idx="10"/>
          </p:nvPr>
        </p:nvSpPr>
        <p:spPr/>
        <p:txBody>
          <a:bodyPr/>
          <a:lstStyle/>
          <a:p>
            <a:fld id="{45397BDA-7C5D-426B-8F63-5169389F863D}" type="slidenum">
              <a:rPr lang="en-US" smtClean="0"/>
              <a:t>34</a:t>
            </a:fld>
            <a:endParaRPr lang="en-US"/>
          </a:p>
        </p:txBody>
      </p:sp>
    </p:spTree>
    <p:extLst>
      <p:ext uri="{BB962C8B-B14F-4D97-AF65-F5344CB8AC3E}">
        <p14:creationId xmlns:p14="http://schemas.microsoft.com/office/powerpoint/2010/main" val="15943537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The</a:t>
            </a:r>
            <a:r>
              <a:rPr lang="en-US" baseline="0" dirty="0"/>
              <a:t> practical limit for the pinhole-size in confocal microscopy is 1.A.u. the resolution achieved at that setting is comparable to the classical limits postulated by </a:t>
            </a:r>
            <a:r>
              <a:rPr lang="en-US" baseline="0" dirty="0" err="1"/>
              <a:t>Abbé</a:t>
            </a:r>
            <a:r>
              <a:rPr lang="en-US" baseline="0" dirty="0"/>
              <a:t> or Rayleigh. The spatial image of a point-like emitter recorded with a confocal microscope with a 1 </a:t>
            </a:r>
            <a:r>
              <a:rPr lang="en-US" baseline="0" dirty="0" err="1"/>
              <a:t>A.u</a:t>
            </a:r>
            <a:r>
              <a:rPr lang="en-US" baseline="0" dirty="0"/>
              <a:t>. pinhole will correspond to the classically defined PSF. </a:t>
            </a:r>
            <a:endParaRPr lang="en-US" dirty="0"/>
          </a:p>
        </p:txBody>
      </p:sp>
      <p:sp>
        <p:nvSpPr>
          <p:cNvPr id="4" name="Foliennummernplatzhalter 3"/>
          <p:cNvSpPr>
            <a:spLocks noGrp="1"/>
          </p:cNvSpPr>
          <p:nvPr>
            <p:ph type="sldNum" sz="quarter" idx="10"/>
          </p:nvPr>
        </p:nvSpPr>
        <p:spPr/>
        <p:txBody>
          <a:bodyPr/>
          <a:lstStyle/>
          <a:p>
            <a:fld id="{32A911EB-CBDE-4928-B1ED-A3294608A373}" type="slidenum">
              <a:rPr lang="de-DE">
                <a:solidFill>
                  <a:prstClr val="black"/>
                </a:solidFill>
              </a:rPr>
              <a:pPr/>
              <a:t>36</a:t>
            </a:fld>
            <a:endParaRPr lang="de-DE">
              <a:solidFill>
                <a:prstClr val="black"/>
              </a:solidFill>
            </a:endParaRPr>
          </a:p>
        </p:txBody>
      </p:sp>
    </p:spTree>
    <p:extLst>
      <p:ext uri="{BB962C8B-B14F-4D97-AF65-F5344CB8AC3E}">
        <p14:creationId xmlns:p14="http://schemas.microsoft.com/office/powerpoint/2010/main" val="28139238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One main aspect of </a:t>
            </a:r>
            <a:r>
              <a:rPr lang="en-US" dirty="0" err="1"/>
              <a:t>Airyscan</a:t>
            </a:r>
            <a:r>
              <a:rPr lang="en-US" dirty="0"/>
              <a:t> is its capability to achieve</a:t>
            </a:r>
            <a:r>
              <a:rPr lang="en-US" baseline="0" dirty="0"/>
              <a:t> </a:t>
            </a:r>
            <a:r>
              <a:rPr lang="en-US" baseline="0" dirty="0" err="1"/>
              <a:t>superresolution</a:t>
            </a:r>
            <a:r>
              <a:rPr lang="en-US" baseline="0" dirty="0"/>
              <a:t> (in the sense of </a:t>
            </a:r>
            <a:r>
              <a:rPr lang="en-US" baseline="0" dirty="0" err="1"/>
              <a:t>Abbé</a:t>
            </a:r>
            <a:r>
              <a:rPr lang="en-US" baseline="0" dirty="0"/>
              <a:t> or Rayleigh). The idea, indeed, is not new – It is widely known that confocal microscopes carry the capability to convolve excitation with detection and result in a factor-</a:t>
            </a:r>
            <a:r>
              <a:rPr lang="en-US" baseline="0" dirty="0" err="1"/>
              <a:t>sqrt</a:t>
            </a:r>
            <a:r>
              <a:rPr lang="en-US" baseline="0" dirty="0"/>
              <a:t>(2) </a:t>
            </a:r>
            <a:r>
              <a:rPr lang="en-US" baseline="0" dirty="0" err="1"/>
              <a:t>ammeliorated</a:t>
            </a:r>
            <a:r>
              <a:rPr lang="en-US" baseline="0" dirty="0"/>
              <a:t> resolution. However, in order to tap into this regime, the pinhole must be much smaller than the PSF itself. The loss of signal in this case poses, in the </a:t>
            </a:r>
            <a:r>
              <a:rPr lang="en-US" baseline="0" dirty="0" err="1"/>
              <a:t>mojority</a:t>
            </a:r>
            <a:r>
              <a:rPr lang="en-US" baseline="0" dirty="0"/>
              <a:t> of cases, an unsurmountable difficulty. As noted previously, </a:t>
            </a:r>
            <a:r>
              <a:rPr lang="en-US" baseline="0" dirty="0" err="1"/>
              <a:t>Airyscan</a:t>
            </a:r>
            <a:r>
              <a:rPr lang="en-US" baseline="0" dirty="0"/>
              <a:t> acts as if scanning with 0.2 </a:t>
            </a:r>
            <a:r>
              <a:rPr lang="en-US" baseline="0" dirty="0" err="1"/>
              <a:t>A.u</a:t>
            </a:r>
            <a:r>
              <a:rPr lang="en-US" baseline="0" dirty="0"/>
              <a:t>. pinholes, however, because the light is collected from the whole array, each pixel is in effect scanned at least 32 times. Since all photons are collected the loss of signal is virtually avoided. </a:t>
            </a:r>
            <a:endParaRPr lang="en-US" dirty="0"/>
          </a:p>
        </p:txBody>
      </p:sp>
      <p:sp>
        <p:nvSpPr>
          <p:cNvPr id="4" name="Foliennummernplatzhalter 3"/>
          <p:cNvSpPr>
            <a:spLocks noGrp="1"/>
          </p:cNvSpPr>
          <p:nvPr>
            <p:ph type="sldNum" sz="quarter" idx="10"/>
          </p:nvPr>
        </p:nvSpPr>
        <p:spPr/>
        <p:txBody>
          <a:bodyPr/>
          <a:lstStyle/>
          <a:p>
            <a:fld id="{32A911EB-CBDE-4928-B1ED-A3294608A373}" type="slidenum">
              <a:rPr lang="de-DE">
                <a:solidFill>
                  <a:srgbClr val="000000"/>
                </a:solidFill>
              </a:rPr>
              <a:pPr/>
              <a:t>37</a:t>
            </a:fld>
            <a:endParaRPr lang="de-DE">
              <a:solidFill>
                <a:srgbClr val="000000"/>
              </a:solidFill>
            </a:endParaRPr>
          </a:p>
        </p:txBody>
      </p:sp>
    </p:spTree>
    <p:extLst>
      <p:ext uri="{BB962C8B-B14F-4D97-AF65-F5344CB8AC3E}">
        <p14:creationId xmlns:p14="http://schemas.microsoft.com/office/powerpoint/2010/main" val="4089078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aseline="0" dirty="0" err="1"/>
              <a:t>Airyscan</a:t>
            </a:r>
            <a:r>
              <a:rPr lang="en-US" baseline="0" dirty="0"/>
              <a:t> acts as if scanning with 0.2 </a:t>
            </a:r>
            <a:r>
              <a:rPr lang="en-US" baseline="0" dirty="0" err="1"/>
              <a:t>A.u</a:t>
            </a:r>
            <a:r>
              <a:rPr lang="en-US" baseline="0" dirty="0"/>
              <a:t>. pinholes, however, because the light is collected from the whole array, each pixel is - in effect - scanned at least 32 times. Since all photons are collected the loss of signal is virtually avoided. The PSF can be re-mapped as shown, generating a smaller PSF by a factor </a:t>
            </a:r>
            <a:r>
              <a:rPr lang="en-US" baseline="0" dirty="0" err="1"/>
              <a:t>sqrt</a:t>
            </a:r>
            <a:r>
              <a:rPr lang="en-US" baseline="0" dirty="0"/>
              <a:t>(2). This is true in every direction (including z – not shown, here). At this level of oversampling, one is generating ideal conditions for </a:t>
            </a:r>
            <a:r>
              <a:rPr lang="en-US" baseline="0" dirty="0" err="1"/>
              <a:t>deconvolution</a:t>
            </a:r>
            <a:r>
              <a:rPr lang="en-US" baseline="0" dirty="0"/>
              <a:t>. A </a:t>
            </a:r>
            <a:r>
              <a:rPr lang="en-US" baseline="0" dirty="0" err="1"/>
              <a:t>deconvolution</a:t>
            </a:r>
            <a:r>
              <a:rPr lang="en-US" baseline="0" dirty="0"/>
              <a:t> step applied to these images generates a further increase, of about 1.2-fold,  in resolution. This additional push in resolution, however, depends on image quality and cannot be expected to work perfectly all the times.</a:t>
            </a:r>
            <a:endParaRPr lang="en-US" dirty="0"/>
          </a:p>
        </p:txBody>
      </p:sp>
      <p:sp>
        <p:nvSpPr>
          <p:cNvPr id="4" name="Foliennummernplatzhalter 3"/>
          <p:cNvSpPr>
            <a:spLocks noGrp="1"/>
          </p:cNvSpPr>
          <p:nvPr>
            <p:ph type="sldNum" sz="quarter" idx="10"/>
          </p:nvPr>
        </p:nvSpPr>
        <p:spPr/>
        <p:txBody>
          <a:bodyPr/>
          <a:lstStyle/>
          <a:p>
            <a:fld id="{32A911EB-CBDE-4928-B1ED-A3294608A373}" type="slidenum">
              <a:rPr lang="de-DE">
                <a:solidFill>
                  <a:prstClr val="black"/>
                </a:solidFill>
              </a:rPr>
              <a:pPr/>
              <a:t>38</a:t>
            </a:fld>
            <a:endParaRPr lang="de-DE">
              <a:solidFill>
                <a:prstClr val="black"/>
              </a:solidFill>
            </a:endParaRPr>
          </a:p>
        </p:txBody>
      </p:sp>
    </p:spTree>
    <p:extLst>
      <p:ext uri="{BB962C8B-B14F-4D97-AF65-F5344CB8AC3E}">
        <p14:creationId xmlns:p14="http://schemas.microsoft.com/office/powerpoint/2010/main" val="11279638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err="1"/>
              <a:t>Airyscan</a:t>
            </a:r>
            <a:r>
              <a:rPr lang="en-US" dirty="0"/>
              <a:t> is a 32-channel </a:t>
            </a:r>
            <a:r>
              <a:rPr lang="en-US" dirty="0" err="1"/>
              <a:t>GaAsP</a:t>
            </a:r>
            <a:r>
              <a:rPr lang="en-US" dirty="0"/>
              <a:t> detector array arranged in a hexagonal</a:t>
            </a:r>
            <a:r>
              <a:rPr lang="en-US" baseline="0" dirty="0"/>
              <a:t> grid. The full intensity distribution passing the pinhole reaches this detector. Each </a:t>
            </a:r>
            <a:r>
              <a:rPr lang="en-US" baseline="0" dirty="0" err="1"/>
              <a:t>GaAsP</a:t>
            </a:r>
            <a:r>
              <a:rPr lang="en-US" baseline="0" dirty="0"/>
              <a:t> subunit can be seen as a detector with a smaller pinhole. In effect every pixel on the image is generated from 32 subunits – either using the space information to generate </a:t>
            </a:r>
            <a:r>
              <a:rPr lang="en-US" baseline="0" dirty="0" err="1"/>
              <a:t>superresolution</a:t>
            </a:r>
            <a:r>
              <a:rPr lang="en-US" baseline="0" dirty="0"/>
              <a:t> or collecting all photons as an ordinary detector... </a:t>
            </a:r>
            <a:endParaRPr lang="en-US" dirty="0"/>
          </a:p>
        </p:txBody>
      </p:sp>
      <p:sp>
        <p:nvSpPr>
          <p:cNvPr id="4" name="Foliennummernplatzhalter 3"/>
          <p:cNvSpPr>
            <a:spLocks noGrp="1"/>
          </p:cNvSpPr>
          <p:nvPr>
            <p:ph type="sldNum" sz="quarter" idx="10"/>
          </p:nvPr>
        </p:nvSpPr>
        <p:spPr/>
        <p:txBody>
          <a:bodyPr/>
          <a:lstStyle/>
          <a:p>
            <a:fld id="{32A911EB-CBDE-4928-B1ED-A3294608A373}" type="slidenum">
              <a:rPr lang="de-DE">
                <a:solidFill>
                  <a:prstClr val="black"/>
                </a:solidFill>
              </a:rPr>
              <a:pPr/>
              <a:t>39</a:t>
            </a:fld>
            <a:endParaRPr lang="de-DE">
              <a:solidFill>
                <a:prstClr val="black"/>
              </a:solidFill>
            </a:endParaRPr>
          </a:p>
        </p:txBody>
      </p:sp>
    </p:spTree>
    <p:extLst>
      <p:ext uri="{BB962C8B-B14F-4D97-AF65-F5344CB8AC3E}">
        <p14:creationId xmlns:p14="http://schemas.microsoft.com/office/powerpoint/2010/main" val="35412963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aseline="0" dirty="0" err="1"/>
              <a:t>Airyscan</a:t>
            </a:r>
            <a:r>
              <a:rPr lang="en-US" baseline="0" dirty="0"/>
              <a:t> acts as if scanning with 0.2 </a:t>
            </a:r>
            <a:r>
              <a:rPr lang="en-US" baseline="0" dirty="0" err="1"/>
              <a:t>A.u</a:t>
            </a:r>
            <a:r>
              <a:rPr lang="en-US" baseline="0" dirty="0"/>
              <a:t>. pinholes, however, because the light is collected from the whole array, each pixel is - in effect - scanned at least 32 times. Since all photons are collected the loss of signal is virtually avoided. The PSF can be re-mapped as shown, generating a smaller PSF by a factor </a:t>
            </a:r>
            <a:r>
              <a:rPr lang="en-US" baseline="0" dirty="0" err="1"/>
              <a:t>sqrt</a:t>
            </a:r>
            <a:r>
              <a:rPr lang="en-US" baseline="0" dirty="0"/>
              <a:t>(2). This is true in every direction (including z – not shown, here). At this level of oversampling, one is generating ideal conditions for </a:t>
            </a:r>
            <a:r>
              <a:rPr lang="en-US" baseline="0" dirty="0" err="1"/>
              <a:t>deconvolution</a:t>
            </a:r>
            <a:r>
              <a:rPr lang="en-US" baseline="0" dirty="0"/>
              <a:t>. A </a:t>
            </a:r>
            <a:r>
              <a:rPr lang="en-US" baseline="0" dirty="0" err="1"/>
              <a:t>deconvolution</a:t>
            </a:r>
            <a:r>
              <a:rPr lang="en-US" baseline="0" dirty="0"/>
              <a:t> step applied to these images generates a further increase, of about 1.2-fold,  in resolution. This additional push in resolution, however, depends on image quality and cannot be expected to work perfectly all the times.</a:t>
            </a:r>
            <a:endParaRPr lang="en-US" dirty="0"/>
          </a:p>
        </p:txBody>
      </p:sp>
      <p:sp>
        <p:nvSpPr>
          <p:cNvPr id="4" name="Foliennummernplatzhalter 3"/>
          <p:cNvSpPr>
            <a:spLocks noGrp="1"/>
          </p:cNvSpPr>
          <p:nvPr>
            <p:ph type="sldNum" sz="quarter" idx="10"/>
          </p:nvPr>
        </p:nvSpPr>
        <p:spPr/>
        <p:txBody>
          <a:bodyPr/>
          <a:lstStyle/>
          <a:p>
            <a:fld id="{32A911EB-CBDE-4928-B1ED-A3294608A373}" type="slidenum">
              <a:rPr lang="de-DE">
                <a:solidFill>
                  <a:prstClr val="black"/>
                </a:solidFill>
              </a:rPr>
              <a:pPr/>
              <a:t>40</a:t>
            </a:fld>
            <a:endParaRPr lang="de-DE">
              <a:solidFill>
                <a:prstClr val="black"/>
              </a:solidFill>
            </a:endParaRPr>
          </a:p>
        </p:txBody>
      </p:sp>
    </p:spTree>
    <p:extLst>
      <p:ext uri="{BB962C8B-B14F-4D97-AF65-F5344CB8AC3E}">
        <p14:creationId xmlns:p14="http://schemas.microsoft.com/office/powerpoint/2010/main" val="326891674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aseline="0" dirty="0" err="1"/>
              <a:t>Airyscan</a:t>
            </a:r>
            <a:r>
              <a:rPr lang="en-US" baseline="0" dirty="0"/>
              <a:t> acts as if scanning with 0.2 </a:t>
            </a:r>
            <a:r>
              <a:rPr lang="en-US" baseline="0" dirty="0" err="1"/>
              <a:t>A.u</a:t>
            </a:r>
            <a:r>
              <a:rPr lang="en-US" baseline="0" dirty="0"/>
              <a:t>. pinholes, however, because the light is collected from the whole array, each pixel is - in effect - scanned at least 32 times. Since all photons are collected the loss of signal is virtually avoided. The PSF can be re-mapped as shown, generating a smaller PSF by a factor </a:t>
            </a:r>
            <a:r>
              <a:rPr lang="en-US" baseline="0" dirty="0" err="1"/>
              <a:t>sqrt</a:t>
            </a:r>
            <a:r>
              <a:rPr lang="en-US" baseline="0" dirty="0"/>
              <a:t>(2). This is true in every direction (including z – not shown, here). At this level of oversampling, one is generating ideal conditions for </a:t>
            </a:r>
            <a:r>
              <a:rPr lang="en-US" baseline="0" dirty="0" err="1"/>
              <a:t>deconvolution</a:t>
            </a:r>
            <a:r>
              <a:rPr lang="en-US" baseline="0" dirty="0"/>
              <a:t>. A </a:t>
            </a:r>
            <a:r>
              <a:rPr lang="en-US" baseline="0" dirty="0" err="1"/>
              <a:t>deconvolution</a:t>
            </a:r>
            <a:r>
              <a:rPr lang="en-US" baseline="0" dirty="0"/>
              <a:t> step applied to these images generates a further increase, of about 1.2-fold,  in resolution. This additional push in resolution, however, depends on image quality and cannot be expected to work perfectly all the times.</a:t>
            </a:r>
            <a:endParaRPr lang="en-US" dirty="0"/>
          </a:p>
        </p:txBody>
      </p:sp>
      <p:sp>
        <p:nvSpPr>
          <p:cNvPr id="4" name="Foliennummernplatzhalter 3"/>
          <p:cNvSpPr>
            <a:spLocks noGrp="1"/>
          </p:cNvSpPr>
          <p:nvPr>
            <p:ph type="sldNum" sz="quarter" idx="10"/>
          </p:nvPr>
        </p:nvSpPr>
        <p:spPr/>
        <p:txBody>
          <a:bodyPr/>
          <a:lstStyle/>
          <a:p>
            <a:fld id="{32A911EB-CBDE-4928-B1ED-A3294608A373}" type="slidenum">
              <a:rPr lang="de-DE">
                <a:solidFill>
                  <a:prstClr val="black"/>
                </a:solidFill>
              </a:rPr>
              <a:pPr/>
              <a:t>41</a:t>
            </a:fld>
            <a:endParaRPr lang="de-DE">
              <a:solidFill>
                <a:prstClr val="black"/>
              </a:solidFill>
            </a:endParaRPr>
          </a:p>
        </p:txBody>
      </p:sp>
    </p:spTree>
    <p:extLst>
      <p:ext uri="{BB962C8B-B14F-4D97-AF65-F5344CB8AC3E}">
        <p14:creationId xmlns:p14="http://schemas.microsoft.com/office/powerpoint/2010/main" val="351831398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aseline="0" dirty="0" err="1"/>
              <a:t>Airyscan</a:t>
            </a:r>
            <a:r>
              <a:rPr lang="en-US" baseline="0" dirty="0"/>
              <a:t> acts as if scanning with 0.2 </a:t>
            </a:r>
            <a:r>
              <a:rPr lang="en-US" baseline="0" dirty="0" err="1"/>
              <a:t>A.u</a:t>
            </a:r>
            <a:r>
              <a:rPr lang="en-US" baseline="0" dirty="0"/>
              <a:t>. pinholes, however, because the light is collected from the whole array, each pixel is - in effect - scanned at least 32 times. Since all photons are collected the loss of signal is virtually avoided. The PSF can be re-mapped as shown, generating a smaller PSF by a factor </a:t>
            </a:r>
            <a:r>
              <a:rPr lang="en-US" baseline="0" dirty="0" err="1"/>
              <a:t>sqrt</a:t>
            </a:r>
            <a:r>
              <a:rPr lang="en-US" baseline="0" dirty="0"/>
              <a:t>(2). This is true in every direction (including z – not shown, here). At this level of oversampling, one is generating ideal conditions for </a:t>
            </a:r>
            <a:r>
              <a:rPr lang="en-US" baseline="0" dirty="0" err="1"/>
              <a:t>deconvolution</a:t>
            </a:r>
            <a:r>
              <a:rPr lang="en-US" baseline="0" dirty="0"/>
              <a:t>. A </a:t>
            </a:r>
            <a:r>
              <a:rPr lang="en-US" baseline="0" dirty="0" err="1"/>
              <a:t>deconvolution</a:t>
            </a:r>
            <a:r>
              <a:rPr lang="en-US" baseline="0" dirty="0"/>
              <a:t> step applied to these images generates a further increase, of about 1.2-fold,  in resolution. This additional push in resolution, however, depends on image quality and cannot be expected to work perfectly all the times.</a:t>
            </a:r>
            <a:endParaRPr lang="en-US" dirty="0"/>
          </a:p>
        </p:txBody>
      </p:sp>
      <p:sp>
        <p:nvSpPr>
          <p:cNvPr id="4" name="Foliennummernplatzhalter 3"/>
          <p:cNvSpPr>
            <a:spLocks noGrp="1"/>
          </p:cNvSpPr>
          <p:nvPr>
            <p:ph type="sldNum" sz="quarter" idx="10"/>
          </p:nvPr>
        </p:nvSpPr>
        <p:spPr/>
        <p:txBody>
          <a:bodyPr/>
          <a:lstStyle/>
          <a:p>
            <a:fld id="{32A911EB-CBDE-4928-B1ED-A3294608A373}" type="slidenum">
              <a:rPr lang="de-DE">
                <a:solidFill>
                  <a:prstClr val="black"/>
                </a:solidFill>
              </a:rPr>
              <a:pPr/>
              <a:t>42</a:t>
            </a:fld>
            <a:endParaRPr lang="de-DE">
              <a:solidFill>
                <a:prstClr val="black"/>
              </a:solidFill>
            </a:endParaRPr>
          </a:p>
        </p:txBody>
      </p:sp>
    </p:spTree>
    <p:extLst>
      <p:ext uri="{BB962C8B-B14F-4D97-AF65-F5344CB8AC3E}">
        <p14:creationId xmlns:p14="http://schemas.microsoft.com/office/powerpoint/2010/main" val="13967859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www.nature.com/nmeth/journal/v6/n1/full/nmeth.1291.html</a:t>
            </a:r>
          </a:p>
          <a:p>
            <a:endParaRPr lang="en-US" dirty="0"/>
          </a:p>
          <a:p>
            <a:endParaRPr lang="en-US" dirty="0"/>
          </a:p>
        </p:txBody>
      </p:sp>
      <p:sp>
        <p:nvSpPr>
          <p:cNvPr id="4" name="Slide Number Placeholder 3"/>
          <p:cNvSpPr>
            <a:spLocks noGrp="1"/>
          </p:cNvSpPr>
          <p:nvPr>
            <p:ph type="sldNum" sz="quarter" idx="10"/>
          </p:nvPr>
        </p:nvSpPr>
        <p:spPr/>
        <p:txBody>
          <a:bodyPr/>
          <a:lstStyle/>
          <a:p>
            <a:fld id="{45397BDA-7C5D-426B-8F63-5169389F863D}" type="slidenum">
              <a:rPr lang="en-US" smtClean="0"/>
              <a:t>6</a:t>
            </a:fld>
            <a:endParaRPr lang="en-US"/>
          </a:p>
        </p:txBody>
      </p:sp>
    </p:spTree>
    <p:extLst>
      <p:ext uri="{BB962C8B-B14F-4D97-AF65-F5344CB8AC3E}">
        <p14:creationId xmlns:p14="http://schemas.microsoft.com/office/powerpoint/2010/main" val="36611441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aseline="0" dirty="0" err="1"/>
              <a:t>Airyscan</a:t>
            </a:r>
            <a:r>
              <a:rPr lang="en-US" baseline="0" dirty="0"/>
              <a:t> acts as if scanning with 0.2 </a:t>
            </a:r>
            <a:r>
              <a:rPr lang="en-US" baseline="0" dirty="0" err="1"/>
              <a:t>A.u</a:t>
            </a:r>
            <a:r>
              <a:rPr lang="en-US" baseline="0" dirty="0"/>
              <a:t>. pinholes, however, because the light is collected from the whole array, each pixel is - in effect - scanned at least 32 times. Since all photons are collected the loss of signal is virtually avoided. The PSF can be re-mapped as shown, generating a smaller PSF by a factor </a:t>
            </a:r>
            <a:r>
              <a:rPr lang="en-US" baseline="0" dirty="0" err="1"/>
              <a:t>sqrt</a:t>
            </a:r>
            <a:r>
              <a:rPr lang="en-US" baseline="0" dirty="0"/>
              <a:t>(2). This is true in every direction (including z – not shown, here). At this level of oversampling, one is generating ideal conditions for </a:t>
            </a:r>
            <a:r>
              <a:rPr lang="en-US" baseline="0" dirty="0" err="1"/>
              <a:t>deconvolution</a:t>
            </a:r>
            <a:r>
              <a:rPr lang="en-US" baseline="0" dirty="0"/>
              <a:t>. A </a:t>
            </a:r>
            <a:r>
              <a:rPr lang="en-US" baseline="0" dirty="0" err="1"/>
              <a:t>deconvolution</a:t>
            </a:r>
            <a:r>
              <a:rPr lang="en-US" baseline="0" dirty="0"/>
              <a:t> step applied to these images generates a further increase, of about 1.2-fold,  in resolution. This additional push in resolution, however, depends on image quality and cannot be expected to work perfectly all the times.</a:t>
            </a:r>
            <a:endParaRPr lang="en-US" dirty="0"/>
          </a:p>
        </p:txBody>
      </p:sp>
      <p:sp>
        <p:nvSpPr>
          <p:cNvPr id="4" name="Foliennummernplatzhalter 3"/>
          <p:cNvSpPr>
            <a:spLocks noGrp="1"/>
          </p:cNvSpPr>
          <p:nvPr>
            <p:ph type="sldNum" sz="quarter" idx="10"/>
          </p:nvPr>
        </p:nvSpPr>
        <p:spPr/>
        <p:txBody>
          <a:bodyPr/>
          <a:lstStyle/>
          <a:p>
            <a:fld id="{32A911EB-CBDE-4928-B1ED-A3294608A373}" type="slidenum">
              <a:rPr lang="de-DE">
                <a:solidFill>
                  <a:prstClr val="black"/>
                </a:solidFill>
              </a:rPr>
              <a:pPr/>
              <a:t>43</a:t>
            </a:fld>
            <a:endParaRPr lang="de-DE">
              <a:solidFill>
                <a:prstClr val="black"/>
              </a:solidFill>
            </a:endParaRPr>
          </a:p>
        </p:txBody>
      </p:sp>
    </p:spTree>
    <p:extLst>
      <p:ext uri="{BB962C8B-B14F-4D97-AF65-F5344CB8AC3E}">
        <p14:creationId xmlns:p14="http://schemas.microsoft.com/office/powerpoint/2010/main" val="189398264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The</a:t>
            </a:r>
            <a:r>
              <a:rPr lang="en-US" baseline="0" dirty="0"/>
              <a:t> principle can be demonstrated by acquiring images. For example of </a:t>
            </a:r>
            <a:r>
              <a:rPr lang="en-US" sz="1200" b="1" dirty="0"/>
              <a:t>a real sample</a:t>
            </a:r>
          </a:p>
          <a:p>
            <a:endParaRPr lang="en-US" sz="1200" b="1" dirty="0"/>
          </a:p>
          <a:p>
            <a:pPr marL="0" indent="0"/>
            <a:r>
              <a:rPr lang="en-US" sz="1200" b="1" dirty="0"/>
              <a:t>The images and the following text is </a:t>
            </a:r>
            <a:r>
              <a:rPr lang="en-US" b="1" dirty="0"/>
              <a:t>courtesy of J. </a:t>
            </a:r>
            <a:r>
              <a:rPr lang="en-US" b="1" dirty="0" err="1"/>
              <a:t>Karlseder</a:t>
            </a:r>
            <a:r>
              <a:rPr lang="en-US" b="1" dirty="0"/>
              <a:t> Ph.D. (Molecular and Cell Biology Laboratory) and </a:t>
            </a:r>
          </a:p>
          <a:p>
            <a:pPr marL="0" indent="0"/>
            <a:r>
              <a:rPr lang="en-US" b="1" dirty="0"/>
              <a:t>J. Fitzpatrick Ph.D. (Director, </a:t>
            </a:r>
            <a:r>
              <a:rPr lang="en-US" b="1" dirty="0" err="1"/>
              <a:t>Waitt</a:t>
            </a:r>
            <a:r>
              <a:rPr lang="en-US" b="1" dirty="0"/>
              <a:t> Advanced </a:t>
            </a:r>
            <a:r>
              <a:rPr lang="en-US" b="1" dirty="0" err="1"/>
              <a:t>Biophotonics</a:t>
            </a:r>
            <a:r>
              <a:rPr lang="en-US" b="1" dirty="0"/>
              <a:t> Core), </a:t>
            </a:r>
          </a:p>
          <a:p>
            <a:pPr marL="0" indent="0"/>
            <a:r>
              <a:rPr lang="en-US" b="1" dirty="0"/>
              <a:t>The Salk Institute, La Jolla, USA.</a:t>
            </a:r>
            <a:endParaRPr lang="de-DE" b="1" dirty="0"/>
          </a:p>
          <a:p>
            <a:r>
              <a:rPr lang="en-US" sz="1200" b="1" dirty="0"/>
              <a:t> </a:t>
            </a:r>
          </a:p>
          <a:p>
            <a:r>
              <a:rPr lang="en-US" sz="1200" b="1" dirty="0"/>
              <a:t>Sample :</a:t>
            </a:r>
            <a:endParaRPr lang="de-DE" sz="1200" b="1" dirty="0"/>
          </a:p>
          <a:p>
            <a:pPr marL="0" indent="0"/>
            <a:r>
              <a:rPr lang="en-US" sz="1200" dirty="0"/>
              <a:t>The cells are </a:t>
            </a:r>
            <a:r>
              <a:rPr lang="en-US" sz="1200" b="1" dirty="0"/>
              <a:t>IMR90 human diploid lung fibroblasts</a:t>
            </a:r>
            <a:r>
              <a:rPr lang="en-US" sz="1200" dirty="0"/>
              <a:t>. They are primary cells at population doubling 45, grown at 3% oxygen, 7.5% CO2 in DMEM supplemented with 15% fetal bovine serum.</a:t>
            </a:r>
            <a:endParaRPr lang="de-DE" sz="1200" dirty="0"/>
          </a:p>
          <a:p>
            <a:pPr marL="0" indent="0"/>
            <a:r>
              <a:rPr lang="en-US" sz="1200" dirty="0"/>
              <a:t>The DNA has been stained with </a:t>
            </a:r>
            <a:r>
              <a:rPr lang="en-US" sz="1200" b="1" dirty="0"/>
              <a:t>DAPI</a:t>
            </a:r>
            <a:r>
              <a:rPr lang="en-US" sz="1200" dirty="0"/>
              <a:t>, the </a:t>
            </a:r>
            <a:r>
              <a:rPr lang="en-US" sz="1200" b="1" dirty="0" err="1"/>
              <a:t>telomeric</a:t>
            </a:r>
            <a:r>
              <a:rPr lang="en-US" sz="1200" b="1" dirty="0"/>
              <a:t> G strand (leading strand) in green with a Peptide Nucleic Acid probe (Alexa 488-CCCTAACCCTAACCCTAA)</a:t>
            </a:r>
            <a:r>
              <a:rPr lang="en-US" sz="1200" dirty="0"/>
              <a:t> and the </a:t>
            </a:r>
            <a:r>
              <a:rPr lang="en-US" sz="1200" b="1" dirty="0" err="1"/>
              <a:t>telomeric</a:t>
            </a:r>
            <a:r>
              <a:rPr lang="en-US" sz="1200" b="1" dirty="0"/>
              <a:t> C strand (lagging strand) in red with a Peptide Nucleic Acid probe (Alexa-546-TTAGGGTTAGGGTTAGGG).</a:t>
            </a:r>
            <a:endParaRPr lang="de-DE" sz="1200" b="1" dirty="0"/>
          </a:p>
          <a:p>
            <a:pPr marL="0" indent="0"/>
            <a:r>
              <a:rPr lang="en-US" sz="1200" dirty="0"/>
              <a:t>Prior to their harvest the cells have been treated with </a:t>
            </a:r>
            <a:r>
              <a:rPr lang="en-US" sz="1200" b="1" dirty="0" err="1"/>
              <a:t>siRNAs</a:t>
            </a:r>
            <a:r>
              <a:rPr lang="en-US" sz="1200" b="1" dirty="0"/>
              <a:t> targeting RTEL1 </a:t>
            </a:r>
            <a:r>
              <a:rPr lang="en-US" sz="1200" dirty="0"/>
              <a:t>(2). </a:t>
            </a:r>
            <a:r>
              <a:rPr lang="en-US" sz="1200" i="1" dirty="0"/>
              <a:t>RTEL1 is a helicase that is essential for telomere replication, and lack of the protein leads to stalled forks at telomeres and telomere breakage. This can be seen by individual telomeres that appear as more than one dot, as highlighted in the images. </a:t>
            </a:r>
            <a:r>
              <a:rPr lang="en-US" sz="1200" dirty="0"/>
              <a:t>The new detection method is far superior to the old one detecting multiple telomere dots, thereby allowing for a much more accurate quantification of telomere replication problems.</a:t>
            </a:r>
          </a:p>
          <a:p>
            <a:endParaRPr lang="en-US" dirty="0"/>
          </a:p>
        </p:txBody>
      </p:sp>
      <p:sp>
        <p:nvSpPr>
          <p:cNvPr id="4" name="Foliennummernplatzhalter 3"/>
          <p:cNvSpPr>
            <a:spLocks noGrp="1"/>
          </p:cNvSpPr>
          <p:nvPr>
            <p:ph type="sldNum" sz="quarter" idx="10"/>
          </p:nvPr>
        </p:nvSpPr>
        <p:spPr/>
        <p:txBody>
          <a:bodyPr/>
          <a:lstStyle/>
          <a:p>
            <a:fld id="{32A911EB-CBDE-4928-B1ED-A3294608A373}" type="slidenum">
              <a:rPr lang="de-DE">
                <a:solidFill>
                  <a:srgbClr val="000000"/>
                </a:solidFill>
              </a:rPr>
              <a:pPr/>
              <a:t>44</a:t>
            </a:fld>
            <a:endParaRPr lang="de-DE">
              <a:solidFill>
                <a:srgbClr val="000000"/>
              </a:solidFill>
            </a:endParaRPr>
          </a:p>
        </p:txBody>
      </p:sp>
    </p:spTree>
    <p:extLst>
      <p:ext uri="{BB962C8B-B14F-4D97-AF65-F5344CB8AC3E}">
        <p14:creationId xmlns:p14="http://schemas.microsoft.com/office/powerpoint/2010/main" val="236459334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Figure S18. Measurement of effective diffusion coefficients. (A-B</a:t>
            </a:r>
            <a:r>
              <a:rPr lang="en-US" sz="1200" b="0" i="0" u="none" strike="noStrike" kern="1200" baseline="0" dirty="0">
                <a:solidFill>
                  <a:schemeClr val="tx1"/>
                </a:solidFill>
                <a:latin typeface="+mn-lt"/>
                <a:ea typeface="+mn-ea"/>
                <a:cs typeface="+mn-cs"/>
              </a:rPr>
              <a:t>) FRAP experimental overview. A cuboidal volume was bleached into embryos</a:t>
            </a:r>
          </a:p>
          <a:p>
            <a:r>
              <a:rPr lang="en-US" sz="1200" b="0" i="0" u="none" strike="noStrike" kern="1200" baseline="0" dirty="0">
                <a:solidFill>
                  <a:schemeClr val="tx1"/>
                </a:solidFill>
                <a:latin typeface="+mn-lt"/>
                <a:ea typeface="+mn-ea"/>
                <a:cs typeface="+mn-cs"/>
              </a:rPr>
              <a:t>uniformly expressing secreted fluorescent fusion proteins (A). Medial optical slices were imaged every 10 s following bleaching. The average intensity</a:t>
            </a:r>
          </a:p>
          <a:p>
            <a:r>
              <a:rPr lang="en-US" sz="1200" b="0" i="0" u="none" strike="noStrike" kern="1200" baseline="0" dirty="0">
                <a:solidFill>
                  <a:schemeClr val="tx1"/>
                </a:solidFill>
                <a:latin typeface="+mn-lt"/>
                <a:ea typeface="+mn-ea"/>
                <a:cs typeface="+mn-cs"/>
              </a:rPr>
              <a:t>in the bleached region recovers over time (B) and can be used to calculate the diffusion coefficient of the fluorescent species. (</a:t>
            </a:r>
            <a:r>
              <a:rPr lang="en-US" sz="1200" b="1" i="0" u="none" strike="noStrike" kern="1200" baseline="0" dirty="0">
                <a:solidFill>
                  <a:schemeClr val="tx1"/>
                </a:solidFill>
                <a:latin typeface="+mn-lt"/>
                <a:ea typeface="+mn-ea"/>
                <a:cs typeface="+mn-cs"/>
              </a:rPr>
              <a:t>C-F</a:t>
            </a:r>
            <a:r>
              <a:rPr lang="en-US" sz="1200" b="0" i="0" u="none" strike="noStrike" kern="1200" baseline="0" dirty="0">
                <a:solidFill>
                  <a:schemeClr val="tx1"/>
                </a:solidFill>
                <a:latin typeface="+mn-lt"/>
                <a:ea typeface="+mn-ea"/>
                <a:cs typeface="+mn-cs"/>
              </a:rPr>
              <a:t>) Embryos</a:t>
            </a:r>
          </a:p>
          <a:p>
            <a:r>
              <a:rPr lang="en-US" sz="1200" b="0" i="0" u="none" strike="noStrike" kern="1200" baseline="0" dirty="0">
                <a:solidFill>
                  <a:schemeClr val="tx1"/>
                </a:solidFill>
                <a:latin typeface="+mn-lt"/>
                <a:ea typeface="+mn-ea"/>
                <a:cs typeface="+mn-cs"/>
              </a:rPr>
              <a:t>were injected at the one-cell stage with 30 </a:t>
            </a:r>
            <a:r>
              <a:rPr lang="en-US" sz="1200" b="0" i="0" u="none" strike="noStrike" kern="1200" baseline="0" dirty="0" err="1">
                <a:solidFill>
                  <a:schemeClr val="tx1"/>
                </a:solidFill>
                <a:latin typeface="+mn-lt"/>
                <a:ea typeface="+mn-ea"/>
                <a:cs typeface="+mn-cs"/>
              </a:rPr>
              <a:t>pg</a:t>
            </a:r>
            <a:r>
              <a:rPr lang="en-US" sz="1200" b="0" i="0" u="none" strike="noStrike" kern="1200" baseline="0" dirty="0">
                <a:solidFill>
                  <a:schemeClr val="tx1"/>
                </a:solidFill>
                <a:latin typeface="+mn-lt"/>
                <a:ea typeface="+mn-ea"/>
                <a:cs typeface="+mn-cs"/>
              </a:rPr>
              <a:t> of mRNA encoding Cyclops-GFP (C), Squint-GFP (D), Lefty1-GFP (E) or Lefty2-GFP (F). Uniformly</a:t>
            </a:r>
          </a:p>
          <a:p>
            <a:r>
              <a:rPr lang="en-US" sz="1200" b="0" i="0" u="none" strike="noStrike" kern="1200" baseline="0" dirty="0">
                <a:solidFill>
                  <a:schemeClr val="tx1"/>
                </a:solidFill>
                <a:latin typeface="+mn-lt"/>
                <a:ea typeface="+mn-ea"/>
                <a:cs typeface="+mn-cs"/>
              </a:rPr>
              <a:t>expressed Nodal- or Lefty-GFP fusion proteins were locally </a:t>
            </a:r>
            <a:r>
              <a:rPr lang="en-US" sz="1200" b="0" i="0" u="none" strike="noStrike" kern="1200" baseline="0" dirty="0" err="1">
                <a:solidFill>
                  <a:schemeClr val="tx1"/>
                </a:solidFill>
                <a:latin typeface="+mn-lt"/>
                <a:ea typeface="+mn-ea"/>
                <a:cs typeface="+mn-cs"/>
              </a:rPr>
              <a:t>photobleached</a:t>
            </a:r>
            <a:r>
              <a:rPr lang="en-US" sz="1200" b="0" i="0" u="none" strike="noStrike" kern="1200" baseline="0" dirty="0">
                <a:solidFill>
                  <a:schemeClr val="tx1"/>
                </a:solidFill>
                <a:latin typeface="+mn-lt"/>
                <a:ea typeface="+mn-ea"/>
                <a:cs typeface="+mn-cs"/>
              </a:rPr>
              <a:t> at blastula stages. Optical slices were acquired every 10 s after the</a:t>
            </a:r>
          </a:p>
          <a:p>
            <a:r>
              <a:rPr lang="en-US" sz="1200" b="0" i="0" u="none" strike="noStrike" kern="1200" baseline="0" dirty="0">
                <a:solidFill>
                  <a:schemeClr val="tx1"/>
                </a:solidFill>
                <a:latin typeface="+mn-lt"/>
                <a:ea typeface="+mn-ea"/>
                <a:cs typeface="+mn-cs"/>
              </a:rPr>
              <a:t>bleach for a total of 50 min. The effective diffusion coefficient, </a:t>
            </a:r>
            <a:r>
              <a:rPr lang="en-US" sz="1200" b="0" i="1" u="none" strike="noStrike" kern="1200" baseline="0" dirty="0">
                <a:solidFill>
                  <a:schemeClr val="tx1"/>
                </a:solidFill>
                <a:latin typeface="+mn-lt"/>
                <a:ea typeface="+mn-ea"/>
                <a:cs typeface="+mn-cs"/>
              </a:rPr>
              <a:t>D</a:t>
            </a:r>
            <a:r>
              <a:rPr lang="en-US" sz="1200" b="0" i="0" u="none" strike="noStrike" kern="1200" baseline="0" dirty="0">
                <a:solidFill>
                  <a:schemeClr val="tx1"/>
                </a:solidFill>
                <a:latin typeface="+mn-lt"/>
                <a:ea typeface="+mn-ea"/>
                <a:cs typeface="+mn-cs"/>
              </a:rPr>
              <a:t>, was determined by fitting the resulting recovery profile (black) with simulated recovery</a:t>
            </a:r>
          </a:p>
          <a:p>
            <a:r>
              <a:rPr lang="en-US" sz="1200" b="0" i="0" u="none" strike="noStrike" kern="1200" baseline="0" dirty="0">
                <a:solidFill>
                  <a:schemeClr val="tx1"/>
                </a:solidFill>
                <a:latin typeface="+mn-lt"/>
                <a:ea typeface="+mn-ea"/>
                <a:cs typeface="+mn-cs"/>
              </a:rPr>
              <a:t>curves (red) that were numerically generated using a model that includes diffusion, production and clearance in a three-dimensional embryo-like</a:t>
            </a:r>
          </a:p>
          <a:p>
            <a:r>
              <a:rPr lang="en-US" sz="1200" b="0" i="0" u="none" strike="noStrike" kern="1200" baseline="0" dirty="0">
                <a:solidFill>
                  <a:schemeClr val="tx1"/>
                </a:solidFill>
                <a:latin typeface="+mn-lt"/>
                <a:ea typeface="+mn-ea"/>
                <a:cs typeface="+mn-cs"/>
              </a:rPr>
              <a:t>geometry (Text S6). Results for individual embryos are shown normalized to the final time point, and average diffusion coefficients are listed here</a:t>
            </a:r>
          </a:p>
          <a:p>
            <a:r>
              <a:rPr lang="en-US" sz="1200" b="0" i="0" u="none" strike="noStrike" kern="1200" baseline="0" dirty="0">
                <a:solidFill>
                  <a:schemeClr val="tx1"/>
                </a:solidFill>
                <a:latin typeface="+mn-lt"/>
                <a:ea typeface="+mn-ea"/>
                <a:cs typeface="+mn-cs"/>
              </a:rPr>
              <a:t>and in Table S6.</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9A7784-85A4-42EC-ABFD-7E1F2014BC3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818566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Figure S18. Measurement of effective diffusion coefficients. (A-B</a:t>
            </a:r>
            <a:r>
              <a:rPr lang="en-US" sz="1200" b="0" i="0" u="none" strike="noStrike" kern="1200" baseline="0" dirty="0">
                <a:solidFill>
                  <a:schemeClr val="tx1"/>
                </a:solidFill>
                <a:latin typeface="+mn-lt"/>
                <a:ea typeface="+mn-ea"/>
                <a:cs typeface="+mn-cs"/>
              </a:rPr>
              <a:t>) FRAP experimental overview. A cuboidal volume was bleached into embryos</a:t>
            </a:r>
          </a:p>
          <a:p>
            <a:r>
              <a:rPr lang="en-US" sz="1200" b="0" i="0" u="none" strike="noStrike" kern="1200" baseline="0" dirty="0">
                <a:solidFill>
                  <a:schemeClr val="tx1"/>
                </a:solidFill>
                <a:latin typeface="+mn-lt"/>
                <a:ea typeface="+mn-ea"/>
                <a:cs typeface="+mn-cs"/>
              </a:rPr>
              <a:t>uniformly expressing secreted fluorescent fusion proteins (A). Medial optical slices were imaged every 10 s following bleaching. The average intensity</a:t>
            </a:r>
          </a:p>
          <a:p>
            <a:r>
              <a:rPr lang="en-US" sz="1200" b="0" i="0" u="none" strike="noStrike" kern="1200" baseline="0" dirty="0">
                <a:solidFill>
                  <a:schemeClr val="tx1"/>
                </a:solidFill>
                <a:latin typeface="+mn-lt"/>
                <a:ea typeface="+mn-ea"/>
                <a:cs typeface="+mn-cs"/>
              </a:rPr>
              <a:t>in the bleached region recovers over time (B) and can be used to calculate the diffusion coefficient of the fluorescent species. (</a:t>
            </a:r>
            <a:r>
              <a:rPr lang="en-US" sz="1200" b="1" i="0" u="none" strike="noStrike" kern="1200" baseline="0" dirty="0">
                <a:solidFill>
                  <a:schemeClr val="tx1"/>
                </a:solidFill>
                <a:latin typeface="+mn-lt"/>
                <a:ea typeface="+mn-ea"/>
                <a:cs typeface="+mn-cs"/>
              </a:rPr>
              <a:t>C-F</a:t>
            </a:r>
            <a:r>
              <a:rPr lang="en-US" sz="1200" b="0" i="0" u="none" strike="noStrike" kern="1200" baseline="0" dirty="0">
                <a:solidFill>
                  <a:schemeClr val="tx1"/>
                </a:solidFill>
                <a:latin typeface="+mn-lt"/>
                <a:ea typeface="+mn-ea"/>
                <a:cs typeface="+mn-cs"/>
              </a:rPr>
              <a:t>) Embryos</a:t>
            </a:r>
          </a:p>
          <a:p>
            <a:r>
              <a:rPr lang="en-US" sz="1200" b="0" i="0" u="none" strike="noStrike" kern="1200" baseline="0" dirty="0">
                <a:solidFill>
                  <a:schemeClr val="tx1"/>
                </a:solidFill>
                <a:latin typeface="+mn-lt"/>
                <a:ea typeface="+mn-ea"/>
                <a:cs typeface="+mn-cs"/>
              </a:rPr>
              <a:t>were injected at the one-cell stage with 30 </a:t>
            </a:r>
            <a:r>
              <a:rPr lang="en-US" sz="1200" b="0" i="0" u="none" strike="noStrike" kern="1200" baseline="0" dirty="0" err="1">
                <a:solidFill>
                  <a:schemeClr val="tx1"/>
                </a:solidFill>
                <a:latin typeface="+mn-lt"/>
                <a:ea typeface="+mn-ea"/>
                <a:cs typeface="+mn-cs"/>
              </a:rPr>
              <a:t>pg</a:t>
            </a:r>
            <a:r>
              <a:rPr lang="en-US" sz="1200" b="0" i="0" u="none" strike="noStrike" kern="1200" baseline="0" dirty="0">
                <a:solidFill>
                  <a:schemeClr val="tx1"/>
                </a:solidFill>
                <a:latin typeface="+mn-lt"/>
                <a:ea typeface="+mn-ea"/>
                <a:cs typeface="+mn-cs"/>
              </a:rPr>
              <a:t> of mRNA encoding Cyclops-GFP (C), Squint-GFP (D), Lefty1-GFP (E) or Lefty2-GFP (F). Uniformly</a:t>
            </a:r>
          </a:p>
          <a:p>
            <a:r>
              <a:rPr lang="en-US" sz="1200" b="0" i="0" u="none" strike="noStrike" kern="1200" baseline="0" dirty="0">
                <a:solidFill>
                  <a:schemeClr val="tx1"/>
                </a:solidFill>
                <a:latin typeface="+mn-lt"/>
                <a:ea typeface="+mn-ea"/>
                <a:cs typeface="+mn-cs"/>
              </a:rPr>
              <a:t>expressed Nodal- or Lefty-GFP fusion proteins were locally </a:t>
            </a:r>
            <a:r>
              <a:rPr lang="en-US" sz="1200" b="0" i="0" u="none" strike="noStrike" kern="1200" baseline="0" dirty="0" err="1">
                <a:solidFill>
                  <a:schemeClr val="tx1"/>
                </a:solidFill>
                <a:latin typeface="+mn-lt"/>
                <a:ea typeface="+mn-ea"/>
                <a:cs typeface="+mn-cs"/>
              </a:rPr>
              <a:t>photobleached</a:t>
            </a:r>
            <a:r>
              <a:rPr lang="en-US" sz="1200" b="0" i="0" u="none" strike="noStrike" kern="1200" baseline="0" dirty="0">
                <a:solidFill>
                  <a:schemeClr val="tx1"/>
                </a:solidFill>
                <a:latin typeface="+mn-lt"/>
                <a:ea typeface="+mn-ea"/>
                <a:cs typeface="+mn-cs"/>
              </a:rPr>
              <a:t> at blastula stages. Optical slices were acquired every 10 s after the</a:t>
            </a:r>
          </a:p>
          <a:p>
            <a:r>
              <a:rPr lang="en-US" sz="1200" b="0" i="0" u="none" strike="noStrike" kern="1200" baseline="0" dirty="0">
                <a:solidFill>
                  <a:schemeClr val="tx1"/>
                </a:solidFill>
                <a:latin typeface="+mn-lt"/>
                <a:ea typeface="+mn-ea"/>
                <a:cs typeface="+mn-cs"/>
              </a:rPr>
              <a:t>bleach for a total of 50 min. The effective diffusion coefficient, </a:t>
            </a:r>
            <a:r>
              <a:rPr lang="en-US" sz="1200" b="0" i="1" u="none" strike="noStrike" kern="1200" baseline="0" dirty="0">
                <a:solidFill>
                  <a:schemeClr val="tx1"/>
                </a:solidFill>
                <a:latin typeface="+mn-lt"/>
                <a:ea typeface="+mn-ea"/>
                <a:cs typeface="+mn-cs"/>
              </a:rPr>
              <a:t>D</a:t>
            </a:r>
            <a:r>
              <a:rPr lang="en-US" sz="1200" b="0" i="0" u="none" strike="noStrike" kern="1200" baseline="0" dirty="0">
                <a:solidFill>
                  <a:schemeClr val="tx1"/>
                </a:solidFill>
                <a:latin typeface="+mn-lt"/>
                <a:ea typeface="+mn-ea"/>
                <a:cs typeface="+mn-cs"/>
              </a:rPr>
              <a:t>, was determined by fitting the resulting recovery profile (black) with simulated recovery</a:t>
            </a:r>
          </a:p>
          <a:p>
            <a:r>
              <a:rPr lang="en-US" sz="1200" b="0" i="0" u="none" strike="noStrike" kern="1200" baseline="0" dirty="0">
                <a:solidFill>
                  <a:schemeClr val="tx1"/>
                </a:solidFill>
                <a:latin typeface="+mn-lt"/>
                <a:ea typeface="+mn-ea"/>
                <a:cs typeface="+mn-cs"/>
              </a:rPr>
              <a:t>curves (red) that were numerically generated using a model that includes diffusion, production and clearance in a three-dimensional embryo-like</a:t>
            </a:r>
          </a:p>
          <a:p>
            <a:r>
              <a:rPr lang="en-US" sz="1200" b="0" i="0" u="none" strike="noStrike" kern="1200" baseline="0" dirty="0">
                <a:solidFill>
                  <a:schemeClr val="tx1"/>
                </a:solidFill>
                <a:latin typeface="+mn-lt"/>
                <a:ea typeface="+mn-ea"/>
                <a:cs typeface="+mn-cs"/>
              </a:rPr>
              <a:t>geometry (Text S6). Results for individual embryos are shown normalized to the final time point, and average diffusion coefficients are listed here</a:t>
            </a:r>
          </a:p>
          <a:p>
            <a:r>
              <a:rPr lang="en-US" sz="1200" b="0" i="0" u="none" strike="noStrike" kern="1200" baseline="0" dirty="0">
                <a:solidFill>
                  <a:schemeClr val="tx1"/>
                </a:solidFill>
                <a:latin typeface="+mn-lt"/>
                <a:ea typeface="+mn-ea"/>
                <a:cs typeface="+mn-cs"/>
              </a:rPr>
              <a:t>and in Table S6.</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9A7784-85A4-42EC-ABFD-7E1F2014BC3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288417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mn-ea"/>
                <a:cs typeface="+mn-cs"/>
              </a:rPr>
              <a:t>Figure S19. FRAP geometries. (A</a:t>
            </a:r>
            <a:r>
              <a:rPr lang="en-US" sz="1200" b="0" i="0" u="none" strike="noStrike" kern="1200" baseline="0" dirty="0">
                <a:solidFill>
                  <a:schemeClr val="tx1"/>
                </a:solidFill>
                <a:latin typeface="+mn-lt"/>
                <a:ea typeface="+mn-ea"/>
                <a:cs typeface="+mn-cs"/>
              </a:rPr>
              <a:t>) Average embryo geometry during FRAP experiments. Embryos were injected with mRNA encoding GFP fusion</a:t>
            </a:r>
          </a:p>
          <a:p>
            <a:r>
              <a:rPr lang="en-US" sz="1200" b="0" i="0" u="none" strike="noStrike" kern="1200" baseline="0" dirty="0">
                <a:solidFill>
                  <a:schemeClr val="tx1"/>
                </a:solidFill>
                <a:latin typeface="+mn-lt"/>
                <a:ea typeface="+mn-ea"/>
                <a:cs typeface="+mn-cs"/>
              </a:rPr>
              <a:t>constructs at the one-cell stage, generating embryos that uniformly express the GFP fusions (green). FRAP experiments were performed at late</a:t>
            </a:r>
          </a:p>
          <a:p>
            <a:r>
              <a:rPr lang="en-US" sz="1200" b="0" i="0" u="none" strike="noStrike" kern="1200" baseline="0" dirty="0">
                <a:solidFill>
                  <a:schemeClr val="tx1"/>
                </a:solidFill>
                <a:latin typeface="+mn-lt"/>
                <a:ea typeface="+mn-ea"/>
                <a:cs typeface="+mn-cs"/>
              </a:rPr>
              <a:t>blastula stages, when the </a:t>
            </a:r>
            <a:r>
              <a:rPr lang="en-US" sz="1200" b="0" i="0" u="none" strike="noStrike" kern="1200" baseline="0" dirty="0" err="1">
                <a:solidFill>
                  <a:schemeClr val="tx1"/>
                </a:solidFill>
                <a:latin typeface="+mn-lt"/>
                <a:ea typeface="+mn-ea"/>
                <a:cs typeface="+mn-cs"/>
              </a:rPr>
              <a:t>blastoderm</a:t>
            </a:r>
            <a:r>
              <a:rPr lang="en-US" sz="1200" b="0" i="0" u="none" strike="noStrike" kern="1200" baseline="0" dirty="0">
                <a:solidFill>
                  <a:schemeClr val="tx1"/>
                </a:solidFill>
                <a:latin typeface="+mn-lt"/>
                <a:ea typeface="+mn-ea"/>
                <a:cs typeface="+mn-cs"/>
              </a:rPr>
              <a:t> forms a dome on top of the yolk. A cuboidal volume was bleached into the center of the embryo (black), and</a:t>
            </a:r>
          </a:p>
          <a:p>
            <a:r>
              <a:rPr lang="en-US" sz="1200" b="0" i="0" u="none" strike="noStrike" kern="1200" baseline="0" dirty="0">
                <a:solidFill>
                  <a:schemeClr val="tx1"/>
                </a:solidFill>
                <a:latin typeface="+mn-lt"/>
                <a:ea typeface="+mn-ea"/>
                <a:cs typeface="+mn-cs"/>
              </a:rPr>
              <a:t>recovery of fluorescence was observed in a medial optical section (red). This geometry was used for three-dimensional simulations of FRAP experiments</a:t>
            </a:r>
          </a:p>
          <a:p>
            <a:r>
              <a:rPr lang="en-US" sz="1200" b="0" i="0" u="none" strike="noStrike" kern="1200" baseline="0" dirty="0">
                <a:solidFill>
                  <a:schemeClr val="tx1"/>
                </a:solidFill>
                <a:latin typeface="+mn-lt"/>
                <a:ea typeface="+mn-ea"/>
                <a:cs typeface="+mn-cs"/>
              </a:rPr>
              <a:t>(3D analysis model) with the geometric parameters indicated in (</a:t>
            </a:r>
            <a:r>
              <a:rPr lang="en-US" sz="1200" b="1" i="0" u="none" strike="noStrike" kern="1200" baseline="0" dirty="0">
                <a:solidFill>
                  <a:schemeClr val="tx1"/>
                </a:solidFill>
                <a:latin typeface="+mn-lt"/>
                <a:ea typeface="+mn-ea"/>
                <a:cs typeface="+mn-cs"/>
              </a:rPr>
              <a:t>B</a:t>
            </a:r>
            <a:r>
              <a:rPr lang="en-US" sz="1200" b="0" i="0" u="none" strike="noStrike" kern="1200" baseline="0" dirty="0">
                <a:solidFill>
                  <a:schemeClr val="tx1"/>
                </a:solidFill>
                <a:latin typeface="+mn-lt"/>
                <a:ea typeface="+mn-ea"/>
                <a:cs typeface="+mn-cs"/>
              </a:rPr>
              <a:t>). (</a:t>
            </a:r>
            <a:r>
              <a:rPr lang="en-US" sz="1200" b="1" i="0" u="none" strike="noStrike" kern="1200" baseline="0" dirty="0">
                <a:solidFill>
                  <a:schemeClr val="tx1"/>
                </a:solidFill>
                <a:latin typeface="+mn-lt"/>
                <a:ea typeface="+mn-ea"/>
                <a:cs typeface="+mn-cs"/>
              </a:rPr>
              <a:t>C</a:t>
            </a:r>
            <a:r>
              <a:rPr lang="en-US" sz="1200" b="0" i="0" u="none" strike="noStrike" kern="1200" baseline="0" dirty="0">
                <a:solidFill>
                  <a:schemeClr val="tx1"/>
                </a:solidFill>
                <a:latin typeface="+mn-lt"/>
                <a:ea typeface="+mn-ea"/>
                <a:cs typeface="+mn-cs"/>
              </a:rPr>
              <a:t>) Medial optical section acquired during FRAP experiments (</a:t>
            </a:r>
            <a:r>
              <a:rPr lang="en-US" sz="1200" b="0" i="0" u="none" strike="noStrike" kern="1200" baseline="0" dirty="0" err="1">
                <a:solidFill>
                  <a:schemeClr val="tx1"/>
                </a:solidFill>
                <a:latin typeface="+mn-lt"/>
                <a:ea typeface="+mn-ea"/>
                <a:cs typeface="+mn-cs"/>
              </a:rPr>
              <a:t>twodimensional</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view of the red line in (A)). The bleached window is indicated in black. This geometry was used for two-dimensional simulations of FRAP</a:t>
            </a:r>
          </a:p>
          <a:p>
            <a:r>
              <a:rPr lang="en-US" sz="1200" b="0" i="0" u="none" strike="noStrike" kern="1200" baseline="0" dirty="0">
                <a:solidFill>
                  <a:schemeClr val="tx1"/>
                </a:solidFill>
                <a:latin typeface="+mn-lt"/>
                <a:ea typeface="+mn-ea"/>
                <a:cs typeface="+mn-cs"/>
              </a:rPr>
              <a:t>experiments (2D analysis model) as shown in (</a:t>
            </a:r>
            <a:r>
              <a:rPr lang="en-US" sz="1200" b="1" i="0" u="none" strike="noStrike" kern="1200" baseline="0" dirty="0">
                <a:solidFill>
                  <a:schemeClr val="tx1"/>
                </a:solidFill>
                <a:latin typeface="+mn-lt"/>
                <a:ea typeface="+mn-ea"/>
                <a:cs typeface="+mn-cs"/>
              </a:rPr>
              <a:t>D</a:t>
            </a:r>
            <a:r>
              <a:rPr lang="en-US" sz="1200" b="0" i="0" u="none" strike="noStrike" kern="1200" baseline="0" dirty="0">
                <a:solidFill>
                  <a:schemeClr val="tx1"/>
                </a:solidFill>
                <a:latin typeface="+mn-lt"/>
                <a:ea typeface="+mn-ea"/>
                <a:cs typeface="+mn-cs"/>
              </a:rPr>
              <a:t>).The analysis areas inside the bleach window (</a:t>
            </a:r>
            <a:r>
              <a:rPr lang="en-US" sz="1200" b="0" i="0" u="none" strike="noStrike" kern="1200" baseline="0" dirty="0" err="1">
                <a:solidFill>
                  <a:schemeClr val="tx1"/>
                </a:solidFill>
                <a:latin typeface="+mn-lt"/>
                <a:ea typeface="+mn-ea"/>
                <a:cs typeface="+mn-cs"/>
              </a:rPr>
              <a:t>Awin</a:t>
            </a:r>
            <a:r>
              <a:rPr lang="en-US" sz="1200" b="0" i="0" u="none" strike="noStrike" kern="1200" baseline="0" dirty="0">
                <a:solidFill>
                  <a:schemeClr val="tx1"/>
                </a:solidFill>
                <a:latin typeface="+mn-lt"/>
                <a:ea typeface="+mn-ea"/>
                <a:cs typeface="+mn-cs"/>
              </a:rPr>
              <a:t>), outside the bleach window (</a:t>
            </a:r>
            <a:r>
              <a:rPr lang="en-US" sz="1200" b="0" i="0" u="none" strike="noStrike" kern="1200" baseline="0" dirty="0" err="1">
                <a:solidFill>
                  <a:schemeClr val="tx1"/>
                </a:solidFill>
                <a:latin typeface="+mn-lt"/>
                <a:ea typeface="+mn-ea"/>
                <a:cs typeface="+mn-cs"/>
              </a:rPr>
              <a:t>Aout</a:t>
            </a:r>
            <a:r>
              <a:rPr lang="en-US" sz="1200" b="0" i="0" u="none" strike="noStrike" kern="1200" baseline="0" dirty="0">
                <a:solidFill>
                  <a:schemeClr val="tx1"/>
                </a:solidFill>
                <a:latin typeface="+mn-lt"/>
                <a:ea typeface="+mn-ea"/>
                <a:cs typeface="+mn-cs"/>
              </a:rPr>
              <a:t>) and the</a:t>
            </a:r>
          </a:p>
          <a:p>
            <a:r>
              <a:rPr lang="en-US" sz="1200" b="0" i="0" u="none" strike="noStrike" kern="1200" baseline="0" dirty="0">
                <a:solidFill>
                  <a:schemeClr val="tx1"/>
                </a:solidFill>
                <a:latin typeface="+mn-lt"/>
                <a:ea typeface="+mn-ea"/>
                <a:cs typeface="+mn-cs"/>
              </a:rPr>
              <a:t>entire slice (</a:t>
            </a:r>
            <a:r>
              <a:rPr lang="en-US" sz="1200" b="0" i="0" u="none" strike="noStrike" kern="1200" baseline="0" dirty="0" err="1">
                <a:solidFill>
                  <a:schemeClr val="tx1"/>
                </a:solidFill>
                <a:latin typeface="+mn-lt"/>
                <a:ea typeface="+mn-ea"/>
                <a:cs typeface="+mn-cs"/>
              </a:rPr>
              <a:t>Asl</a:t>
            </a:r>
            <a:r>
              <a:rPr lang="en-US" sz="1200" b="0" i="0" u="none" strike="noStrike" kern="1200" baseline="0" dirty="0">
                <a:solidFill>
                  <a:schemeClr val="tx1"/>
                </a:solidFill>
                <a:latin typeface="+mn-lt"/>
                <a:ea typeface="+mn-ea"/>
                <a:cs typeface="+mn-cs"/>
              </a:rPr>
              <a:t>) used to calculate spatial intensity averages are indicated. (</a:t>
            </a:r>
            <a:r>
              <a:rPr lang="en-US" sz="1200" b="1" i="0" u="none" strike="noStrike" kern="1200" baseline="0" dirty="0">
                <a:solidFill>
                  <a:schemeClr val="tx1"/>
                </a:solidFill>
                <a:latin typeface="+mn-lt"/>
                <a:ea typeface="+mn-ea"/>
                <a:cs typeface="+mn-cs"/>
              </a:rPr>
              <a:t>E</a:t>
            </a:r>
            <a:r>
              <a:rPr lang="en-US" sz="1200" b="0" i="0" u="none" strike="noStrike" kern="1200" baseline="0" dirty="0">
                <a:solidFill>
                  <a:schemeClr val="tx1"/>
                </a:solidFill>
                <a:latin typeface="+mn-lt"/>
                <a:ea typeface="+mn-ea"/>
                <a:cs typeface="+mn-cs"/>
              </a:rPr>
              <a:t>) Three-dimensional extension of the two-dimensional model shown in</a:t>
            </a:r>
          </a:p>
          <a:p>
            <a:r>
              <a:rPr lang="en-US" sz="1200" b="0" i="0" u="none" strike="noStrike" kern="1200" baseline="0" dirty="0">
                <a:solidFill>
                  <a:schemeClr val="tx1"/>
                </a:solidFill>
                <a:latin typeface="+mn-lt"/>
                <a:ea typeface="+mn-ea"/>
                <a:cs typeface="+mn-cs"/>
              </a:rPr>
              <a:t>(C) and (D). The slice would extend to infinity above and below the depicted cylinder geometry. (</a:t>
            </a:r>
            <a:r>
              <a:rPr lang="en-US" sz="1200" b="1" i="0" u="none" strike="noStrike" kern="1200" baseline="0" dirty="0">
                <a:solidFill>
                  <a:schemeClr val="tx1"/>
                </a:solidFill>
                <a:latin typeface="+mn-lt"/>
                <a:ea typeface="+mn-ea"/>
                <a:cs typeface="+mn-cs"/>
              </a:rPr>
              <a:t>F</a:t>
            </a:r>
            <a:r>
              <a:rPr lang="en-US" sz="1200" b="0" i="0" u="none" strike="noStrike" kern="1200" baseline="0" dirty="0">
                <a:solidFill>
                  <a:schemeClr val="tx1"/>
                </a:solidFill>
                <a:latin typeface="+mn-lt"/>
                <a:ea typeface="+mn-ea"/>
                <a:cs typeface="+mn-cs"/>
              </a:rPr>
              <a:t>) Averaging of the eight octants (Q1-Q8) for the first</a:t>
            </a:r>
          </a:p>
          <a:p>
            <a:r>
              <a:rPr lang="en-US" sz="1200" b="0" i="0" u="none" strike="noStrike" kern="1200" baseline="0" dirty="0">
                <a:solidFill>
                  <a:schemeClr val="tx1"/>
                </a:solidFill>
                <a:latin typeface="+mn-lt"/>
                <a:ea typeface="+mn-ea"/>
                <a:cs typeface="+mn-cs"/>
              </a:rPr>
              <a:t>image taken after photobleaching defines the initial condition </a:t>
            </a:r>
            <a:r>
              <a:rPr lang="en-US" sz="1200" b="0" i="1" u="none" strike="noStrike" kern="1200" baseline="0" dirty="0">
                <a:solidFill>
                  <a:schemeClr val="tx1"/>
                </a:solidFill>
                <a:latin typeface="+mn-lt"/>
                <a:ea typeface="+mn-ea"/>
                <a:cs typeface="+mn-cs"/>
              </a:rPr>
              <a:t>Ī0 </a:t>
            </a:r>
            <a:r>
              <a:rPr lang="en-US" sz="1200" b="0" i="0" u="none" strike="noStrike" kern="1200" baseline="0" dirty="0">
                <a:solidFill>
                  <a:schemeClr val="tx1"/>
                </a:solidFill>
                <a:latin typeface="+mn-lt"/>
                <a:ea typeface="+mn-ea"/>
                <a:cs typeface="+mn-cs"/>
              </a:rPr>
              <a:t>in the imaging plane used for three-dimensional simulations of FRAP experiments.</a:t>
            </a:r>
          </a:p>
          <a:p>
            <a:r>
              <a:rPr lang="en-US" sz="1200" b="0" i="0" u="none" strike="noStrike" kern="1200" baseline="0" dirty="0">
                <a:solidFill>
                  <a:schemeClr val="tx1"/>
                </a:solidFill>
                <a:latin typeface="+mn-lt"/>
                <a:ea typeface="+mn-ea"/>
                <a:cs typeface="+mn-cs"/>
              </a:rPr>
              <a:t>(</a:t>
            </a:r>
            <a:r>
              <a:rPr lang="en-US" sz="1200" b="1" i="0" u="none" strike="noStrike" kern="1200" baseline="0" dirty="0">
                <a:solidFill>
                  <a:schemeClr val="tx1"/>
                </a:solidFill>
                <a:latin typeface="+mn-lt"/>
                <a:ea typeface="+mn-ea"/>
                <a:cs typeface="+mn-cs"/>
              </a:rPr>
              <a:t>G</a:t>
            </a:r>
            <a:r>
              <a:rPr lang="en-US" sz="1200" b="0" i="0" u="none" strike="noStrike" kern="1200" baseline="0" dirty="0">
                <a:solidFill>
                  <a:schemeClr val="tx1"/>
                </a:solidFill>
                <a:latin typeface="+mn-lt"/>
                <a:ea typeface="+mn-ea"/>
                <a:cs typeface="+mn-cs"/>
              </a:rPr>
              <a:t>) Simulated FRAP recovery curves in two- and three-dimensional model geometries. FRAP experiments were simulated using the 3D or 2D analysis</a:t>
            </a:r>
          </a:p>
          <a:p>
            <a:r>
              <a:rPr lang="en-US" sz="1200" b="0" i="0" u="none" strike="noStrike" kern="1200" baseline="0" dirty="0">
                <a:solidFill>
                  <a:schemeClr val="tx1"/>
                </a:solidFill>
                <a:latin typeface="+mn-lt"/>
                <a:ea typeface="+mn-ea"/>
                <a:cs typeface="+mn-cs"/>
              </a:rPr>
              <a:t>models for a range of diffusion coefficients, </a:t>
            </a:r>
            <a:r>
              <a:rPr lang="en-US" sz="1200" b="0" i="1" u="none" strike="noStrike" kern="1200" baseline="0" dirty="0">
                <a:solidFill>
                  <a:schemeClr val="tx1"/>
                </a:solidFill>
                <a:latin typeface="+mn-lt"/>
                <a:ea typeface="+mn-ea"/>
                <a:cs typeface="+mn-cs"/>
              </a:rPr>
              <a:t>D</a:t>
            </a:r>
            <a:r>
              <a:rPr lang="en-US" sz="1200" b="0" i="0" u="none" strike="noStrike" kern="1200" baseline="0" dirty="0">
                <a:solidFill>
                  <a:schemeClr val="tx1"/>
                </a:solidFill>
                <a:latin typeface="+mn-lt"/>
                <a:ea typeface="+mn-ea"/>
                <a:cs typeface="+mn-cs"/>
              </a:rPr>
              <a:t>, from 0.1 to 50 μm2/s without clearance or production. For the initial condition, the concentration in</a:t>
            </a:r>
          </a:p>
          <a:p>
            <a:r>
              <a:rPr lang="en-US" sz="1200" b="0" i="0" u="none" strike="noStrike" kern="1200" baseline="0" dirty="0">
                <a:solidFill>
                  <a:schemeClr val="tx1"/>
                </a:solidFill>
                <a:latin typeface="+mn-lt"/>
                <a:ea typeface="+mn-ea"/>
                <a:cs typeface="+mn-cs"/>
              </a:rPr>
              <a:t>the bleached region was set to a value of zero and to a value of one everywhere else. The resulting recovery curves in the bleached window were</a:t>
            </a:r>
          </a:p>
          <a:p>
            <a:r>
              <a:rPr lang="en-US" sz="1200" b="0" i="0" u="none" strike="noStrike" kern="1200" baseline="0" dirty="0">
                <a:solidFill>
                  <a:schemeClr val="tx1"/>
                </a:solidFill>
                <a:latin typeface="+mn-lt"/>
                <a:ea typeface="+mn-ea"/>
                <a:cs typeface="+mn-cs"/>
              </a:rPr>
              <a:t>normalized to the concentration at the final time point t = 3000 s. Note that the recovery profiles in two- and three-dimensional geometries are similar</a:t>
            </a:r>
          </a:p>
          <a:p>
            <a:r>
              <a:rPr lang="en-US" sz="1200" b="0" i="0" u="none" strike="noStrike" kern="1200" baseline="0" dirty="0">
                <a:solidFill>
                  <a:schemeClr val="tx1"/>
                </a:solidFill>
                <a:latin typeface="+mn-lt"/>
                <a:ea typeface="+mn-ea"/>
                <a:cs typeface="+mn-cs"/>
              </a:rPr>
              <a:t>for small values of </a:t>
            </a:r>
            <a:r>
              <a:rPr lang="en-US" sz="1200" b="0" i="1" u="none" strike="noStrike" kern="1200" baseline="0" dirty="0">
                <a:solidFill>
                  <a:schemeClr val="tx1"/>
                </a:solidFill>
                <a:latin typeface="+mn-lt"/>
                <a:ea typeface="+mn-ea"/>
                <a:cs typeface="+mn-cs"/>
              </a:rPr>
              <a:t>D</a:t>
            </a:r>
            <a:r>
              <a:rPr lang="en-US" sz="1200" b="0" i="0" u="none" strike="noStrike" kern="1200" baseline="0" dirty="0">
                <a:solidFill>
                  <a:schemeClr val="tx1"/>
                </a:solidFill>
                <a:latin typeface="+mn-lt"/>
                <a:ea typeface="+mn-ea"/>
                <a:cs typeface="+mn-cs"/>
              </a:rPr>
              <a:t>, but different for higher diffusivities. (</a:t>
            </a:r>
            <a:r>
              <a:rPr lang="en-US" sz="1200" b="1" i="0" u="none" strike="noStrike" kern="1200" baseline="0" dirty="0">
                <a:solidFill>
                  <a:schemeClr val="tx1"/>
                </a:solidFill>
                <a:latin typeface="+mn-lt"/>
                <a:ea typeface="+mn-ea"/>
                <a:cs typeface="+mn-cs"/>
              </a:rPr>
              <a:t>H</a:t>
            </a:r>
            <a:r>
              <a:rPr lang="en-US" sz="1200" b="0" i="0" u="none" strike="noStrike" kern="1200" baseline="0" dirty="0">
                <a:solidFill>
                  <a:schemeClr val="tx1"/>
                </a:solidFill>
                <a:latin typeface="+mn-lt"/>
                <a:ea typeface="+mn-ea"/>
                <a:cs typeface="+mn-cs"/>
              </a:rPr>
              <a:t>) The 3D analysis model was used to generate a recovery curve given a diffusion coefficient</a:t>
            </a:r>
          </a:p>
          <a:p>
            <a:r>
              <a:rPr lang="en-US" sz="1200" b="0" i="0" u="none" strike="noStrike" kern="1200" baseline="0" dirty="0">
                <a:solidFill>
                  <a:schemeClr val="tx1"/>
                </a:solidFill>
                <a:latin typeface="+mn-lt"/>
                <a:ea typeface="+mn-ea"/>
                <a:cs typeface="+mn-cs"/>
              </a:rPr>
              <a:t>of 10 μm2/s (red). This simulated curve was then fitted using the 2D model (blue). Consistent with (G), the 2D fit results in a lower diffusion</a:t>
            </a:r>
          </a:p>
          <a:p>
            <a:r>
              <a:rPr lang="en-US" sz="1200" b="0" i="0" u="none" strike="noStrike" kern="1200" baseline="0" dirty="0">
                <a:solidFill>
                  <a:schemeClr val="tx1"/>
                </a:solidFill>
                <a:latin typeface="+mn-lt"/>
                <a:ea typeface="+mn-ea"/>
                <a:cs typeface="+mn-cs"/>
              </a:rPr>
              <a:t>coefficient, highlighting the differences between the 2D and 3D approaches and the importance of using the appropriate geometry when fitting FRAP</a:t>
            </a:r>
          </a:p>
          <a:p>
            <a:r>
              <a:rPr lang="en-US" sz="1200" b="0" i="0" u="none" strike="noStrike" kern="1200" baseline="0" dirty="0">
                <a:solidFill>
                  <a:schemeClr val="tx1"/>
                </a:solidFill>
                <a:latin typeface="+mn-lt"/>
                <a:ea typeface="+mn-ea"/>
                <a:cs typeface="+mn-cs"/>
              </a:rPr>
              <a:t>data.</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9A7784-85A4-42EC-ABFD-7E1F2014BC3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818689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chematic diagram of the laser scanning confocal </a:t>
            </a:r>
            <a:r>
              <a:rPr lang="en-US" dirty="0" err="1"/>
              <a:t>Mesolens</a:t>
            </a:r>
            <a:r>
              <a:rPr lang="en-US" dirty="0"/>
              <a:t> system.</a:t>
            </a:r>
          </a:p>
          <a:p>
            <a:endParaRPr lang="en-US" dirty="0"/>
          </a:p>
          <a:p>
            <a:r>
              <a:rPr lang="en-US" dirty="0"/>
              <a:t>BE=beam expander, ND= neutral density filter. Only one detection channel is shown here for ease of presentation. Inset: Illustration of the optical train of the </a:t>
            </a:r>
            <a:r>
              <a:rPr lang="en-US" dirty="0" err="1"/>
              <a:t>Mesolens</a:t>
            </a:r>
            <a:r>
              <a:rPr lang="en-US" dirty="0"/>
              <a:t> and scan lens. Also shown is the position of the compensator plates and camera when the </a:t>
            </a:r>
            <a:r>
              <a:rPr lang="en-US" dirty="0" err="1"/>
              <a:t>Mesolens</a:t>
            </a:r>
            <a:r>
              <a:rPr lang="en-US" dirty="0"/>
              <a:t> is used for wide-field epi-fluorescence imaging.</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9A7784-85A4-42EC-ABFD-7E1F2014BC3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458518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ptical sectioning of an optically-cleared and fluorescently-stained 10 day old mouse embryo.(</a:t>
            </a:r>
            <a:r>
              <a:rPr lang="en-US" b="1" dirty="0"/>
              <a:t>a</a:t>
            </a:r>
            <a:r>
              <a:rPr lang="en-US" dirty="0"/>
              <a:t>) is the embryo imaged in XZ using a dry objective lens of similarly low magnification to the </a:t>
            </a:r>
            <a:r>
              <a:rPr lang="en-US" dirty="0" err="1"/>
              <a:t>Mesolens</a:t>
            </a:r>
            <a:r>
              <a:rPr lang="en-US" dirty="0"/>
              <a:t> (5x/0.15 N.A., HCX PL </a:t>
            </a:r>
            <a:r>
              <a:rPr lang="en-US" dirty="0" err="1"/>
              <a:t>Fluotar</a:t>
            </a:r>
            <a:r>
              <a:rPr lang="en-US" dirty="0"/>
              <a:t>, Leica Microsystems). (</a:t>
            </a:r>
            <a:r>
              <a:rPr lang="en-US" b="1" dirty="0"/>
              <a:t>b</a:t>
            </a:r>
            <a:r>
              <a:rPr lang="en-US" dirty="0"/>
              <a:t>) is the same embryo imaged at the same region in XZ using the </a:t>
            </a:r>
            <a:r>
              <a:rPr lang="en-US" dirty="0" err="1"/>
              <a:t>Mesolens</a:t>
            </a:r>
            <a:r>
              <a:rPr lang="en-US" dirty="0"/>
              <a:t> with oil immersion. The </a:t>
            </a:r>
            <a:r>
              <a:rPr lang="en-US" dirty="0" err="1"/>
              <a:t>Mesolens</a:t>
            </a:r>
            <a:r>
              <a:rPr lang="en-US" dirty="0"/>
              <a:t> can image throughout the entire 2 mm thick embryo with sub-cellular resolution: individual nuclei can be observed all the way through. This is in contrast to the image with the commercial low magnification, low N.A. objective, where the long needle-like vertical structures indicate a very poor z resolution. </a:t>
            </a:r>
            <a:r>
              <a:rPr lang="en-US" dirty="0">
                <a:hlinkClick r:id="rId3"/>
              </a:rPr>
              <a:t>Figure 4c</a:t>
            </a:r>
            <a:r>
              <a:rPr lang="en-US" dirty="0"/>
              <a:t> shows an XY cross section at a depth of around 1 mm into the same specimen imaged using the </a:t>
            </a:r>
            <a:r>
              <a:rPr lang="en-US" dirty="0" err="1"/>
              <a:t>Mesolens</a:t>
            </a:r>
            <a:r>
              <a:rPr lang="en-US" dirty="0"/>
              <a:t>. Full resolution versions of (</a:t>
            </a:r>
            <a:r>
              <a:rPr lang="en-US" b="1" dirty="0"/>
              <a:t>b</a:t>
            </a:r>
            <a:r>
              <a:rPr lang="en-US" dirty="0"/>
              <a:t>) and (</a:t>
            </a:r>
            <a:r>
              <a:rPr lang="en-US" b="1" dirty="0"/>
              <a:t>c</a:t>
            </a:r>
            <a:r>
              <a:rPr lang="en-US" dirty="0"/>
              <a:t>) are available as </a:t>
            </a:r>
            <a:r>
              <a:rPr lang="en-US" dirty="0">
                <a:hlinkClick r:id="rId4"/>
              </a:rPr>
              <a:t>Figure 4—figure supplements 1</a:t>
            </a:r>
            <a:r>
              <a:rPr lang="en-US" dirty="0"/>
              <a:t> and </a:t>
            </a:r>
            <a:r>
              <a:rPr lang="en-US" dirty="0">
                <a:hlinkClick r:id="rId5"/>
              </a:rPr>
              <a:t>2</a:t>
            </a:r>
            <a:r>
              <a:rPr lang="en-US" dirty="0"/>
              <a: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9A7784-85A4-42EC-ABFD-7E1F2014BC3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653251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iling versus </a:t>
            </a:r>
            <a:r>
              <a:rPr lang="en-US" dirty="0" err="1"/>
              <a:t>Mesolen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9A7784-85A4-42EC-ABFD-7E1F2014BC3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38335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y fall into two broad categories, "true" super-resolution techniques, which capture information contained in </a:t>
            </a:r>
            <a:r>
              <a:rPr lang="en-US" dirty="0">
                <a:hlinkClick r:id="rId3" tooltip="Evanescent waves"/>
              </a:rPr>
              <a:t>evanescent waves</a:t>
            </a:r>
            <a:r>
              <a:rPr lang="en-US" dirty="0"/>
              <a:t>, and "functional" super-resolution techniques, which use clever experimental techniques and known limitations on the matter being imaged to reconstruct a super-resolution image.</a:t>
            </a:r>
            <a:r>
              <a:rPr lang="en-US" baseline="30000" dirty="0">
                <a:hlinkClick r:id="rId4"/>
              </a:rPr>
              <a:t>[2]</a:t>
            </a:r>
            <a:endParaRPr lang="en-US" baseline="30000" dirty="0"/>
          </a:p>
          <a:p>
            <a:endParaRPr lang="en-US" dirty="0"/>
          </a:p>
          <a:p>
            <a:r>
              <a:rPr lang="en-US" dirty="0"/>
              <a:t>True subwavelength imaging techniques include those that utilize the </a:t>
            </a:r>
            <a:r>
              <a:rPr lang="en-US" dirty="0" err="1">
                <a:hlinkClick r:id="rId5" tooltip="Superlens"/>
              </a:rPr>
              <a:t>Pendry</a:t>
            </a:r>
            <a:r>
              <a:rPr lang="en-US" dirty="0">
                <a:hlinkClick r:id="rId5" tooltip="Superlens"/>
              </a:rPr>
              <a:t> </a:t>
            </a:r>
            <a:r>
              <a:rPr lang="en-US" dirty="0" err="1">
                <a:hlinkClick r:id="rId5" tooltip="Superlens"/>
              </a:rPr>
              <a:t>Superlens</a:t>
            </a:r>
            <a:r>
              <a:rPr lang="en-US" dirty="0"/>
              <a:t> and </a:t>
            </a:r>
            <a:r>
              <a:rPr lang="en-US" dirty="0">
                <a:hlinkClick r:id="rId6" tooltip="Near field scanning optical microscopy"/>
              </a:rPr>
              <a:t>near field scanning optical microscopy</a:t>
            </a:r>
            <a:r>
              <a:rPr lang="en-US" dirty="0"/>
              <a:t>, the </a:t>
            </a:r>
            <a:r>
              <a:rPr lang="en-US" dirty="0">
                <a:hlinkClick r:id="rId7" tooltip="4Pi Microscope"/>
              </a:rPr>
              <a:t>4Pi Microscope</a:t>
            </a:r>
            <a:r>
              <a:rPr lang="en-US" dirty="0"/>
              <a:t> and structured illumination microscopy technologies like SIM and </a:t>
            </a:r>
            <a:r>
              <a:rPr lang="en-US" dirty="0">
                <a:hlinkClick r:id="rId8" tooltip="Vertico SMI"/>
              </a:rPr>
              <a:t>SMI</a:t>
            </a:r>
            <a:r>
              <a:rPr lang="en-US" dirty="0"/>
              <a:t>. However, the majority of techniques of importance in biological imaging fall into the functional category.</a:t>
            </a:r>
          </a:p>
          <a:p>
            <a:r>
              <a:rPr lang="en-US" dirty="0"/>
              <a:t>There are two major groups of methods for functional super-resolution microscopy:</a:t>
            </a:r>
          </a:p>
          <a:p>
            <a:r>
              <a:rPr lang="en-US" dirty="0"/>
              <a:t>Deterministic super-resolution: The most commonly used emitters in biological microscopy, </a:t>
            </a:r>
            <a:r>
              <a:rPr lang="en-US" dirty="0">
                <a:hlinkClick r:id="rId9" tooltip="Fluorophores"/>
              </a:rPr>
              <a:t>fluorophores</a:t>
            </a:r>
            <a:r>
              <a:rPr lang="en-US" dirty="0"/>
              <a:t>, show a nonlinear response to excitation, and this nonlinear response can be exploited to enhance resolution. These methods include </a:t>
            </a:r>
            <a:r>
              <a:rPr lang="en-US" dirty="0">
                <a:hlinkClick r:id="rId10" tooltip="STED microscopy"/>
              </a:rPr>
              <a:t>STED</a:t>
            </a:r>
            <a:r>
              <a:rPr lang="en-US" dirty="0"/>
              <a:t>, </a:t>
            </a:r>
            <a:r>
              <a:rPr lang="en-US" dirty="0">
                <a:hlinkClick r:id="rId11" tooltip="GSD microscopy"/>
              </a:rPr>
              <a:t>GSD</a:t>
            </a:r>
            <a:r>
              <a:rPr lang="en-US" dirty="0"/>
              <a:t>, </a:t>
            </a:r>
            <a:r>
              <a:rPr lang="en-US" dirty="0">
                <a:hlinkClick r:id="rId12" tooltip="RESOLFT"/>
              </a:rPr>
              <a:t>RESOLFT</a:t>
            </a:r>
            <a:r>
              <a:rPr lang="en-US" dirty="0"/>
              <a:t> and SSIM.</a:t>
            </a:r>
          </a:p>
          <a:p>
            <a:r>
              <a:rPr lang="en-US" dirty="0"/>
              <a:t>Stochastic super-resolution: The chemical complexity of many molecular light sources gives them a complex temporal </a:t>
            </a:r>
            <a:r>
              <a:rPr lang="en-US" dirty="0" err="1"/>
              <a:t>behaviour</a:t>
            </a:r>
            <a:r>
              <a:rPr lang="en-US" dirty="0"/>
              <a:t>, which can be used to make several close-by fluorophores emit light at separate times and thereby become resolvable in time. These methods include SOFI and all single-molecule localization methods (SMLM) such as </a:t>
            </a:r>
            <a:r>
              <a:rPr lang="en-US" dirty="0">
                <a:hlinkClick r:id="rId8" tooltip="Vertico SMI"/>
              </a:rPr>
              <a:t>SPDM</a:t>
            </a:r>
            <a:r>
              <a:rPr lang="en-US" dirty="0"/>
              <a:t>, </a:t>
            </a:r>
            <a:r>
              <a:rPr lang="en-US" dirty="0" err="1">
                <a:hlinkClick r:id="rId8" tooltip="Vertico SMI"/>
              </a:rPr>
              <a:t>SPDMphymod</a:t>
            </a:r>
            <a:r>
              <a:rPr lang="en-US" dirty="0"/>
              <a:t>, </a:t>
            </a:r>
            <a:r>
              <a:rPr lang="en-US" dirty="0">
                <a:hlinkClick r:id="rId13" tooltip="Photoactivated localization microscopy"/>
              </a:rPr>
              <a:t>PALM</a:t>
            </a:r>
            <a:r>
              <a:rPr lang="en-US" dirty="0"/>
              <a:t>, FPALM, STORM and </a:t>
            </a:r>
            <a:r>
              <a:rPr lang="en-US" dirty="0" err="1"/>
              <a:t>dSTORM</a:t>
            </a:r>
            <a:r>
              <a:rPr lang="en-US" dirty="0"/>
              <a:t>.</a:t>
            </a:r>
          </a:p>
          <a:p>
            <a:endParaRPr lang="en-US" dirty="0"/>
          </a:p>
          <a:p>
            <a:endParaRPr lang="en-US" dirty="0"/>
          </a:p>
        </p:txBody>
      </p:sp>
      <p:sp>
        <p:nvSpPr>
          <p:cNvPr id="4" name="Slide Number Placeholder 3"/>
          <p:cNvSpPr>
            <a:spLocks noGrp="1"/>
          </p:cNvSpPr>
          <p:nvPr>
            <p:ph type="sldNum" sz="quarter" idx="10"/>
          </p:nvPr>
        </p:nvSpPr>
        <p:spPr/>
        <p:txBody>
          <a:bodyPr/>
          <a:lstStyle/>
          <a:p>
            <a:fld id="{FC4B543D-ED1E-4713-BA77-DC08B6AEBD6F}" type="slidenum">
              <a:rPr lang="en-US" smtClean="0"/>
              <a:t>7</a:t>
            </a:fld>
            <a:endParaRPr lang="en-US"/>
          </a:p>
        </p:txBody>
      </p:sp>
    </p:spTree>
    <p:extLst>
      <p:ext uri="{BB962C8B-B14F-4D97-AF65-F5344CB8AC3E}">
        <p14:creationId xmlns:p14="http://schemas.microsoft.com/office/powerpoint/2010/main" val="35963925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trio of techniques independently surfaced during a four-month period in 2006 that elegantly demonstrated the sequential and stochastic readout with precise localization of multiple single molecules from specimens that were fluorescently labeled with </a:t>
            </a:r>
            <a:r>
              <a:rPr lang="en-US" dirty="0" err="1"/>
              <a:t>photoswitchable</a:t>
            </a:r>
            <a:r>
              <a:rPr lang="en-US" dirty="0"/>
              <a:t> dyes or optical highlighter fluorescent proteins at densities approaching those commonly employed in </a:t>
            </a:r>
            <a:r>
              <a:rPr lang="en-US" dirty="0" err="1"/>
              <a:t>widefield</a:t>
            </a:r>
            <a:r>
              <a:rPr lang="en-US" dirty="0"/>
              <a:t> and confocal fluorescence microscopy (ranging up to 100,000 molecules per square micrometer). These nearly identical single-molecule </a:t>
            </a:r>
            <a:r>
              <a:rPr lang="en-US" dirty="0" err="1"/>
              <a:t>superresolution</a:t>
            </a:r>
            <a:r>
              <a:rPr lang="en-US" dirty="0"/>
              <a:t> imaging techniques have been termed stochastic optical reconstruction microscopy (</a:t>
            </a:r>
            <a:r>
              <a:rPr lang="en-US" b="1" dirty="0"/>
              <a:t>STORM</a:t>
            </a:r>
            <a:r>
              <a:rPr lang="en-US" dirty="0"/>
              <a:t>; see Figure 1), </a:t>
            </a:r>
            <a:r>
              <a:rPr lang="en-US" dirty="0" err="1"/>
              <a:t>photoactivated</a:t>
            </a:r>
            <a:r>
              <a:rPr lang="en-US" dirty="0"/>
              <a:t> localization microscopy (</a:t>
            </a:r>
            <a:r>
              <a:rPr lang="en-US" b="1" dirty="0"/>
              <a:t>PALM</a:t>
            </a:r>
            <a:r>
              <a:rPr lang="en-US" dirty="0"/>
              <a:t>), and fluorescence </a:t>
            </a:r>
            <a:r>
              <a:rPr lang="en-US" dirty="0" err="1"/>
              <a:t>photoactivation</a:t>
            </a:r>
            <a:r>
              <a:rPr lang="en-US" dirty="0"/>
              <a:t> localization microscopy (</a:t>
            </a:r>
            <a:r>
              <a:rPr lang="en-US" b="1" dirty="0"/>
              <a:t>FPALM</a:t>
            </a:r>
            <a:r>
              <a:rPr lang="en-US" dirty="0"/>
              <a:t>). They rely on an activation laser applied at low power to trigger emission switching so that any particular molecule has a small probability of being </a:t>
            </a:r>
            <a:r>
              <a:rPr lang="en-US" dirty="0" err="1"/>
              <a:t>photoactivated</a:t>
            </a:r>
            <a:r>
              <a:rPr lang="en-US" dirty="0"/>
              <a:t>, but the majority of the population remains in the original (dark or native) emissive state. Although the major difference between the methods as they were originally published was simply the nature of the fluorescent probes used to achieve </a:t>
            </a:r>
            <a:r>
              <a:rPr lang="en-US" dirty="0" err="1"/>
              <a:t>superresolution</a:t>
            </a:r>
            <a:r>
              <a:rPr lang="en-US" dirty="0"/>
              <a:t> imaging, these techniques are virtually identical. In fact, the original STORM research report mentioned the use of fluorescent proteins, whereas the first PALM paper discussed the application of caged synthetic fluorophores.</a:t>
            </a:r>
          </a:p>
          <a:p>
            <a:r>
              <a:rPr lang="en-US" dirty="0"/>
              <a:t>http://www.microscopyu.com/articles/superresolution/stormintro.html</a:t>
            </a:r>
          </a:p>
          <a:p>
            <a:endParaRPr lang="en-US" dirty="0"/>
          </a:p>
          <a:p>
            <a:r>
              <a:rPr lang="en-US" dirty="0"/>
              <a:t>They fall into two broad categories, "true" super-resolution techniques, which capture information contained in </a:t>
            </a:r>
            <a:r>
              <a:rPr lang="en-US" dirty="0">
                <a:hlinkClick r:id="rId3" tooltip="Evanescent waves"/>
              </a:rPr>
              <a:t>evanescent waves</a:t>
            </a:r>
            <a:r>
              <a:rPr lang="en-US" dirty="0"/>
              <a:t>, and "functional" super-resolution techniques, which use clever experimental techniques and known limitations on the matter being imaged to reconstruct a super-resolution image.</a:t>
            </a:r>
            <a:r>
              <a:rPr lang="en-US" baseline="30000" dirty="0">
                <a:hlinkClick r:id="rId4"/>
              </a:rPr>
              <a:t>[2]</a:t>
            </a:r>
            <a:endParaRPr lang="en-US" baseline="30000" dirty="0"/>
          </a:p>
          <a:p>
            <a:endParaRPr lang="en-US" dirty="0"/>
          </a:p>
          <a:p>
            <a:r>
              <a:rPr lang="en-US" dirty="0"/>
              <a:t>True subwavelength imaging techniques include those that utilize the </a:t>
            </a:r>
            <a:r>
              <a:rPr lang="en-US" dirty="0" err="1">
                <a:hlinkClick r:id="rId5" tooltip="Superlens"/>
              </a:rPr>
              <a:t>Pendry</a:t>
            </a:r>
            <a:r>
              <a:rPr lang="en-US" dirty="0">
                <a:hlinkClick r:id="rId5" tooltip="Superlens"/>
              </a:rPr>
              <a:t> </a:t>
            </a:r>
            <a:r>
              <a:rPr lang="en-US" dirty="0" err="1">
                <a:hlinkClick r:id="rId5" tooltip="Superlens"/>
              </a:rPr>
              <a:t>Superlens</a:t>
            </a:r>
            <a:r>
              <a:rPr lang="en-US" dirty="0"/>
              <a:t> and </a:t>
            </a:r>
            <a:r>
              <a:rPr lang="en-US" dirty="0">
                <a:hlinkClick r:id="rId6" tooltip="Near field scanning optical microscopy"/>
              </a:rPr>
              <a:t>near field scanning optical microscopy</a:t>
            </a:r>
            <a:r>
              <a:rPr lang="en-US" dirty="0"/>
              <a:t>, the </a:t>
            </a:r>
            <a:r>
              <a:rPr lang="en-US" dirty="0">
                <a:hlinkClick r:id="rId7" tooltip="4Pi Microscope"/>
              </a:rPr>
              <a:t>4Pi Microscope</a:t>
            </a:r>
            <a:r>
              <a:rPr lang="en-US" dirty="0"/>
              <a:t> and structured illumination microscopy technologies like SIM and </a:t>
            </a:r>
            <a:r>
              <a:rPr lang="en-US" dirty="0">
                <a:hlinkClick r:id="rId8" tooltip="Vertico SMI"/>
              </a:rPr>
              <a:t>SMI</a:t>
            </a:r>
            <a:r>
              <a:rPr lang="en-US" dirty="0"/>
              <a:t>. However, the majority of techniques of importance in biological imaging fall into the functional category.</a:t>
            </a:r>
          </a:p>
          <a:p>
            <a:r>
              <a:rPr lang="en-US" dirty="0"/>
              <a:t>There are two major groups of methods for functional super-resolution microscopy:</a:t>
            </a:r>
          </a:p>
          <a:p>
            <a:r>
              <a:rPr lang="en-US" dirty="0"/>
              <a:t>Deterministic super-resolution: The most commonly used emitters in biological microscopy, </a:t>
            </a:r>
            <a:r>
              <a:rPr lang="en-US" dirty="0">
                <a:hlinkClick r:id="rId9" tooltip="Fluorophores"/>
              </a:rPr>
              <a:t>fluorophores</a:t>
            </a:r>
            <a:r>
              <a:rPr lang="en-US" dirty="0"/>
              <a:t>, show a nonlinear response to excitation, and this nonlinear response can be exploited to enhance resolution. These methods include </a:t>
            </a:r>
            <a:r>
              <a:rPr lang="en-US" dirty="0">
                <a:hlinkClick r:id="rId10" tooltip="STED microscopy"/>
              </a:rPr>
              <a:t>STED</a:t>
            </a:r>
            <a:r>
              <a:rPr lang="en-US" dirty="0"/>
              <a:t>, </a:t>
            </a:r>
            <a:r>
              <a:rPr lang="en-US" dirty="0">
                <a:hlinkClick r:id="rId11" tooltip="GSD microscopy"/>
              </a:rPr>
              <a:t>GSD</a:t>
            </a:r>
            <a:r>
              <a:rPr lang="en-US" dirty="0"/>
              <a:t>, </a:t>
            </a:r>
            <a:r>
              <a:rPr lang="en-US" dirty="0">
                <a:hlinkClick r:id="rId12" tooltip="RESOLFT"/>
              </a:rPr>
              <a:t>RESOLFT</a:t>
            </a:r>
            <a:r>
              <a:rPr lang="en-US" dirty="0"/>
              <a:t> and SSIM.</a:t>
            </a:r>
          </a:p>
          <a:p>
            <a:r>
              <a:rPr lang="en-US" dirty="0"/>
              <a:t>Stochastic super-resolution: The chemical complexity of many molecular light sources gives them a complex temporal </a:t>
            </a:r>
            <a:r>
              <a:rPr lang="en-US" dirty="0" err="1"/>
              <a:t>behaviour</a:t>
            </a:r>
            <a:r>
              <a:rPr lang="en-US" dirty="0"/>
              <a:t>, which can be used to make several close-by fluorophores emit light at separate times and thereby become resolvable in time. These methods include SOFI and all single-molecule localization methods (SMLM) such as </a:t>
            </a:r>
            <a:r>
              <a:rPr lang="en-US" dirty="0">
                <a:hlinkClick r:id="rId8" tooltip="Vertico SMI"/>
              </a:rPr>
              <a:t>SPDM</a:t>
            </a:r>
            <a:r>
              <a:rPr lang="en-US" dirty="0"/>
              <a:t>, </a:t>
            </a:r>
            <a:r>
              <a:rPr lang="en-US" dirty="0" err="1">
                <a:hlinkClick r:id="rId8" tooltip="Vertico SMI"/>
              </a:rPr>
              <a:t>SPDMphymod</a:t>
            </a:r>
            <a:r>
              <a:rPr lang="en-US" dirty="0"/>
              <a:t>, </a:t>
            </a:r>
            <a:r>
              <a:rPr lang="en-US" dirty="0">
                <a:hlinkClick r:id="rId13" tooltip="Photoactivated localization microscopy"/>
              </a:rPr>
              <a:t>PALM</a:t>
            </a:r>
            <a:r>
              <a:rPr lang="en-US" dirty="0"/>
              <a:t>, FPALM, STORM and </a:t>
            </a:r>
            <a:r>
              <a:rPr lang="en-US" dirty="0" err="1"/>
              <a:t>dSTORM</a:t>
            </a:r>
            <a:r>
              <a:rPr lang="en-US" dirty="0"/>
              <a:t>.</a:t>
            </a:r>
          </a:p>
          <a:p>
            <a:endParaRPr lang="en-US" dirty="0"/>
          </a:p>
          <a:p>
            <a:endParaRPr lang="en-US" dirty="0"/>
          </a:p>
        </p:txBody>
      </p:sp>
      <p:sp>
        <p:nvSpPr>
          <p:cNvPr id="4" name="Slide Number Placeholder 3"/>
          <p:cNvSpPr>
            <a:spLocks noGrp="1"/>
          </p:cNvSpPr>
          <p:nvPr>
            <p:ph type="sldNum" sz="quarter" idx="10"/>
          </p:nvPr>
        </p:nvSpPr>
        <p:spPr/>
        <p:txBody>
          <a:bodyPr/>
          <a:lstStyle/>
          <a:p>
            <a:fld id="{FC4B543D-ED1E-4713-BA77-DC08B6AEBD6F}" type="slidenum">
              <a:rPr lang="en-US" smtClean="0"/>
              <a:t>8</a:t>
            </a:fld>
            <a:endParaRPr lang="en-US"/>
          </a:p>
        </p:txBody>
      </p:sp>
    </p:spTree>
    <p:extLst>
      <p:ext uri="{BB962C8B-B14F-4D97-AF65-F5344CB8AC3E}">
        <p14:creationId xmlns:p14="http://schemas.microsoft.com/office/powerpoint/2010/main" val="19294880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tremely high intensities are necessary for switching off the excited singlet state with STED (using what is termed a </a:t>
            </a:r>
            <a:r>
              <a:rPr lang="en-US" b="1" dirty="0"/>
              <a:t>depletion laser</a:t>
            </a:r>
            <a:r>
              <a:rPr lang="en-US" dirty="0"/>
              <a:t>), but switching to a metastable triplet or similar dark state (GSD) requires a light intensity between a thousand and a million times lower. </a:t>
            </a:r>
          </a:p>
          <a:p>
            <a:endParaRPr lang="en-US" dirty="0"/>
          </a:p>
          <a:p>
            <a:r>
              <a:rPr lang="en-US" dirty="0"/>
              <a:t>http://zeiss-campus.magnet.fsu.edu/articles/superresolution/introduction.html</a:t>
            </a:r>
          </a:p>
          <a:p>
            <a:endParaRPr lang="en-US" dirty="0"/>
          </a:p>
          <a:p>
            <a:r>
              <a:rPr lang="en-US" dirty="0"/>
              <a:t>http://www.microscopyu.com/articles/superresolution/stormintro.html</a:t>
            </a:r>
          </a:p>
          <a:p>
            <a:endParaRPr lang="en-US" dirty="0"/>
          </a:p>
        </p:txBody>
      </p:sp>
      <p:sp>
        <p:nvSpPr>
          <p:cNvPr id="4" name="Slide Number Placeholder 3"/>
          <p:cNvSpPr>
            <a:spLocks noGrp="1"/>
          </p:cNvSpPr>
          <p:nvPr>
            <p:ph type="sldNum" sz="quarter" idx="10"/>
          </p:nvPr>
        </p:nvSpPr>
        <p:spPr/>
        <p:txBody>
          <a:bodyPr/>
          <a:lstStyle/>
          <a:p>
            <a:fld id="{45397BDA-7C5D-426B-8F63-5169389F863D}" type="slidenum">
              <a:rPr lang="en-US" smtClean="0"/>
              <a:t>9</a:t>
            </a:fld>
            <a:endParaRPr lang="en-US"/>
          </a:p>
        </p:txBody>
      </p:sp>
    </p:spTree>
    <p:extLst>
      <p:ext uri="{BB962C8B-B14F-4D97-AF65-F5344CB8AC3E}">
        <p14:creationId xmlns:p14="http://schemas.microsoft.com/office/powerpoint/2010/main" val="42090465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trio of techniques independently surfaced during a four-month period in 2006 that elegantly demonstrated the sequential and stochastic readout with precise localization of multiple single molecules from specimens that were fluorescently labeled with </a:t>
            </a:r>
            <a:r>
              <a:rPr lang="en-US" dirty="0" err="1"/>
              <a:t>photoswitchable</a:t>
            </a:r>
            <a:r>
              <a:rPr lang="en-US" dirty="0"/>
              <a:t> dyes or optical highlighter fluorescent proteins at densities approaching those commonly employed in </a:t>
            </a:r>
            <a:r>
              <a:rPr lang="en-US" dirty="0" err="1"/>
              <a:t>widefield</a:t>
            </a:r>
            <a:r>
              <a:rPr lang="en-US" dirty="0"/>
              <a:t> and confocal fluorescence microscopy (ranging up to 100,000 molecules per square micrometer). These nearly identical single-molecule </a:t>
            </a:r>
            <a:r>
              <a:rPr lang="en-US" dirty="0" err="1"/>
              <a:t>superresolution</a:t>
            </a:r>
            <a:r>
              <a:rPr lang="en-US" dirty="0"/>
              <a:t> imaging techniques have been termed stochastic optical reconstruction microscopy (</a:t>
            </a:r>
            <a:r>
              <a:rPr lang="en-US" b="1" dirty="0"/>
              <a:t>STORM</a:t>
            </a:r>
            <a:r>
              <a:rPr lang="en-US" dirty="0"/>
              <a:t>; see Figure 1), </a:t>
            </a:r>
            <a:r>
              <a:rPr lang="en-US" dirty="0" err="1"/>
              <a:t>photoactivated</a:t>
            </a:r>
            <a:r>
              <a:rPr lang="en-US" dirty="0"/>
              <a:t> localization microscopy (</a:t>
            </a:r>
            <a:r>
              <a:rPr lang="en-US" b="1" dirty="0"/>
              <a:t>PALM</a:t>
            </a:r>
            <a:r>
              <a:rPr lang="en-US" dirty="0"/>
              <a:t>), and fluorescence </a:t>
            </a:r>
            <a:r>
              <a:rPr lang="en-US" dirty="0" err="1"/>
              <a:t>photoactivation</a:t>
            </a:r>
            <a:r>
              <a:rPr lang="en-US" dirty="0"/>
              <a:t> localization microscopy (</a:t>
            </a:r>
            <a:r>
              <a:rPr lang="en-US" b="1" dirty="0"/>
              <a:t>FPALM</a:t>
            </a:r>
            <a:r>
              <a:rPr lang="en-US" dirty="0"/>
              <a:t>). They rely on an activation laser applied at low power to trigger emission switching so that any particular molecule has a small probability of being </a:t>
            </a:r>
            <a:r>
              <a:rPr lang="en-US" dirty="0" err="1"/>
              <a:t>photoactivated</a:t>
            </a:r>
            <a:r>
              <a:rPr lang="en-US" dirty="0"/>
              <a:t>, but the majority of the population remains in the original (dark or native) emissive state. Although the major difference between the methods as they were originally published was simply the nature of the fluorescent probes used to achieve </a:t>
            </a:r>
            <a:r>
              <a:rPr lang="en-US" dirty="0" err="1"/>
              <a:t>superresolution</a:t>
            </a:r>
            <a:r>
              <a:rPr lang="en-US" dirty="0"/>
              <a:t> imaging, these techniques are virtually identical. In fact, the original STORM research report mentioned the use of fluorescent proteins, whereas the first PALM paper discussed the application of caged synthetic fluorophores.</a:t>
            </a:r>
          </a:p>
          <a:p>
            <a:r>
              <a:rPr lang="en-US" dirty="0"/>
              <a:t>http://www.microscopyu.com/articles/superresolution/stormintro.html</a:t>
            </a:r>
          </a:p>
          <a:p>
            <a:endParaRPr lang="en-US" dirty="0"/>
          </a:p>
          <a:p>
            <a:r>
              <a:rPr lang="en-US" dirty="0"/>
              <a:t>These three methods were published independently during a short period of time and their principle is identical. STORM was originally described using Cy5 and Cy3 dyes attached to nucleic acids or proteins,</a:t>
            </a:r>
            <a:r>
              <a:rPr lang="en-US" baseline="30000" dirty="0">
                <a:hlinkClick r:id="rId3"/>
              </a:rPr>
              <a:t>[47]</a:t>
            </a:r>
            <a:r>
              <a:rPr lang="en-US" dirty="0"/>
              <a:t> while PALM and FPALM was described using </a:t>
            </a:r>
            <a:r>
              <a:rPr lang="en-US" dirty="0" err="1"/>
              <a:t>photoswitchable</a:t>
            </a:r>
            <a:r>
              <a:rPr lang="en-US" dirty="0"/>
              <a:t> fluorescent proteins.</a:t>
            </a:r>
            <a:r>
              <a:rPr lang="en-US" baseline="30000" dirty="0">
                <a:hlinkClick r:id="rId4"/>
              </a:rPr>
              <a:t>[48]</a:t>
            </a:r>
            <a:r>
              <a:rPr lang="en-US" baseline="30000" dirty="0">
                <a:hlinkClick r:id="rId5"/>
              </a:rPr>
              <a:t>[49]</a:t>
            </a:r>
            <a:endParaRPr lang="en-US" dirty="0"/>
          </a:p>
          <a:p>
            <a:r>
              <a:rPr lang="en-US" dirty="0"/>
              <a:t>http://en.wikipedia.org/wiki/Super-resolution_microscopy#Stochastic_functional_techniques</a:t>
            </a:r>
          </a:p>
          <a:p>
            <a:endParaRPr lang="en-US" dirty="0"/>
          </a:p>
          <a:p>
            <a:r>
              <a:rPr lang="en-US" dirty="0"/>
              <a:t>They fall into two broad categories, "true" super-resolution techniques, which capture information contained in </a:t>
            </a:r>
            <a:r>
              <a:rPr lang="en-US" dirty="0">
                <a:hlinkClick r:id="rId6" tooltip="Evanescent waves"/>
              </a:rPr>
              <a:t>evanescent waves</a:t>
            </a:r>
            <a:r>
              <a:rPr lang="en-US" dirty="0"/>
              <a:t>, and "functional" super-resolution techniques, which use clever experimental techniques and known limitations on the matter being imaged to reconstruct a super-resolution image.</a:t>
            </a:r>
            <a:r>
              <a:rPr lang="en-US" baseline="30000" dirty="0">
                <a:hlinkClick r:id="rId7"/>
              </a:rPr>
              <a:t>[2]</a:t>
            </a:r>
            <a:endParaRPr lang="en-US" baseline="30000" dirty="0"/>
          </a:p>
          <a:p>
            <a:endParaRPr lang="en-US" dirty="0"/>
          </a:p>
          <a:p>
            <a:r>
              <a:rPr lang="en-US" dirty="0"/>
              <a:t>True subwavelength imaging techniques include those that utilize the </a:t>
            </a:r>
            <a:r>
              <a:rPr lang="en-US" dirty="0" err="1">
                <a:hlinkClick r:id="rId8" tooltip="Superlens"/>
              </a:rPr>
              <a:t>Pendry</a:t>
            </a:r>
            <a:r>
              <a:rPr lang="en-US" dirty="0">
                <a:hlinkClick r:id="rId8" tooltip="Superlens"/>
              </a:rPr>
              <a:t> </a:t>
            </a:r>
            <a:r>
              <a:rPr lang="en-US" dirty="0" err="1">
                <a:hlinkClick r:id="rId8" tooltip="Superlens"/>
              </a:rPr>
              <a:t>Superlens</a:t>
            </a:r>
            <a:r>
              <a:rPr lang="en-US" dirty="0"/>
              <a:t> and </a:t>
            </a:r>
            <a:r>
              <a:rPr lang="en-US" dirty="0">
                <a:hlinkClick r:id="rId9" tooltip="Near field scanning optical microscopy"/>
              </a:rPr>
              <a:t>near field scanning optical microscopy</a:t>
            </a:r>
            <a:r>
              <a:rPr lang="en-US" dirty="0"/>
              <a:t>, the </a:t>
            </a:r>
            <a:r>
              <a:rPr lang="en-US" dirty="0">
                <a:hlinkClick r:id="rId10" tooltip="4Pi Microscope"/>
              </a:rPr>
              <a:t>4Pi Microscope</a:t>
            </a:r>
            <a:r>
              <a:rPr lang="en-US" dirty="0"/>
              <a:t> and structured illumination microscopy technologies like SIM and </a:t>
            </a:r>
            <a:r>
              <a:rPr lang="en-US" dirty="0">
                <a:hlinkClick r:id="rId11" tooltip="Vertico SMI"/>
              </a:rPr>
              <a:t>SMI</a:t>
            </a:r>
            <a:r>
              <a:rPr lang="en-US" dirty="0"/>
              <a:t>. However, the majority of techniques of importance in biological imaging fall into the functional category.</a:t>
            </a:r>
          </a:p>
          <a:p>
            <a:r>
              <a:rPr lang="en-US" dirty="0"/>
              <a:t>There are two major groups of methods for functional super-resolution microscopy:</a:t>
            </a:r>
          </a:p>
          <a:p>
            <a:r>
              <a:rPr lang="en-US" dirty="0"/>
              <a:t>Deterministic super-resolution: The most commonly used emitters in biological microscopy, </a:t>
            </a:r>
            <a:r>
              <a:rPr lang="en-US" dirty="0">
                <a:hlinkClick r:id="rId12" tooltip="Fluorophores"/>
              </a:rPr>
              <a:t>fluorophores</a:t>
            </a:r>
            <a:r>
              <a:rPr lang="en-US" dirty="0"/>
              <a:t>, show a nonlinear response to excitation, and this nonlinear response can be exploited to enhance resolution. These methods include </a:t>
            </a:r>
            <a:r>
              <a:rPr lang="en-US" dirty="0">
                <a:hlinkClick r:id="rId13" tooltip="STED microscopy"/>
              </a:rPr>
              <a:t>STED</a:t>
            </a:r>
            <a:r>
              <a:rPr lang="en-US" dirty="0"/>
              <a:t>, </a:t>
            </a:r>
            <a:r>
              <a:rPr lang="en-US" dirty="0">
                <a:hlinkClick r:id="rId14" tooltip="GSD microscopy"/>
              </a:rPr>
              <a:t>GSD</a:t>
            </a:r>
            <a:r>
              <a:rPr lang="en-US" dirty="0"/>
              <a:t>, </a:t>
            </a:r>
            <a:r>
              <a:rPr lang="en-US" dirty="0">
                <a:hlinkClick r:id="rId15" tooltip="RESOLFT"/>
              </a:rPr>
              <a:t>RESOLFT</a:t>
            </a:r>
            <a:r>
              <a:rPr lang="en-US" dirty="0"/>
              <a:t> and SSIM.</a:t>
            </a:r>
          </a:p>
          <a:p>
            <a:r>
              <a:rPr lang="en-US" dirty="0"/>
              <a:t>Stochastic super-resolution: The chemical complexity of many molecular light sources gives them a complex temporal </a:t>
            </a:r>
            <a:r>
              <a:rPr lang="en-US" dirty="0" err="1"/>
              <a:t>behaviour</a:t>
            </a:r>
            <a:r>
              <a:rPr lang="en-US" dirty="0"/>
              <a:t>, which can be used to make several close-by fluorophores emit light at separate times and thereby become resolvable in time. These methods include SOFI and all single-molecule localization methods (SMLM) such as </a:t>
            </a:r>
            <a:r>
              <a:rPr lang="en-US" dirty="0">
                <a:hlinkClick r:id="rId11" tooltip="Vertico SMI"/>
              </a:rPr>
              <a:t>SPDM</a:t>
            </a:r>
            <a:r>
              <a:rPr lang="en-US" dirty="0"/>
              <a:t>, </a:t>
            </a:r>
            <a:r>
              <a:rPr lang="en-US" dirty="0" err="1">
                <a:hlinkClick r:id="rId11" tooltip="Vertico SMI"/>
              </a:rPr>
              <a:t>SPDMphymod</a:t>
            </a:r>
            <a:r>
              <a:rPr lang="en-US" dirty="0"/>
              <a:t>, </a:t>
            </a:r>
            <a:r>
              <a:rPr lang="en-US" dirty="0">
                <a:hlinkClick r:id="rId16" tooltip="Photoactivated localization microscopy"/>
              </a:rPr>
              <a:t>PALM</a:t>
            </a:r>
            <a:r>
              <a:rPr lang="en-US" dirty="0"/>
              <a:t>, FPALM, STORM and </a:t>
            </a:r>
            <a:r>
              <a:rPr lang="en-US" dirty="0" err="1"/>
              <a:t>dSTORM</a:t>
            </a:r>
            <a:r>
              <a:rPr lang="en-US" dirty="0"/>
              <a:t>.</a:t>
            </a:r>
          </a:p>
          <a:p>
            <a:endParaRPr lang="en-US" dirty="0"/>
          </a:p>
          <a:p>
            <a:endParaRPr lang="en-US" dirty="0"/>
          </a:p>
        </p:txBody>
      </p:sp>
      <p:sp>
        <p:nvSpPr>
          <p:cNvPr id="4" name="Slide Number Placeholder 3"/>
          <p:cNvSpPr>
            <a:spLocks noGrp="1"/>
          </p:cNvSpPr>
          <p:nvPr>
            <p:ph type="sldNum" sz="quarter" idx="10"/>
          </p:nvPr>
        </p:nvSpPr>
        <p:spPr/>
        <p:txBody>
          <a:bodyPr/>
          <a:lstStyle/>
          <a:p>
            <a:fld id="{FC4B543D-ED1E-4713-BA77-DC08B6AEBD6F}" type="slidenum">
              <a:rPr lang="en-US" smtClean="0"/>
              <a:t>13</a:t>
            </a:fld>
            <a:endParaRPr lang="en-US"/>
          </a:p>
        </p:txBody>
      </p:sp>
    </p:spTree>
    <p:extLst>
      <p:ext uri="{BB962C8B-B14F-4D97-AF65-F5344CB8AC3E}">
        <p14:creationId xmlns:p14="http://schemas.microsoft.com/office/powerpoint/2010/main" val="13556451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zeiss-campus.magnet.fsu.edu/articles/superresolution/palm/practicalaspects.html</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http://www.microscopyu.com/articles/superresolution/stormintro.html</a:t>
            </a:r>
          </a:p>
          <a:p>
            <a:endParaRPr lang="en-US" dirty="0"/>
          </a:p>
        </p:txBody>
      </p:sp>
      <p:sp>
        <p:nvSpPr>
          <p:cNvPr id="4" name="Slide Number Placeholder 3"/>
          <p:cNvSpPr>
            <a:spLocks noGrp="1"/>
          </p:cNvSpPr>
          <p:nvPr>
            <p:ph type="sldNum" sz="quarter" idx="10"/>
          </p:nvPr>
        </p:nvSpPr>
        <p:spPr/>
        <p:txBody>
          <a:bodyPr/>
          <a:lstStyle/>
          <a:p>
            <a:fld id="{45397BDA-7C5D-426B-8F63-5169389F863D}" type="slidenum">
              <a:rPr lang="en-US" smtClean="0"/>
              <a:t>14</a:t>
            </a:fld>
            <a:endParaRPr lang="en-US"/>
          </a:p>
        </p:txBody>
      </p:sp>
    </p:spTree>
    <p:extLst>
      <p:ext uri="{BB962C8B-B14F-4D97-AF65-F5344CB8AC3E}">
        <p14:creationId xmlns:p14="http://schemas.microsoft.com/office/powerpoint/2010/main" val="30370018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mong the critical aspects that must be considered are the accuracy of each individual localization measurement, the density of probes that have been localized in the final image (commonly termed </a:t>
            </a:r>
            <a:r>
              <a:rPr lang="en-US" b="1" dirty="0"/>
              <a:t>molecular density</a:t>
            </a:r>
            <a:r>
              <a:rPr lang="en-US" dirty="0"/>
              <a:t>), and the physical size of the labels themselves. The relationship between resolution and the localization precision of a single molecule is readily determined. The ability to resolve two fluorescent molecules as separate entities is limited by the localization precision, which determines the position (and uncertainty) of each molecule and thus the distance between the pair. The localization precision, in turn, is primarily dependent upon the number of photons collected from the fluorescent molecules during a single activation-deactivation cycle, provided the background noise is negligible.</a:t>
            </a:r>
          </a:p>
          <a:p>
            <a:endParaRPr lang="en-US" dirty="0"/>
          </a:p>
          <a:p>
            <a:r>
              <a:rPr lang="en-US" dirty="0"/>
              <a:t>Presented in Figure 7 is an important concept involving one of the most critical factors influencing spatial resolution in single-molecule </a:t>
            </a:r>
            <a:r>
              <a:rPr lang="en-US" dirty="0" err="1"/>
              <a:t>superresolution</a:t>
            </a:r>
            <a:r>
              <a:rPr lang="en-US" dirty="0"/>
              <a:t> imaging. The resolution versus molecular density is represented in Figure 7 as a series of yellow pixels in a test pattern. Features that might be present in a specimen are imaged at a progressively lower signal-to-noise ratio (fraction of pixels measured) as the molecular density decreases (from the bottom to the top of Figure 7) and these features become unresolvable when the mean molecular separation approaches feature size (the top row in Figure 7). Thus, as described in </a:t>
            </a:r>
            <a:r>
              <a:rPr lang="en-US" b="1" dirty="0"/>
              <a:t>Equation (5)</a:t>
            </a:r>
            <a:r>
              <a:rPr lang="en-US" dirty="0"/>
              <a:t>, in order to achieve </a:t>
            </a:r>
            <a:r>
              <a:rPr lang="en-US" b="1" dirty="0"/>
              <a:t>N</a:t>
            </a:r>
            <a:r>
              <a:rPr lang="en-US" dirty="0"/>
              <a:t>-fold higher resolution in dimensions </a:t>
            </a:r>
            <a:r>
              <a:rPr lang="en-US" b="1" dirty="0"/>
              <a:t>D</a:t>
            </a:r>
            <a:r>
              <a:rPr lang="en-US" dirty="0"/>
              <a:t>, </a:t>
            </a:r>
            <a:r>
              <a:rPr lang="en-US" b="1" dirty="0"/>
              <a:t>N</a:t>
            </a:r>
            <a:r>
              <a:rPr lang="en-US" b="1" baseline="30000" dirty="0"/>
              <a:t>D</a:t>
            </a:r>
            <a:r>
              <a:rPr lang="en-US" dirty="0"/>
              <a:t>-fold more pixels must be acquired. In order to realize such a resolution gain without compromising either the imaging speed or the signal-to-noise ratio, the signal collection rate (photons detected per second) must increase by a factor of at least </a:t>
            </a:r>
            <a:r>
              <a:rPr lang="en-US" b="1" dirty="0"/>
              <a:t>N</a:t>
            </a:r>
            <a:r>
              <a:rPr lang="en-US" b="1" baseline="30000" dirty="0"/>
              <a:t>D</a:t>
            </a:r>
            <a:r>
              <a:rPr lang="en-US" dirty="0"/>
              <a:t>, which requires an </a:t>
            </a:r>
            <a:r>
              <a:rPr lang="en-US" b="1" dirty="0"/>
              <a:t>N</a:t>
            </a:r>
            <a:r>
              <a:rPr lang="en-US" b="1" baseline="30000" dirty="0"/>
              <a:t>D</a:t>
            </a:r>
            <a:r>
              <a:rPr lang="en-US" dirty="0"/>
              <a:t>-fold higher exposure to the excitation laser for each image required.</a:t>
            </a:r>
          </a:p>
          <a:p>
            <a:endParaRPr lang="en-US" dirty="0"/>
          </a:p>
        </p:txBody>
      </p:sp>
      <p:sp>
        <p:nvSpPr>
          <p:cNvPr id="4" name="Slide Number Placeholder 3"/>
          <p:cNvSpPr>
            <a:spLocks noGrp="1"/>
          </p:cNvSpPr>
          <p:nvPr>
            <p:ph type="sldNum" sz="quarter" idx="10"/>
          </p:nvPr>
        </p:nvSpPr>
        <p:spPr/>
        <p:txBody>
          <a:bodyPr/>
          <a:lstStyle/>
          <a:p>
            <a:fld id="{45397BDA-7C5D-426B-8F63-5169389F863D}" type="slidenum">
              <a:rPr lang="en-US" smtClean="0"/>
              <a:t>16</a:t>
            </a:fld>
            <a:endParaRPr lang="en-US"/>
          </a:p>
        </p:txBody>
      </p:sp>
    </p:spTree>
    <p:extLst>
      <p:ext uri="{BB962C8B-B14F-4D97-AF65-F5344CB8AC3E}">
        <p14:creationId xmlns:p14="http://schemas.microsoft.com/office/powerpoint/2010/main" val="35725636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3.xml"/><Relationship Id="rId1" Type="http://schemas.openxmlformats.org/officeDocument/2006/relationships/tags" Target="../tags/tag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5.png"/><Relationship Id="rId4"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image" Target="../media/image6.jpeg"/></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7.jpeg"/><Relationship Id="rId4"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8.jpeg"/><Relationship Id="rId4"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9.jpeg"/><Relationship Id="rId4"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xml"/><Relationship Id="rId1" Type="http://schemas.openxmlformats.org/officeDocument/2006/relationships/tags" Target="../tags/tag20.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4.xml"/><Relationship Id="rId1" Type="http://schemas.openxmlformats.org/officeDocument/2006/relationships/tags" Target="../tags/tag22.xml"/><Relationship Id="rId4" Type="http://schemas.microsoft.com/office/2007/relationships/hdphoto" Target="../media/hdphoto1.wdp"/></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4.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5.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7.xml"/><Relationship Id="rId1" Type="http://schemas.openxmlformats.org/officeDocument/2006/relationships/tags" Target="../tags/tag26.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9.xml"/><Relationship Id="rId1" Type="http://schemas.openxmlformats.org/officeDocument/2006/relationships/tags" Target="../tags/tag28.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0.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1.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2.xml"/></Relationships>
</file>

<file path=ppt/slideLayouts/_rels/slideLayout5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3.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5.xml"/><Relationship Id="rId1" Type="http://schemas.openxmlformats.org/officeDocument/2006/relationships/tags" Target="../tags/tag34.xml"/><Relationship Id="rId4" Type="http://schemas.openxmlformats.org/officeDocument/2006/relationships/image" Target="../media/image11.png"/></Relationships>
</file>

<file path=ppt/slideLayouts/_rels/slideLayout59.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38.xml"/><Relationship Id="rId7" Type="http://schemas.openxmlformats.org/officeDocument/2006/relationships/image" Target="../media/image13.jpe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2.png"/><Relationship Id="rId5" Type="http://schemas.openxmlformats.org/officeDocument/2006/relationships/slideMaster" Target="../slideMasters/slideMaster4.xml"/><Relationship Id="rId4" Type="http://schemas.openxmlformats.org/officeDocument/2006/relationships/tags" Target="../tags/tag3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0.xml"/></Relationships>
</file>

<file path=ppt/slideLayouts/_rels/slideLayout6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1.xml"/></Relationships>
</file>

<file path=ppt/slideLayouts/_rels/slideLayout6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2.xml"/></Relationships>
</file>

<file path=ppt/slideLayouts/_rels/slideLayout6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5.png"/><Relationship Id="rId4"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9.xml"/><Relationship Id="rId1" Type="http://schemas.openxmlformats.org/officeDocument/2006/relationships/tags" Target="../tags/tag48.xml"/><Relationship Id="rId4" Type="http://schemas.openxmlformats.org/officeDocument/2006/relationships/image" Target="../media/image6.jpeg"/></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7.jpeg"/><Relationship Id="rId4"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8.jpeg"/><Relationship Id="rId4"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9.jpeg"/><Relationship Id="rId4"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0.xml"/><Relationship Id="rId1" Type="http://schemas.openxmlformats.org/officeDocument/2006/relationships/tags" Target="../tags/tag59.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5.xml"/><Relationship Id="rId1" Type="http://schemas.openxmlformats.org/officeDocument/2006/relationships/tags" Target="../tags/tag61.xml"/><Relationship Id="rId4" Type="http://schemas.microsoft.com/office/2007/relationships/hdphoto" Target="../media/hdphoto1.wdp"/></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2.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3.xml"/></Relationships>
</file>

<file path=ppt/slideLayouts/_rels/slideLayout7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4.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6.xml"/><Relationship Id="rId1" Type="http://schemas.openxmlformats.org/officeDocument/2006/relationships/tags" Target="../tags/tag65.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8.xml"/><Relationship Id="rId1" Type="http://schemas.openxmlformats.org/officeDocument/2006/relationships/tags" Target="../tags/tag67.xml"/></Relationships>
</file>

<file path=ppt/slideLayouts/_rels/slideLayout7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9.xml"/></Relationships>
</file>

<file path=ppt/slideLayouts/_rels/slideLayout7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70.xml"/></Relationships>
</file>

<file path=ppt/slideLayouts/_rels/slideLayout7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7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72.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4.xml"/><Relationship Id="rId1" Type="http://schemas.openxmlformats.org/officeDocument/2006/relationships/tags" Target="../tags/tag73.xml"/><Relationship Id="rId4" Type="http://schemas.openxmlformats.org/officeDocument/2006/relationships/image" Target="../media/image11.png"/></Relationships>
</file>

<file path=ppt/slideLayouts/_rels/slideLayout82.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tags" Target="../tags/tag77.xml"/><Relationship Id="rId7" Type="http://schemas.openxmlformats.org/officeDocument/2006/relationships/image" Target="../media/image15.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14.png"/><Relationship Id="rId5" Type="http://schemas.openxmlformats.org/officeDocument/2006/relationships/slideMaster" Target="../slideMasters/slideMaster5.xml"/><Relationship Id="rId4" Type="http://schemas.openxmlformats.org/officeDocument/2006/relationships/tags" Target="../tags/tag78.xml"/><Relationship Id="rId9" Type="http://schemas.openxmlformats.org/officeDocument/2006/relationships/image" Target="../media/image16.png"/></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79.xml"/></Relationships>
</file>

<file path=ppt/slideLayouts/_rels/slideLayout8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80.xml"/></Relationships>
</file>

<file path=ppt/slideLayouts/_rels/slideLayout8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81.xml"/></Relationships>
</file>

<file path=ppt/slideLayouts/_rels/slideLayout8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8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5.xml"/><Relationship Id="rId1" Type="http://schemas.openxmlformats.org/officeDocument/2006/relationships/tags" Target="../tags/tag8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6.xml"/><Relationship Id="rId1" Type="http://schemas.openxmlformats.org/officeDocument/2006/relationships/tags" Target="../tags/tag85.xml"/><Relationship Id="rId4" Type="http://schemas.openxmlformats.org/officeDocument/2006/relationships/image" Target="../media/image17.jpe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F765975-A351-42C2-A247-B41DB5844E41}" type="datetimeFigureOut">
              <a:rPr lang="en-US" smtClean="0">
                <a:solidFill>
                  <a:prstClr val="black">
                    <a:tint val="75000"/>
                  </a:prstClr>
                </a:solidFill>
              </a:rPr>
              <a:pPr/>
              <a:t>2/28/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459889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F765975-A351-42C2-A247-B41DB5844E41}" type="datetimeFigureOut">
              <a:rPr lang="en-US" smtClean="0">
                <a:solidFill>
                  <a:prstClr val="black">
                    <a:tint val="75000"/>
                  </a:prstClr>
                </a:solidFill>
              </a:rPr>
              <a:pPr/>
              <a:t>2/28/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4072914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bl" preserve="1">
  <p:cSld name="Titel und Tabelle">
    <p:spTree>
      <p:nvGrpSpPr>
        <p:cNvPr id="1" name=""/>
        <p:cNvGrpSpPr/>
        <p:nvPr/>
      </p:nvGrpSpPr>
      <p:grpSpPr>
        <a:xfrm>
          <a:off x="0" y="0"/>
          <a:ext cx="0" cy="0"/>
          <a:chOff x="0" y="0"/>
          <a:chExt cx="0" cy="0"/>
        </a:xfrm>
      </p:grpSpPr>
      <p:sp>
        <p:nvSpPr>
          <p:cNvPr id="2" name="Titel 1"/>
          <p:cNvSpPr>
            <a:spLocks noGrp="1"/>
          </p:cNvSpPr>
          <p:nvPr>
            <p:ph type="title"/>
          </p:nvPr>
        </p:nvSpPr>
        <p:spPr>
          <a:xfrm>
            <a:off x="466725" y="307975"/>
            <a:ext cx="6208713" cy="941388"/>
          </a:xfrm>
        </p:spPr>
        <p:txBody>
          <a:bodyPr/>
          <a:lstStyle/>
          <a:p>
            <a:r>
              <a:rPr lang="de-DE"/>
              <a:t>Titelmasterformat durch Klicken bearbeiten</a:t>
            </a:r>
          </a:p>
        </p:txBody>
      </p:sp>
      <p:sp>
        <p:nvSpPr>
          <p:cNvPr id="3" name="Tabellenplatzhalter 2"/>
          <p:cNvSpPr>
            <a:spLocks noGrp="1"/>
          </p:cNvSpPr>
          <p:nvPr>
            <p:ph type="tbl" idx="1"/>
          </p:nvPr>
        </p:nvSpPr>
        <p:spPr>
          <a:xfrm>
            <a:off x="466725" y="1708150"/>
            <a:ext cx="8208963" cy="4462463"/>
          </a:xfrm>
        </p:spPr>
        <p:txBody>
          <a:bodyPr/>
          <a:lstStyle/>
          <a:p>
            <a:pPr lvl="0"/>
            <a:endParaRPr lang="de-DE" noProof="0"/>
          </a:p>
        </p:txBody>
      </p:sp>
      <p:sp>
        <p:nvSpPr>
          <p:cNvPr id="4" name="TW_Footer_3"/>
          <p:cNvSpPr>
            <a:spLocks noGrp="1" noChangeArrowheads="1"/>
          </p:cNvSpPr>
          <p:nvPr>
            <p:ph type="dt" sz="half" idx="10"/>
          </p:nvPr>
        </p:nvSpPr>
        <p:spPr>
          <a:ln/>
        </p:spPr>
        <p:txBody>
          <a:bodyPr/>
          <a:lstStyle>
            <a:lvl1pPr>
              <a:defRPr/>
            </a:lvl1pPr>
          </a:lstStyle>
          <a:p>
            <a:pPr>
              <a:defRPr/>
            </a:pPr>
            <a:fld id="{F0EB35AA-8980-44D7-88C3-3C7AC6E631D3}" type="datetime1">
              <a:rPr lang="de-DE" smtClean="0">
                <a:solidFill>
                  <a:srgbClr val="000000"/>
                </a:solidFill>
              </a:rPr>
              <a:pPr>
                <a:defRPr/>
              </a:pPr>
              <a:t>28.02.2019</a:t>
            </a:fld>
            <a:endParaRPr lang="de-DE">
              <a:solidFill>
                <a:srgbClr val="000000"/>
              </a:solidFill>
            </a:endParaRPr>
          </a:p>
        </p:txBody>
      </p:sp>
      <p:sp>
        <p:nvSpPr>
          <p:cNvPr id="5" name="Rectangle 19"/>
          <p:cNvSpPr>
            <a:spLocks noGrp="1" noChangeArrowheads="1"/>
          </p:cNvSpPr>
          <p:nvPr>
            <p:ph type="sldNum" sz="quarter" idx="11"/>
          </p:nvPr>
        </p:nvSpPr>
        <p:spPr>
          <a:ln/>
        </p:spPr>
        <p:txBody>
          <a:bodyPr/>
          <a:lstStyle>
            <a:lvl1pPr>
              <a:defRPr/>
            </a:lvl1pPr>
          </a:lstStyle>
          <a:p>
            <a:pPr>
              <a:defRPr/>
            </a:pPr>
            <a:fld id="{CBD4E21B-A920-41FA-9E30-2563BE7BEAF3}" type="slidenum">
              <a:rPr lang="de-DE">
                <a:solidFill>
                  <a:srgbClr val="000000"/>
                </a:solidFill>
              </a:rPr>
              <a:pPr>
                <a:defRPr/>
              </a:pPr>
              <a:t>‹#›</a:t>
            </a:fld>
            <a:endParaRPr lang="de-DE">
              <a:solidFill>
                <a:srgbClr val="000000"/>
              </a:solidFill>
            </a:endParaRPr>
          </a:p>
        </p:txBody>
      </p:sp>
      <p:sp>
        <p:nvSpPr>
          <p:cNvPr id="6" name="TW_Footer_1"/>
          <p:cNvSpPr>
            <a:spLocks noGrp="1" noChangeArrowheads="1"/>
          </p:cNvSpPr>
          <p:nvPr>
            <p:ph type="ftr" sz="quarter" idx="12"/>
          </p:nvPr>
        </p:nvSpPr>
        <p:spPr>
          <a:ln/>
        </p:spPr>
        <p:txBody>
          <a:bodyPr/>
          <a:lstStyle>
            <a:lvl1pPr>
              <a:defRPr/>
            </a:lvl1pPr>
          </a:lstStyle>
          <a:p>
            <a:pPr>
              <a:defRPr/>
            </a:pPr>
            <a:r>
              <a:rPr lang="de-DE">
                <a:solidFill>
                  <a:srgbClr val="000000"/>
                </a:solidFill>
              </a:rPr>
              <a:t>Carl Zeiss Microscopy</a:t>
            </a:r>
          </a:p>
        </p:txBody>
      </p:sp>
    </p:spTree>
    <p:extLst>
      <p:ext uri="{BB962C8B-B14F-4D97-AF65-F5344CB8AC3E}">
        <p14:creationId xmlns:p14="http://schemas.microsoft.com/office/powerpoint/2010/main" val="271114333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type="txAndObj" preserve="1">
  <p:cSld name="Titel, Tex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66725" y="307975"/>
            <a:ext cx="6208713" cy="941388"/>
          </a:xfrm>
        </p:spPr>
        <p:txBody>
          <a:bodyPr/>
          <a:lstStyle/>
          <a:p>
            <a:r>
              <a:rPr lang="de-DE"/>
              <a:t>Titelmasterformat durch Klicken bearbeiten</a:t>
            </a:r>
          </a:p>
        </p:txBody>
      </p:sp>
      <p:sp>
        <p:nvSpPr>
          <p:cNvPr id="3" name="Textplatzhalter 2"/>
          <p:cNvSpPr>
            <a:spLocks noGrp="1"/>
          </p:cNvSpPr>
          <p:nvPr>
            <p:ph type="body" sz="half" idx="1"/>
          </p:nvPr>
        </p:nvSpPr>
        <p:spPr>
          <a:xfrm>
            <a:off x="466725" y="1708150"/>
            <a:ext cx="4027488" cy="446246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4646613" y="1708150"/>
            <a:ext cx="4029075" cy="446246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W_Footer_3"/>
          <p:cNvSpPr>
            <a:spLocks noGrp="1" noChangeArrowheads="1"/>
          </p:cNvSpPr>
          <p:nvPr>
            <p:ph type="dt" sz="half" idx="10"/>
          </p:nvPr>
        </p:nvSpPr>
        <p:spPr>
          <a:ln/>
        </p:spPr>
        <p:txBody>
          <a:bodyPr/>
          <a:lstStyle>
            <a:lvl1pPr>
              <a:defRPr/>
            </a:lvl1pPr>
          </a:lstStyle>
          <a:p>
            <a:pPr>
              <a:defRPr/>
            </a:pPr>
            <a:fld id="{3752AF60-A54B-48C2-89CF-E9DC5CB111AE}" type="datetime1">
              <a:rPr lang="de-DE" smtClean="0">
                <a:solidFill>
                  <a:srgbClr val="000000"/>
                </a:solidFill>
              </a:rPr>
              <a:pPr>
                <a:defRPr/>
              </a:pPr>
              <a:t>28.02.2019</a:t>
            </a:fld>
            <a:endParaRPr lang="de-DE">
              <a:solidFill>
                <a:srgbClr val="000000"/>
              </a:solidFill>
            </a:endParaRPr>
          </a:p>
        </p:txBody>
      </p:sp>
      <p:sp>
        <p:nvSpPr>
          <p:cNvPr id="6" name="Rectangle 19"/>
          <p:cNvSpPr>
            <a:spLocks noGrp="1" noChangeArrowheads="1"/>
          </p:cNvSpPr>
          <p:nvPr>
            <p:ph type="sldNum" sz="quarter" idx="11"/>
          </p:nvPr>
        </p:nvSpPr>
        <p:spPr>
          <a:ln/>
        </p:spPr>
        <p:txBody>
          <a:bodyPr/>
          <a:lstStyle>
            <a:lvl1pPr>
              <a:defRPr/>
            </a:lvl1pPr>
          </a:lstStyle>
          <a:p>
            <a:pPr>
              <a:defRPr/>
            </a:pPr>
            <a:fld id="{077069B4-D82C-4EBA-A479-2DA8B2A9983E}" type="slidenum">
              <a:rPr lang="de-DE">
                <a:solidFill>
                  <a:srgbClr val="000000"/>
                </a:solidFill>
              </a:rPr>
              <a:pPr>
                <a:defRPr/>
              </a:pPr>
              <a:t>‹#›</a:t>
            </a:fld>
            <a:endParaRPr lang="de-DE">
              <a:solidFill>
                <a:srgbClr val="000000"/>
              </a:solidFill>
            </a:endParaRPr>
          </a:p>
        </p:txBody>
      </p:sp>
      <p:sp>
        <p:nvSpPr>
          <p:cNvPr id="7" name="TW_Footer_1"/>
          <p:cNvSpPr>
            <a:spLocks noGrp="1" noChangeArrowheads="1"/>
          </p:cNvSpPr>
          <p:nvPr>
            <p:ph type="ftr" sz="quarter" idx="12"/>
          </p:nvPr>
        </p:nvSpPr>
        <p:spPr>
          <a:ln/>
        </p:spPr>
        <p:txBody>
          <a:bodyPr/>
          <a:lstStyle>
            <a:lvl1pPr>
              <a:defRPr/>
            </a:lvl1pPr>
          </a:lstStyle>
          <a:p>
            <a:pPr>
              <a:defRPr/>
            </a:pPr>
            <a:r>
              <a:rPr lang="de-DE">
                <a:solidFill>
                  <a:srgbClr val="000000"/>
                </a:solidFill>
              </a:rPr>
              <a:t>Carl Zeiss Microscopy</a:t>
            </a:r>
          </a:p>
        </p:txBody>
      </p:sp>
    </p:spTree>
    <p:extLst>
      <p:ext uri="{BB962C8B-B14F-4D97-AF65-F5344CB8AC3E}">
        <p14:creationId xmlns:p14="http://schemas.microsoft.com/office/powerpoint/2010/main" val="342150186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695325" y="554038"/>
            <a:ext cx="6208713" cy="685800"/>
          </a:xfrm>
        </p:spPr>
        <p:txBody>
          <a:bodyPr/>
          <a:lstStyle/>
          <a:p>
            <a:r>
              <a:rPr lang="en-US"/>
              <a:t>Click to edit Master title style</a:t>
            </a:r>
            <a:endParaRPr lang="en-GB"/>
          </a:p>
        </p:txBody>
      </p:sp>
      <p:sp>
        <p:nvSpPr>
          <p:cNvPr id="3" name="Chart Placeholder 2"/>
          <p:cNvSpPr>
            <a:spLocks noGrp="1"/>
          </p:cNvSpPr>
          <p:nvPr>
            <p:ph type="chart" idx="1"/>
          </p:nvPr>
        </p:nvSpPr>
        <p:spPr>
          <a:xfrm>
            <a:off x="695325" y="1708150"/>
            <a:ext cx="7762875" cy="4462463"/>
          </a:xfrm>
        </p:spPr>
        <p:txBody>
          <a:bodyPr/>
          <a:lstStyle/>
          <a:p>
            <a:pPr lvl="0"/>
            <a:endParaRPr lang="en-GB" noProof="0"/>
          </a:p>
        </p:txBody>
      </p:sp>
      <p:sp>
        <p:nvSpPr>
          <p:cNvPr id="4" name="Rectangle 17"/>
          <p:cNvSpPr>
            <a:spLocks noGrp="1" noChangeArrowheads="1"/>
          </p:cNvSpPr>
          <p:nvPr>
            <p:ph type="dt" sz="half" idx="10"/>
          </p:nvPr>
        </p:nvSpPr>
        <p:spPr>
          <a:xfrm>
            <a:off x="6448425" y="6643689"/>
            <a:ext cx="1117600" cy="160337"/>
          </a:xfrm>
          <a:prstGeom prst="rect">
            <a:avLst/>
          </a:prstGeom>
          <a:ln/>
        </p:spPr>
        <p:txBody>
          <a:bodyPr/>
          <a:lstStyle>
            <a:lvl1pPr>
              <a:defRPr/>
            </a:lvl1pPr>
          </a:lstStyle>
          <a:p>
            <a:pPr>
              <a:defRPr/>
            </a:pPr>
            <a:fld id="{40FAD4CD-59FC-4A22-9B99-9AA75BD73984}" type="datetime1">
              <a:rPr lang="de-DE" smtClean="0">
                <a:solidFill>
                  <a:srgbClr val="000000"/>
                </a:solidFill>
              </a:rPr>
              <a:pPr>
                <a:defRPr/>
              </a:pPr>
              <a:t>28.02.2019</a:t>
            </a:fld>
            <a:endParaRPr lang="de-DE">
              <a:solidFill>
                <a:srgbClr val="000000"/>
              </a:solidFill>
            </a:endParaRPr>
          </a:p>
        </p:txBody>
      </p:sp>
      <p:sp>
        <p:nvSpPr>
          <p:cNvPr id="5" name="Rectangle 19"/>
          <p:cNvSpPr>
            <a:spLocks noGrp="1" noChangeArrowheads="1"/>
          </p:cNvSpPr>
          <p:nvPr>
            <p:ph type="sldNum" sz="quarter" idx="11"/>
          </p:nvPr>
        </p:nvSpPr>
        <p:spPr>
          <a:xfrm>
            <a:off x="8170863" y="6503988"/>
            <a:ext cx="277812" cy="161925"/>
          </a:xfrm>
          <a:prstGeom prst="rect">
            <a:avLst/>
          </a:prstGeom>
          <a:ln/>
        </p:spPr>
        <p:txBody>
          <a:bodyPr/>
          <a:lstStyle>
            <a:lvl1pPr>
              <a:defRPr/>
            </a:lvl1pPr>
          </a:lstStyle>
          <a:p>
            <a:pPr>
              <a:defRPr/>
            </a:pPr>
            <a:fld id="{AB8A03F0-B760-44DD-9C50-EAAFA000A8C6}" type="slidenum">
              <a:rPr lang="de-DE">
                <a:solidFill>
                  <a:srgbClr val="000000"/>
                </a:solidFill>
              </a:rPr>
              <a:pPr>
                <a:defRPr/>
              </a:pPr>
              <a:t>‹#›</a:t>
            </a:fld>
            <a:endParaRPr lang="de-DE">
              <a:solidFill>
                <a:srgbClr val="000000"/>
              </a:solidFill>
            </a:endParaRPr>
          </a:p>
        </p:txBody>
      </p:sp>
      <p:sp>
        <p:nvSpPr>
          <p:cNvPr id="6" name="Rectangle 23"/>
          <p:cNvSpPr>
            <a:spLocks noGrp="1" noChangeArrowheads="1"/>
          </p:cNvSpPr>
          <p:nvPr>
            <p:ph type="ftr" sz="quarter" idx="12"/>
          </p:nvPr>
        </p:nvSpPr>
        <p:spPr>
          <a:xfrm>
            <a:off x="466725" y="6643688"/>
            <a:ext cx="5702300" cy="161925"/>
          </a:xfrm>
          <a:prstGeom prst="rect">
            <a:avLst/>
          </a:prstGeom>
          <a:ln/>
        </p:spPr>
        <p:txBody>
          <a:bodyPr/>
          <a:lstStyle>
            <a:lvl1pPr>
              <a:defRPr/>
            </a:lvl1pPr>
          </a:lstStyle>
          <a:p>
            <a:pPr>
              <a:defRPr/>
            </a:pPr>
            <a:r>
              <a:rPr lang="de-DE">
                <a:solidFill>
                  <a:srgbClr val="000000"/>
                </a:solidFill>
              </a:rPr>
              <a:t>Carl Zeiss Microscopy</a:t>
            </a:r>
          </a:p>
        </p:txBody>
      </p:sp>
    </p:spTree>
    <p:extLst>
      <p:ext uri="{BB962C8B-B14F-4D97-AF65-F5344CB8AC3E}">
        <p14:creationId xmlns:p14="http://schemas.microsoft.com/office/powerpoint/2010/main" val="337886509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F765975-A351-42C2-A247-B41DB5844E41}" type="datetimeFigureOut">
              <a:rPr lang="en-US" smtClean="0">
                <a:solidFill>
                  <a:prstClr val="black">
                    <a:tint val="75000"/>
                  </a:prstClr>
                </a:solidFill>
              </a:rPr>
              <a:pPr/>
              <a:t>2/28/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005765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F765975-A351-42C2-A247-B41DB5844E41}" type="datetimeFigureOut">
              <a:rPr lang="en-US" smtClean="0">
                <a:solidFill>
                  <a:prstClr val="black">
                    <a:tint val="75000"/>
                  </a:prstClr>
                </a:solidFill>
              </a:rPr>
              <a:pPr/>
              <a:t>2/28/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1910429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F765975-A351-42C2-A247-B41DB5844E41}" type="datetimeFigureOut">
              <a:rPr lang="en-US" smtClean="0">
                <a:solidFill>
                  <a:prstClr val="black">
                    <a:tint val="75000"/>
                  </a:prstClr>
                </a:solidFill>
              </a:rPr>
              <a:pPr/>
              <a:t>2/28/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4010376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F765975-A351-42C2-A247-B41DB5844E41}" type="datetimeFigureOut">
              <a:rPr lang="en-US" smtClean="0">
                <a:solidFill>
                  <a:prstClr val="black">
                    <a:tint val="75000"/>
                  </a:prstClr>
                </a:solidFill>
              </a:rPr>
              <a:pPr/>
              <a:t>2/28/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0079802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F765975-A351-42C2-A247-B41DB5844E41}" type="datetimeFigureOut">
              <a:rPr lang="en-US" smtClean="0">
                <a:solidFill>
                  <a:prstClr val="black">
                    <a:tint val="75000"/>
                  </a:prstClr>
                </a:solidFill>
              </a:rPr>
              <a:pPr/>
              <a:t>2/28/2019</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8536088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F765975-A351-42C2-A247-B41DB5844E41}" type="datetimeFigureOut">
              <a:rPr lang="en-US" smtClean="0">
                <a:solidFill>
                  <a:prstClr val="black">
                    <a:tint val="75000"/>
                  </a:prstClr>
                </a:solidFill>
              </a:rPr>
              <a:pPr/>
              <a:t>2/28/2019</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7853054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F765975-A351-42C2-A247-B41DB5844E41}" type="datetimeFigureOut">
              <a:rPr lang="en-US" smtClean="0">
                <a:solidFill>
                  <a:prstClr val="black">
                    <a:tint val="75000"/>
                  </a:prstClr>
                </a:solidFill>
              </a:rPr>
              <a:pPr/>
              <a:t>2/28/2019</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763894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F765975-A351-42C2-A247-B41DB5844E41}" type="datetimeFigureOut">
              <a:rPr lang="en-US" smtClean="0">
                <a:solidFill>
                  <a:prstClr val="black">
                    <a:tint val="75000"/>
                  </a:prstClr>
                </a:solidFill>
              </a:rPr>
              <a:pPr/>
              <a:t>2/28/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9791173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F765975-A351-42C2-A247-B41DB5844E41}" type="datetimeFigureOut">
              <a:rPr lang="en-US" smtClean="0">
                <a:solidFill>
                  <a:prstClr val="black">
                    <a:tint val="75000"/>
                  </a:prstClr>
                </a:solidFill>
              </a:rPr>
              <a:pPr/>
              <a:t>2/28/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9651285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F765975-A351-42C2-A247-B41DB5844E41}" type="datetimeFigureOut">
              <a:rPr lang="en-US" smtClean="0">
                <a:solidFill>
                  <a:prstClr val="black">
                    <a:tint val="75000"/>
                  </a:prstClr>
                </a:solidFill>
              </a:rPr>
              <a:pPr/>
              <a:t>2/28/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6954551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F765975-A351-42C2-A247-B41DB5844E41}" type="datetimeFigureOut">
              <a:rPr lang="en-US" smtClean="0">
                <a:solidFill>
                  <a:prstClr val="black">
                    <a:tint val="75000"/>
                  </a:prstClr>
                </a:solidFill>
              </a:rPr>
              <a:pPr/>
              <a:t>2/28/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8938808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F765975-A351-42C2-A247-B41DB5844E41}" type="datetimeFigureOut">
              <a:rPr lang="en-US" smtClean="0">
                <a:solidFill>
                  <a:prstClr val="black">
                    <a:tint val="75000"/>
                  </a:prstClr>
                </a:solidFill>
              </a:rPr>
              <a:pPr/>
              <a:t>2/28/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470370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711200" y="838200"/>
            <a:ext cx="7721600" cy="1143000"/>
          </a:xfrm>
        </p:spPr>
        <p:txBody>
          <a:bodyPr/>
          <a:lstStyle/>
          <a:p>
            <a:r>
              <a:rPr lang="en-US"/>
              <a:t>Click to edit Master title style</a:t>
            </a:r>
          </a:p>
        </p:txBody>
      </p:sp>
      <p:sp>
        <p:nvSpPr>
          <p:cNvPr id="3" name="Content Placeholder 2"/>
          <p:cNvSpPr>
            <a:spLocks noGrp="1"/>
          </p:cNvSpPr>
          <p:nvPr>
            <p:ph sz="half" idx="1"/>
          </p:nvPr>
        </p:nvSpPr>
        <p:spPr>
          <a:xfrm>
            <a:off x="677333" y="1828800"/>
            <a:ext cx="3793067"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605867" y="1828800"/>
            <a:ext cx="3793067"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06180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3251215" name="Freeform 15"/>
          <p:cNvSpPr>
            <a:spLocks noEditPoints="1"/>
          </p:cNvSpPr>
          <p:nvPr>
            <p:custDataLst>
              <p:tags r:id="rId1"/>
            </p:custDataLst>
          </p:nvPr>
        </p:nvSpPr>
        <p:spPr bwMode="auto">
          <a:xfrm>
            <a:off x="8216900" y="379414"/>
            <a:ext cx="463550" cy="488951"/>
          </a:xfrm>
          <a:custGeom>
            <a:avLst/>
            <a:gdLst>
              <a:gd name="T0" fmla="*/ 743 w 4092"/>
              <a:gd name="T1" fmla="*/ 3836 h 4104"/>
              <a:gd name="T2" fmla="*/ 1652 w 4092"/>
              <a:gd name="T3" fmla="*/ 3680 h 4104"/>
              <a:gd name="T4" fmla="*/ 2573 w 4092"/>
              <a:gd name="T5" fmla="*/ 3692 h 4104"/>
              <a:gd name="T6" fmla="*/ 3476 w 4092"/>
              <a:gd name="T7" fmla="*/ 3873 h 4104"/>
              <a:gd name="T8" fmla="*/ 0 w 4092"/>
              <a:gd name="T9" fmla="*/ 0 h 4104"/>
              <a:gd name="T10" fmla="*/ 3802 w 4092"/>
              <a:gd name="T11" fmla="*/ 1443 h 4104"/>
              <a:gd name="T12" fmla="*/ 3712 w 4092"/>
              <a:gd name="T13" fmla="*/ 1281 h 4104"/>
              <a:gd name="T14" fmla="*/ 3509 w 4092"/>
              <a:gd name="T15" fmla="*/ 1254 h 4104"/>
              <a:gd name="T16" fmla="*/ 3662 w 4092"/>
              <a:gd name="T17" fmla="*/ 1523 h 4104"/>
              <a:gd name="T18" fmla="*/ 3865 w 4092"/>
              <a:gd name="T19" fmla="*/ 1799 h 4104"/>
              <a:gd name="T20" fmla="*/ 3900 w 4092"/>
              <a:gd name="T21" fmla="*/ 2004 h 4104"/>
              <a:gd name="T22" fmla="*/ 3313 w 4092"/>
              <a:gd name="T23" fmla="*/ 1825 h 4104"/>
              <a:gd name="T24" fmla="*/ 3412 w 4092"/>
              <a:gd name="T25" fmla="*/ 1939 h 4104"/>
              <a:gd name="T26" fmla="*/ 3572 w 4092"/>
              <a:gd name="T27" fmla="*/ 1876 h 4104"/>
              <a:gd name="T28" fmla="*/ 3353 w 4092"/>
              <a:gd name="T29" fmla="*/ 1570 h 4104"/>
              <a:gd name="T30" fmla="*/ 3203 w 4092"/>
              <a:gd name="T31" fmla="*/ 1305 h 4104"/>
              <a:gd name="T32" fmla="*/ 2422 w 4092"/>
              <a:gd name="T33" fmla="*/ 1158 h 4104"/>
              <a:gd name="T34" fmla="*/ 2958 w 4092"/>
              <a:gd name="T35" fmla="*/ 1319 h 4104"/>
              <a:gd name="T36" fmla="*/ 2839 w 4092"/>
              <a:gd name="T37" fmla="*/ 1250 h 4104"/>
              <a:gd name="T38" fmla="*/ 2783 w 4092"/>
              <a:gd name="T39" fmla="*/ 1403 h 4104"/>
              <a:gd name="T40" fmla="*/ 2986 w 4092"/>
              <a:gd name="T41" fmla="*/ 1654 h 4104"/>
              <a:gd name="T42" fmla="*/ 3113 w 4092"/>
              <a:gd name="T43" fmla="*/ 1932 h 4104"/>
              <a:gd name="T44" fmla="*/ 2408 w 4092"/>
              <a:gd name="T45" fmla="*/ 1754 h 4104"/>
              <a:gd name="T46" fmla="*/ 2577 w 4092"/>
              <a:gd name="T47" fmla="*/ 1912 h 4104"/>
              <a:gd name="T48" fmla="*/ 2802 w 4092"/>
              <a:gd name="T49" fmla="*/ 1948 h 4104"/>
              <a:gd name="T50" fmla="*/ 2677 w 4092"/>
              <a:gd name="T51" fmla="*/ 1714 h 4104"/>
              <a:gd name="T52" fmla="*/ 2446 w 4092"/>
              <a:gd name="T53" fmla="*/ 1400 h 4104"/>
              <a:gd name="T54" fmla="*/ 1842 w 4092"/>
              <a:gd name="T55" fmla="*/ 1948 h 4104"/>
              <a:gd name="T56" fmla="*/ 1927 w 4092"/>
              <a:gd name="T57" fmla="*/ 1911 h 4104"/>
              <a:gd name="T58" fmla="*/ 1913 w 4092"/>
              <a:gd name="T59" fmla="*/ 1271 h 4104"/>
              <a:gd name="T60" fmla="*/ 2306 w 4092"/>
              <a:gd name="T61" fmla="*/ 1158 h 4104"/>
              <a:gd name="T62" fmla="*/ 2224 w 4092"/>
              <a:gd name="T63" fmla="*/ 1287 h 4104"/>
              <a:gd name="T64" fmla="*/ 2224 w 4092"/>
              <a:gd name="T65" fmla="*/ 1912 h 4104"/>
              <a:gd name="T66" fmla="*/ 2306 w 4092"/>
              <a:gd name="T67" fmla="*/ 2039 h 4104"/>
              <a:gd name="T68" fmla="*/ 1057 w 4092"/>
              <a:gd name="T69" fmla="*/ 1935 h 4104"/>
              <a:gd name="T70" fmla="*/ 1085 w 4092"/>
              <a:gd name="T71" fmla="*/ 1299 h 4104"/>
              <a:gd name="T72" fmla="*/ 1026 w 4092"/>
              <a:gd name="T73" fmla="*/ 1250 h 4104"/>
              <a:gd name="T74" fmla="*/ 1620 w 4092"/>
              <a:gd name="T75" fmla="*/ 1356 h 4104"/>
              <a:gd name="T76" fmla="*/ 1530 w 4092"/>
              <a:gd name="T77" fmla="*/ 1259 h 4104"/>
              <a:gd name="T78" fmla="*/ 1432 w 4092"/>
              <a:gd name="T79" fmla="*/ 1548 h 4104"/>
              <a:gd name="T80" fmla="*/ 1477 w 4092"/>
              <a:gd name="T81" fmla="*/ 1445 h 4104"/>
              <a:gd name="T82" fmla="*/ 1465 w 4092"/>
              <a:gd name="T83" fmla="*/ 1681 h 4104"/>
              <a:gd name="T84" fmla="*/ 1369 w 4092"/>
              <a:gd name="T85" fmla="*/ 1948 h 4104"/>
              <a:gd name="T86" fmla="*/ 1589 w 4092"/>
              <a:gd name="T87" fmla="*/ 1894 h 4104"/>
              <a:gd name="T88" fmla="*/ 1648 w 4092"/>
              <a:gd name="T89" fmla="*/ 1754 h 4104"/>
              <a:gd name="T90" fmla="*/ 180 w 4092"/>
              <a:gd name="T91" fmla="*/ 1948 h 4104"/>
              <a:gd name="T92" fmla="*/ 309 w 4092"/>
              <a:gd name="T93" fmla="*/ 1667 h 4104"/>
              <a:gd name="T94" fmla="*/ 538 w 4092"/>
              <a:gd name="T95" fmla="*/ 1368 h 4104"/>
              <a:gd name="T96" fmla="*/ 443 w 4092"/>
              <a:gd name="T97" fmla="*/ 1255 h 4104"/>
              <a:gd name="T98" fmla="*/ 315 w 4092"/>
              <a:gd name="T99" fmla="*/ 1374 h 4104"/>
              <a:gd name="T100" fmla="*/ 912 w 4092"/>
              <a:gd name="T101" fmla="*/ 1195 h 4104"/>
              <a:gd name="T102" fmla="*/ 784 w 4092"/>
              <a:gd name="T103" fmla="*/ 1516 h 4104"/>
              <a:gd name="T104" fmla="*/ 551 w 4092"/>
              <a:gd name="T105" fmla="*/ 1825 h 4104"/>
              <a:gd name="T106" fmla="*/ 707 w 4092"/>
              <a:gd name="T107" fmla="*/ 1925 h 4104"/>
              <a:gd name="T108" fmla="*/ 786 w 4092"/>
              <a:gd name="T109" fmla="*/ 1827 h 4104"/>
              <a:gd name="T110" fmla="*/ 173 w 4092"/>
              <a:gd name="T111" fmla="*/ 1998 h 4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92" h="4104">
                <a:moveTo>
                  <a:pt x="0" y="4104"/>
                </a:moveTo>
                <a:lnTo>
                  <a:pt x="121" y="4051"/>
                </a:lnTo>
                <a:lnTo>
                  <a:pt x="243" y="4001"/>
                </a:lnTo>
                <a:lnTo>
                  <a:pt x="366" y="3955"/>
                </a:lnTo>
                <a:lnTo>
                  <a:pt x="491" y="3912"/>
                </a:lnTo>
                <a:lnTo>
                  <a:pt x="617" y="3873"/>
                </a:lnTo>
                <a:lnTo>
                  <a:pt x="743" y="3836"/>
                </a:lnTo>
                <a:lnTo>
                  <a:pt x="871" y="3804"/>
                </a:lnTo>
                <a:lnTo>
                  <a:pt x="1000" y="3775"/>
                </a:lnTo>
                <a:lnTo>
                  <a:pt x="1129" y="3749"/>
                </a:lnTo>
                <a:lnTo>
                  <a:pt x="1259" y="3727"/>
                </a:lnTo>
                <a:lnTo>
                  <a:pt x="1389" y="3707"/>
                </a:lnTo>
                <a:lnTo>
                  <a:pt x="1521" y="3692"/>
                </a:lnTo>
                <a:lnTo>
                  <a:pt x="1652" y="3680"/>
                </a:lnTo>
                <a:lnTo>
                  <a:pt x="1783" y="3671"/>
                </a:lnTo>
                <a:lnTo>
                  <a:pt x="1915" y="3666"/>
                </a:lnTo>
                <a:lnTo>
                  <a:pt x="2047" y="3664"/>
                </a:lnTo>
                <a:lnTo>
                  <a:pt x="2178" y="3666"/>
                </a:lnTo>
                <a:lnTo>
                  <a:pt x="2311" y="3671"/>
                </a:lnTo>
                <a:lnTo>
                  <a:pt x="2442" y="3680"/>
                </a:lnTo>
                <a:lnTo>
                  <a:pt x="2573" y="3692"/>
                </a:lnTo>
                <a:lnTo>
                  <a:pt x="2704" y="3707"/>
                </a:lnTo>
                <a:lnTo>
                  <a:pt x="2835" y="3727"/>
                </a:lnTo>
                <a:lnTo>
                  <a:pt x="2964" y="3749"/>
                </a:lnTo>
                <a:lnTo>
                  <a:pt x="3093" y="3775"/>
                </a:lnTo>
                <a:lnTo>
                  <a:pt x="3222" y="3804"/>
                </a:lnTo>
                <a:lnTo>
                  <a:pt x="3350" y="3836"/>
                </a:lnTo>
                <a:lnTo>
                  <a:pt x="3476" y="3873"/>
                </a:lnTo>
                <a:lnTo>
                  <a:pt x="3602" y="3912"/>
                </a:lnTo>
                <a:lnTo>
                  <a:pt x="3726" y="3955"/>
                </a:lnTo>
                <a:lnTo>
                  <a:pt x="3850" y="4001"/>
                </a:lnTo>
                <a:lnTo>
                  <a:pt x="3972" y="4051"/>
                </a:lnTo>
                <a:lnTo>
                  <a:pt x="4092" y="4104"/>
                </a:lnTo>
                <a:lnTo>
                  <a:pt x="4092" y="0"/>
                </a:lnTo>
                <a:lnTo>
                  <a:pt x="0" y="0"/>
                </a:lnTo>
                <a:lnTo>
                  <a:pt x="0" y="4104"/>
                </a:lnTo>
                <a:close/>
                <a:moveTo>
                  <a:pt x="3198" y="1210"/>
                </a:moveTo>
                <a:lnTo>
                  <a:pt x="3205" y="1184"/>
                </a:lnTo>
                <a:lnTo>
                  <a:pt x="3214" y="1158"/>
                </a:lnTo>
                <a:lnTo>
                  <a:pt x="3891" y="1158"/>
                </a:lnTo>
                <a:lnTo>
                  <a:pt x="3891" y="1443"/>
                </a:lnTo>
                <a:lnTo>
                  <a:pt x="3802" y="1443"/>
                </a:lnTo>
                <a:lnTo>
                  <a:pt x="3788" y="1394"/>
                </a:lnTo>
                <a:lnTo>
                  <a:pt x="3770" y="1352"/>
                </a:lnTo>
                <a:lnTo>
                  <a:pt x="3761" y="1334"/>
                </a:lnTo>
                <a:lnTo>
                  <a:pt x="3749" y="1319"/>
                </a:lnTo>
                <a:lnTo>
                  <a:pt x="3738" y="1304"/>
                </a:lnTo>
                <a:lnTo>
                  <a:pt x="3725" y="1292"/>
                </a:lnTo>
                <a:lnTo>
                  <a:pt x="3712" y="1281"/>
                </a:lnTo>
                <a:lnTo>
                  <a:pt x="3698" y="1272"/>
                </a:lnTo>
                <a:lnTo>
                  <a:pt x="3682" y="1264"/>
                </a:lnTo>
                <a:lnTo>
                  <a:pt x="3667" y="1258"/>
                </a:lnTo>
                <a:lnTo>
                  <a:pt x="3631" y="1250"/>
                </a:lnTo>
                <a:lnTo>
                  <a:pt x="3592" y="1248"/>
                </a:lnTo>
                <a:lnTo>
                  <a:pt x="3509" y="1248"/>
                </a:lnTo>
                <a:lnTo>
                  <a:pt x="3509" y="1254"/>
                </a:lnTo>
                <a:lnTo>
                  <a:pt x="3517" y="1281"/>
                </a:lnTo>
                <a:lnTo>
                  <a:pt x="3528" y="1311"/>
                </a:lnTo>
                <a:lnTo>
                  <a:pt x="3548" y="1353"/>
                </a:lnTo>
                <a:lnTo>
                  <a:pt x="3575" y="1403"/>
                </a:lnTo>
                <a:lnTo>
                  <a:pt x="3613" y="1459"/>
                </a:lnTo>
                <a:lnTo>
                  <a:pt x="3635" y="1491"/>
                </a:lnTo>
                <a:lnTo>
                  <a:pt x="3662" y="1523"/>
                </a:lnTo>
                <a:lnTo>
                  <a:pt x="3691" y="1556"/>
                </a:lnTo>
                <a:lnTo>
                  <a:pt x="3724" y="1590"/>
                </a:lnTo>
                <a:lnTo>
                  <a:pt x="3749" y="1618"/>
                </a:lnTo>
                <a:lnTo>
                  <a:pt x="3778" y="1654"/>
                </a:lnTo>
                <a:lnTo>
                  <a:pt x="3808" y="1698"/>
                </a:lnTo>
                <a:lnTo>
                  <a:pt x="3838" y="1747"/>
                </a:lnTo>
                <a:lnTo>
                  <a:pt x="3865" y="1799"/>
                </a:lnTo>
                <a:lnTo>
                  <a:pt x="3887" y="1852"/>
                </a:lnTo>
                <a:lnTo>
                  <a:pt x="3895" y="1879"/>
                </a:lnTo>
                <a:lnTo>
                  <a:pt x="3901" y="1906"/>
                </a:lnTo>
                <a:lnTo>
                  <a:pt x="3904" y="1932"/>
                </a:lnTo>
                <a:lnTo>
                  <a:pt x="3906" y="1957"/>
                </a:lnTo>
                <a:lnTo>
                  <a:pt x="3905" y="1983"/>
                </a:lnTo>
                <a:lnTo>
                  <a:pt x="3900" y="2004"/>
                </a:lnTo>
                <a:lnTo>
                  <a:pt x="3893" y="2022"/>
                </a:lnTo>
                <a:lnTo>
                  <a:pt x="3883" y="2039"/>
                </a:lnTo>
                <a:lnTo>
                  <a:pt x="3199" y="2039"/>
                </a:lnTo>
                <a:lnTo>
                  <a:pt x="3199" y="1754"/>
                </a:lnTo>
                <a:lnTo>
                  <a:pt x="3293" y="1754"/>
                </a:lnTo>
                <a:lnTo>
                  <a:pt x="3302" y="1791"/>
                </a:lnTo>
                <a:lnTo>
                  <a:pt x="3313" y="1825"/>
                </a:lnTo>
                <a:lnTo>
                  <a:pt x="3328" y="1858"/>
                </a:lnTo>
                <a:lnTo>
                  <a:pt x="3346" y="1887"/>
                </a:lnTo>
                <a:lnTo>
                  <a:pt x="3356" y="1900"/>
                </a:lnTo>
                <a:lnTo>
                  <a:pt x="3369" y="1912"/>
                </a:lnTo>
                <a:lnTo>
                  <a:pt x="3381" y="1922"/>
                </a:lnTo>
                <a:lnTo>
                  <a:pt x="3396" y="1932"/>
                </a:lnTo>
                <a:lnTo>
                  <a:pt x="3412" y="1939"/>
                </a:lnTo>
                <a:lnTo>
                  <a:pt x="3430" y="1944"/>
                </a:lnTo>
                <a:lnTo>
                  <a:pt x="3450" y="1947"/>
                </a:lnTo>
                <a:lnTo>
                  <a:pt x="3472" y="1948"/>
                </a:lnTo>
                <a:lnTo>
                  <a:pt x="3594" y="1948"/>
                </a:lnTo>
                <a:lnTo>
                  <a:pt x="3594" y="1941"/>
                </a:lnTo>
                <a:lnTo>
                  <a:pt x="3586" y="1918"/>
                </a:lnTo>
                <a:lnTo>
                  <a:pt x="3572" y="1876"/>
                </a:lnTo>
                <a:lnTo>
                  <a:pt x="3554" y="1841"/>
                </a:lnTo>
                <a:lnTo>
                  <a:pt x="3529" y="1800"/>
                </a:lnTo>
                <a:lnTo>
                  <a:pt x="3499" y="1758"/>
                </a:lnTo>
                <a:lnTo>
                  <a:pt x="3469" y="1714"/>
                </a:lnTo>
                <a:lnTo>
                  <a:pt x="3412" y="1641"/>
                </a:lnTo>
                <a:lnTo>
                  <a:pt x="3383" y="1603"/>
                </a:lnTo>
                <a:lnTo>
                  <a:pt x="3353" y="1570"/>
                </a:lnTo>
                <a:lnTo>
                  <a:pt x="3324" y="1533"/>
                </a:lnTo>
                <a:lnTo>
                  <a:pt x="3288" y="1485"/>
                </a:lnTo>
                <a:lnTo>
                  <a:pt x="3254" y="1430"/>
                </a:lnTo>
                <a:lnTo>
                  <a:pt x="3238" y="1400"/>
                </a:lnTo>
                <a:lnTo>
                  <a:pt x="3224" y="1370"/>
                </a:lnTo>
                <a:lnTo>
                  <a:pt x="3212" y="1337"/>
                </a:lnTo>
                <a:lnTo>
                  <a:pt x="3203" y="1305"/>
                </a:lnTo>
                <a:lnTo>
                  <a:pt x="3197" y="1273"/>
                </a:lnTo>
                <a:lnTo>
                  <a:pt x="3195" y="1240"/>
                </a:lnTo>
                <a:lnTo>
                  <a:pt x="3198" y="1210"/>
                </a:lnTo>
                <a:close/>
                <a:moveTo>
                  <a:pt x="2404" y="1225"/>
                </a:moveTo>
                <a:lnTo>
                  <a:pt x="2406" y="1210"/>
                </a:lnTo>
                <a:lnTo>
                  <a:pt x="2413" y="1184"/>
                </a:lnTo>
                <a:lnTo>
                  <a:pt x="2422" y="1158"/>
                </a:lnTo>
                <a:lnTo>
                  <a:pt x="3099" y="1158"/>
                </a:lnTo>
                <a:lnTo>
                  <a:pt x="3099" y="1443"/>
                </a:lnTo>
                <a:lnTo>
                  <a:pt x="3010" y="1443"/>
                </a:lnTo>
                <a:lnTo>
                  <a:pt x="2996" y="1394"/>
                </a:lnTo>
                <a:lnTo>
                  <a:pt x="2978" y="1352"/>
                </a:lnTo>
                <a:lnTo>
                  <a:pt x="2968" y="1334"/>
                </a:lnTo>
                <a:lnTo>
                  <a:pt x="2958" y="1319"/>
                </a:lnTo>
                <a:lnTo>
                  <a:pt x="2945" y="1304"/>
                </a:lnTo>
                <a:lnTo>
                  <a:pt x="2933" y="1292"/>
                </a:lnTo>
                <a:lnTo>
                  <a:pt x="2920" y="1281"/>
                </a:lnTo>
                <a:lnTo>
                  <a:pt x="2906" y="1272"/>
                </a:lnTo>
                <a:lnTo>
                  <a:pt x="2890" y="1264"/>
                </a:lnTo>
                <a:lnTo>
                  <a:pt x="2875" y="1258"/>
                </a:lnTo>
                <a:lnTo>
                  <a:pt x="2839" y="1250"/>
                </a:lnTo>
                <a:lnTo>
                  <a:pt x="2800" y="1248"/>
                </a:lnTo>
                <a:lnTo>
                  <a:pt x="2717" y="1248"/>
                </a:lnTo>
                <a:lnTo>
                  <a:pt x="2717" y="1254"/>
                </a:lnTo>
                <a:lnTo>
                  <a:pt x="2725" y="1281"/>
                </a:lnTo>
                <a:lnTo>
                  <a:pt x="2737" y="1311"/>
                </a:lnTo>
                <a:lnTo>
                  <a:pt x="2756" y="1353"/>
                </a:lnTo>
                <a:lnTo>
                  <a:pt x="2783" y="1403"/>
                </a:lnTo>
                <a:lnTo>
                  <a:pt x="2820" y="1459"/>
                </a:lnTo>
                <a:lnTo>
                  <a:pt x="2844" y="1491"/>
                </a:lnTo>
                <a:lnTo>
                  <a:pt x="2870" y="1523"/>
                </a:lnTo>
                <a:lnTo>
                  <a:pt x="2900" y="1556"/>
                </a:lnTo>
                <a:lnTo>
                  <a:pt x="2932" y="1590"/>
                </a:lnTo>
                <a:lnTo>
                  <a:pt x="2957" y="1618"/>
                </a:lnTo>
                <a:lnTo>
                  <a:pt x="2986" y="1654"/>
                </a:lnTo>
                <a:lnTo>
                  <a:pt x="3016" y="1698"/>
                </a:lnTo>
                <a:lnTo>
                  <a:pt x="3046" y="1747"/>
                </a:lnTo>
                <a:lnTo>
                  <a:pt x="3073" y="1799"/>
                </a:lnTo>
                <a:lnTo>
                  <a:pt x="3095" y="1852"/>
                </a:lnTo>
                <a:lnTo>
                  <a:pt x="3103" y="1879"/>
                </a:lnTo>
                <a:lnTo>
                  <a:pt x="3109" y="1906"/>
                </a:lnTo>
                <a:lnTo>
                  <a:pt x="3113" y="1932"/>
                </a:lnTo>
                <a:lnTo>
                  <a:pt x="3114" y="1957"/>
                </a:lnTo>
                <a:lnTo>
                  <a:pt x="3113" y="1983"/>
                </a:lnTo>
                <a:lnTo>
                  <a:pt x="3108" y="2004"/>
                </a:lnTo>
                <a:lnTo>
                  <a:pt x="3101" y="2022"/>
                </a:lnTo>
                <a:lnTo>
                  <a:pt x="3090" y="2039"/>
                </a:lnTo>
                <a:lnTo>
                  <a:pt x="2408" y="2039"/>
                </a:lnTo>
                <a:lnTo>
                  <a:pt x="2408" y="1754"/>
                </a:lnTo>
                <a:lnTo>
                  <a:pt x="2500" y="1754"/>
                </a:lnTo>
                <a:lnTo>
                  <a:pt x="2510" y="1791"/>
                </a:lnTo>
                <a:lnTo>
                  <a:pt x="2521" y="1825"/>
                </a:lnTo>
                <a:lnTo>
                  <a:pt x="2536" y="1858"/>
                </a:lnTo>
                <a:lnTo>
                  <a:pt x="2554" y="1887"/>
                </a:lnTo>
                <a:lnTo>
                  <a:pt x="2564" y="1900"/>
                </a:lnTo>
                <a:lnTo>
                  <a:pt x="2577" y="1912"/>
                </a:lnTo>
                <a:lnTo>
                  <a:pt x="2590" y="1922"/>
                </a:lnTo>
                <a:lnTo>
                  <a:pt x="2605" y="1932"/>
                </a:lnTo>
                <a:lnTo>
                  <a:pt x="2620" y="1939"/>
                </a:lnTo>
                <a:lnTo>
                  <a:pt x="2639" y="1944"/>
                </a:lnTo>
                <a:lnTo>
                  <a:pt x="2659" y="1947"/>
                </a:lnTo>
                <a:lnTo>
                  <a:pt x="2681" y="1948"/>
                </a:lnTo>
                <a:lnTo>
                  <a:pt x="2802" y="1948"/>
                </a:lnTo>
                <a:lnTo>
                  <a:pt x="2802" y="1941"/>
                </a:lnTo>
                <a:lnTo>
                  <a:pt x="2794" y="1918"/>
                </a:lnTo>
                <a:lnTo>
                  <a:pt x="2781" y="1876"/>
                </a:lnTo>
                <a:lnTo>
                  <a:pt x="2762" y="1841"/>
                </a:lnTo>
                <a:lnTo>
                  <a:pt x="2737" y="1800"/>
                </a:lnTo>
                <a:lnTo>
                  <a:pt x="2708" y="1758"/>
                </a:lnTo>
                <a:lnTo>
                  <a:pt x="2677" y="1714"/>
                </a:lnTo>
                <a:lnTo>
                  <a:pt x="2620" y="1641"/>
                </a:lnTo>
                <a:lnTo>
                  <a:pt x="2589" y="1603"/>
                </a:lnTo>
                <a:lnTo>
                  <a:pt x="2561" y="1570"/>
                </a:lnTo>
                <a:lnTo>
                  <a:pt x="2531" y="1533"/>
                </a:lnTo>
                <a:lnTo>
                  <a:pt x="2496" y="1485"/>
                </a:lnTo>
                <a:lnTo>
                  <a:pt x="2462" y="1430"/>
                </a:lnTo>
                <a:lnTo>
                  <a:pt x="2446" y="1400"/>
                </a:lnTo>
                <a:lnTo>
                  <a:pt x="2433" y="1370"/>
                </a:lnTo>
                <a:lnTo>
                  <a:pt x="2420" y="1337"/>
                </a:lnTo>
                <a:lnTo>
                  <a:pt x="2411" y="1305"/>
                </a:lnTo>
                <a:lnTo>
                  <a:pt x="2406" y="1273"/>
                </a:lnTo>
                <a:lnTo>
                  <a:pt x="2402" y="1240"/>
                </a:lnTo>
                <a:lnTo>
                  <a:pt x="2404" y="1225"/>
                </a:lnTo>
                <a:close/>
                <a:moveTo>
                  <a:pt x="1842" y="1948"/>
                </a:moveTo>
                <a:lnTo>
                  <a:pt x="1876" y="1948"/>
                </a:lnTo>
                <a:lnTo>
                  <a:pt x="1884" y="1947"/>
                </a:lnTo>
                <a:lnTo>
                  <a:pt x="1894" y="1943"/>
                </a:lnTo>
                <a:lnTo>
                  <a:pt x="1903" y="1937"/>
                </a:lnTo>
                <a:lnTo>
                  <a:pt x="1913" y="1930"/>
                </a:lnTo>
                <a:lnTo>
                  <a:pt x="1921" y="1920"/>
                </a:lnTo>
                <a:lnTo>
                  <a:pt x="1927" y="1911"/>
                </a:lnTo>
                <a:lnTo>
                  <a:pt x="1931" y="1901"/>
                </a:lnTo>
                <a:lnTo>
                  <a:pt x="1932" y="1892"/>
                </a:lnTo>
                <a:lnTo>
                  <a:pt x="1932" y="1308"/>
                </a:lnTo>
                <a:lnTo>
                  <a:pt x="1931" y="1299"/>
                </a:lnTo>
                <a:lnTo>
                  <a:pt x="1927" y="1289"/>
                </a:lnTo>
                <a:lnTo>
                  <a:pt x="1921" y="1280"/>
                </a:lnTo>
                <a:lnTo>
                  <a:pt x="1913" y="1271"/>
                </a:lnTo>
                <a:lnTo>
                  <a:pt x="1903" y="1262"/>
                </a:lnTo>
                <a:lnTo>
                  <a:pt x="1893" y="1255"/>
                </a:lnTo>
                <a:lnTo>
                  <a:pt x="1882" y="1251"/>
                </a:lnTo>
                <a:lnTo>
                  <a:pt x="1872" y="1250"/>
                </a:lnTo>
                <a:lnTo>
                  <a:pt x="1842" y="1250"/>
                </a:lnTo>
                <a:lnTo>
                  <a:pt x="1842" y="1158"/>
                </a:lnTo>
                <a:lnTo>
                  <a:pt x="2306" y="1158"/>
                </a:lnTo>
                <a:lnTo>
                  <a:pt x="2306" y="1250"/>
                </a:lnTo>
                <a:lnTo>
                  <a:pt x="2275" y="1250"/>
                </a:lnTo>
                <a:lnTo>
                  <a:pt x="2263" y="1252"/>
                </a:lnTo>
                <a:lnTo>
                  <a:pt x="2251" y="1257"/>
                </a:lnTo>
                <a:lnTo>
                  <a:pt x="2241" y="1265"/>
                </a:lnTo>
                <a:lnTo>
                  <a:pt x="2232" y="1276"/>
                </a:lnTo>
                <a:lnTo>
                  <a:pt x="2224" y="1287"/>
                </a:lnTo>
                <a:lnTo>
                  <a:pt x="2219" y="1299"/>
                </a:lnTo>
                <a:lnTo>
                  <a:pt x="2216" y="1309"/>
                </a:lnTo>
                <a:lnTo>
                  <a:pt x="2214" y="1319"/>
                </a:lnTo>
                <a:lnTo>
                  <a:pt x="2214" y="1881"/>
                </a:lnTo>
                <a:lnTo>
                  <a:pt x="2215" y="1890"/>
                </a:lnTo>
                <a:lnTo>
                  <a:pt x="2219" y="1900"/>
                </a:lnTo>
                <a:lnTo>
                  <a:pt x="2224" y="1912"/>
                </a:lnTo>
                <a:lnTo>
                  <a:pt x="2230" y="1923"/>
                </a:lnTo>
                <a:lnTo>
                  <a:pt x="2239" y="1933"/>
                </a:lnTo>
                <a:lnTo>
                  <a:pt x="2249" y="1941"/>
                </a:lnTo>
                <a:lnTo>
                  <a:pt x="2260" y="1946"/>
                </a:lnTo>
                <a:lnTo>
                  <a:pt x="2271" y="1948"/>
                </a:lnTo>
                <a:lnTo>
                  <a:pt x="2306" y="1948"/>
                </a:lnTo>
                <a:lnTo>
                  <a:pt x="2306" y="2039"/>
                </a:lnTo>
                <a:lnTo>
                  <a:pt x="1842" y="2039"/>
                </a:lnTo>
                <a:lnTo>
                  <a:pt x="1842" y="1948"/>
                </a:lnTo>
                <a:close/>
                <a:moveTo>
                  <a:pt x="995" y="1946"/>
                </a:moveTo>
                <a:lnTo>
                  <a:pt x="1030" y="1946"/>
                </a:lnTo>
                <a:lnTo>
                  <a:pt x="1038" y="1944"/>
                </a:lnTo>
                <a:lnTo>
                  <a:pt x="1047" y="1941"/>
                </a:lnTo>
                <a:lnTo>
                  <a:pt x="1057" y="1935"/>
                </a:lnTo>
                <a:lnTo>
                  <a:pt x="1066" y="1927"/>
                </a:lnTo>
                <a:lnTo>
                  <a:pt x="1075" y="1918"/>
                </a:lnTo>
                <a:lnTo>
                  <a:pt x="1081" y="1909"/>
                </a:lnTo>
                <a:lnTo>
                  <a:pt x="1085" y="1899"/>
                </a:lnTo>
                <a:lnTo>
                  <a:pt x="1086" y="1889"/>
                </a:lnTo>
                <a:lnTo>
                  <a:pt x="1086" y="1308"/>
                </a:lnTo>
                <a:lnTo>
                  <a:pt x="1085" y="1299"/>
                </a:lnTo>
                <a:lnTo>
                  <a:pt x="1081" y="1289"/>
                </a:lnTo>
                <a:lnTo>
                  <a:pt x="1075" y="1280"/>
                </a:lnTo>
                <a:lnTo>
                  <a:pt x="1066" y="1271"/>
                </a:lnTo>
                <a:lnTo>
                  <a:pt x="1057" y="1262"/>
                </a:lnTo>
                <a:lnTo>
                  <a:pt x="1046" y="1256"/>
                </a:lnTo>
                <a:lnTo>
                  <a:pt x="1036" y="1251"/>
                </a:lnTo>
                <a:lnTo>
                  <a:pt x="1026" y="1250"/>
                </a:lnTo>
                <a:lnTo>
                  <a:pt x="995" y="1250"/>
                </a:lnTo>
                <a:lnTo>
                  <a:pt x="995" y="1158"/>
                </a:lnTo>
                <a:lnTo>
                  <a:pt x="1742" y="1158"/>
                </a:lnTo>
                <a:lnTo>
                  <a:pt x="1742" y="1443"/>
                </a:lnTo>
                <a:lnTo>
                  <a:pt x="1648" y="1443"/>
                </a:lnTo>
                <a:lnTo>
                  <a:pt x="1635" y="1397"/>
                </a:lnTo>
                <a:lnTo>
                  <a:pt x="1620" y="1356"/>
                </a:lnTo>
                <a:lnTo>
                  <a:pt x="1602" y="1323"/>
                </a:lnTo>
                <a:lnTo>
                  <a:pt x="1592" y="1308"/>
                </a:lnTo>
                <a:lnTo>
                  <a:pt x="1581" y="1296"/>
                </a:lnTo>
                <a:lnTo>
                  <a:pt x="1570" y="1284"/>
                </a:lnTo>
                <a:lnTo>
                  <a:pt x="1557" y="1275"/>
                </a:lnTo>
                <a:lnTo>
                  <a:pt x="1544" y="1267"/>
                </a:lnTo>
                <a:lnTo>
                  <a:pt x="1530" y="1259"/>
                </a:lnTo>
                <a:lnTo>
                  <a:pt x="1514" y="1254"/>
                </a:lnTo>
                <a:lnTo>
                  <a:pt x="1498" y="1251"/>
                </a:lnTo>
                <a:lnTo>
                  <a:pt x="1461" y="1248"/>
                </a:lnTo>
                <a:lnTo>
                  <a:pt x="1369" y="1248"/>
                </a:lnTo>
                <a:lnTo>
                  <a:pt x="1369" y="1553"/>
                </a:lnTo>
                <a:lnTo>
                  <a:pt x="1416" y="1553"/>
                </a:lnTo>
                <a:lnTo>
                  <a:pt x="1432" y="1548"/>
                </a:lnTo>
                <a:lnTo>
                  <a:pt x="1441" y="1542"/>
                </a:lnTo>
                <a:lnTo>
                  <a:pt x="1452" y="1533"/>
                </a:lnTo>
                <a:lnTo>
                  <a:pt x="1461" y="1524"/>
                </a:lnTo>
                <a:lnTo>
                  <a:pt x="1470" y="1513"/>
                </a:lnTo>
                <a:lnTo>
                  <a:pt x="1475" y="1500"/>
                </a:lnTo>
                <a:lnTo>
                  <a:pt x="1477" y="1485"/>
                </a:lnTo>
                <a:lnTo>
                  <a:pt x="1477" y="1445"/>
                </a:lnTo>
                <a:lnTo>
                  <a:pt x="1568" y="1445"/>
                </a:lnTo>
                <a:lnTo>
                  <a:pt x="1568" y="1752"/>
                </a:lnTo>
                <a:lnTo>
                  <a:pt x="1477" y="1752"/>
                </a:lnTo>
                <a:lnTo>
                  <a:pt x="1477" y="1714"/>
                </a:lnTo>
                <a:lnTo>
                  <a:pt x="1476" y="1704"/>
                </a:lnTo>
                <a:lnTo>
                  <a:pt x="1472" y="1693"/>
                </a:lnTo>
                <a:lnTo>
                  <a:pt x="1465" y="1681"/>
                </a:lnTo>
                <a:lnTo>
                  <a:pt x="1457" y="1671"/>
                </a:lnTo>
                <a:lnTo>
                  <a:pt x="1447" y="1661"/>
                </a:lnTo>
                <a:lnTo>
                  <a:pt x="1433" y="1652"/>
                </a:lnTo>
                <a:lnTo>
                  <a:pt x="1419" y="1646"/>
                </a:lnTo>
                <a:lnTo>
                  <a:pt x="1401" y="1644"/>
                </a:lnTo>
                <a:lnTo>
                  <a:pt x="1369" y="1644"/>
                </a:lnTo>
                <a:lnTo>
                  <a:pt x="1369" y="1948"/>
                </a:lnTo>
                <a:lnTo>
                  <a:pt x="1471" y="1948"/>
                </a:lnTo>
                <a:lnTo>
                  <a:pt x="1497" y="1946"/>
                </a:lnTo>
                <a:lnTo>
                  <a:pt x="1524" y="1939"/>
                </a:lnTo>
                <a:lnTo>
                  <a:pt x="1551" y="1925"/>
                </a:lnTo>
                <a:lnTo>
                  <a:pt x="1564" y="1917"/>
                </a:lnTo>
                <a:lnTo>
                  <a:pt x="1577" y="1907"/>
                </a:lnTo>
                <a:lnTo>
                  <a:pt x="1589" y="1894"/>
                </a:lnTo>
                <a:lnTo>
                  <a:pt x="1600" y="1881"/>
                </a:lnTo>
                <a:lnTo>
                  <a:pt x="1611" y="1865"/>
                </a:lnTo>
                <a:lnTo>
                  <a:pt x="1621" y="1847"/>
                </a:lnTo>
                <a:lnTo>
                  <a:pt x="1629" y="1827"/>
                </a:lnTo>
                <a:lnTo>
                  <a:pt x="1637" y="1805"/>
                </a:lnTo>
                <a:lnTo>
                  <a:pt x="1644" y="1781"/>
                </a:lnTo>
                <a:lnTo>
                  <a:pt x="1648" y="1754"/>
                </a:lnTo>
                <a:lnTo>
                  <a:pt x="1742" y="1754"/>
                </a:lnTo>
                <a:lnTo>
                  <a:pt x="1742" y="2039"/>
                </a:lnTo>
                <a:lnTo>
                  <a:pt x="995" y="2039"/>
                </a:lnTo>
                <a:lnTo>
                  <a:pt x="995" y="1946"/>
                </a:lnTo>
                <a:close/>
                <a:moveTo>
                  <a:pt x="173" y="1998"/>
                </a:moveTo>
                <a:lnTo>
                  <a:pt x="174" y="1983"/>
                </a:lnTo>
                <a:lnTo>
                  <a:pt x="180" y="1948"/>
                </a:lnTo>
                <a:lnTo>
                  <a:pt x="192" y="1901"/>
                </a:lnTo>
                <a:lnTo>
                  <a:pt x="201" y="1874"/>
                </a:lnTo>
                <a:lnTo>
                  <a:pt x="213" y="1846"/>
                </a:lnTo>
                <a:lnTo>
                  <a:pt x="235" y="1796"/>
                </a:lnTo>
                <a:lnTo>
                  <a:pt x="267" y="1734"/>
                </a:lnTo>
                <a:lnTo>
                  <a:pt x="287" y="1700"/>
                </a:lnTo>
                <a:lnTo>
                  <a:pt x="309" y="1667"/>
                </a:lnTo>
                <a:lnTo>
                  <a:pt x="334" y="1635"/>
                </a:lnTo>
                <a:lnTo>
                  <a:pt x="360" y="1605"/>
                </a:lnTo>
                <a:lnTo>
                  <a:pt x="392" y="1572"/>
                </a:lnTo>
                <a:lnTo>
                  <a:pt x="420" y="1540"/>
                </a:lnTo>
                <a:lnTo>
                  <a:pt x="469" y="1477"/>
                </a:lnTo>
                <a:lnTo>
                  <a:pt x="508" y="1420"/>
                </a:lnTo>
                <a:lnTo>
                  <a:pt x="538" y="1368"/>
                </a:lnTo>
                <a:lnTo>
                  <a:pt x="559" y="1324"/>
                </a:lnTo>
                <a:lnTo>
                  <a:pt x="574" y="1289"/>
                </a:lnTo>
                <a:lnTo>
                  <a:pt x="588" y="1254"/>
                </a:lnTo>
                <a:lnTo>
                  <a:pt x="588" y="1248"/>
                </a:lnTo>
                <a:lnTo>
                  <a:pt x="506" y="1248"/>
                </a:lnTo>
                <a:lnTo>
                  <a:pt x="472" y="1250"/>
                </a:lnTo>
                <a:lnTo>
                  <a:pt x="443" y="1255"/>
                </a:lnTo>
                <a:lnTo>
                  <a:pt x="418" y="1264"/>
                </a:lnTo>
                <a:lnTo>
                  <a:pt x="395" y="1276"/>
                </a:lnTo>
                <a:lnTo>
                  <a:pt x="375" y="1289"/>
                </a:lnTo>
                <a:lnTo>
                  <a:pt x="359" y="1305"/>
                </a:lnTo>
                <a:lnTo>
                  <a:pt x="344" y="1322"/>
                </a:lnTo>
                <a:lnTo>
                  <a:pt x="332" y="1340"/>
                </a:lnTo>
                <a:lnTo>
                  <a:pt x="315" y="1374"/>
                </a:lnTo>
                <a:lnTo>
                  <a:pt x="303" y="1405"/>
                </a:lnTo>
                <a:lnTo>
                  <a:pt x="295" y="1443"/>
                </a:lnTo>
                <a:lnTo>
                  <a:pt x="206" y="1443"/>
                </a:lnTo>
                <a:lnTo>
                  <a:pt x="206" y="1158"/>
                </a:lnTo>
                <a:lnTo>
                  <a:pt x="913" y="1158"/>
                </a:lnTo>
                <a:lnTo>
                  <a:pt x="913" y="1182"/>
                </a:lnTo>
                <a:lnTo>
                  <a:pt x="912" y="1195"/>
                </a:lnTo>
                <a:lnTo>
                  <a:pt x="907" y="1226"/>
                </a:lnTo>
                <a:lnTo>
                  <a:pt x="897" y="1271"/>
                </a:lnTo>
                <a:lnTo>
                  <a:pt x="881" y="1325"/>
                </a:lnTo>
                <a:lnTo>
                  <a:pt x="859" y="1379"/>
                </a:lnTo>
                <a:lnTo>
                  <a:pt x="835" y="1428"/>
                </a:lnTo>
                <a:lnTo>
                  <a:pt x="810" y="1474"/>
                </a:lnTo>
                <a:lnTo>
                  <a:pt x="784" y="1516"/>
                </a:lnTo>
                <a:lnTo>
                  <a:pt x="757" y="1554"/>
                </a:lnTo>
                <a:lnTo>
                  <a:pt x="730" y="1590"/>
                </a:lnTo>
                <a:lnTo>
                  <a:pt x="673" y="1658"/>
                </a:lnTo>
                <a:lnTo>
                  <a:pt x="620" y="1723"/>
                </a:lnTo>
                <a:lnTo>
                  <a:pt x="596" y="1756"/>
                </a:lnTo>
                <a:lnTo>
                  <a:pt x="572" y="1790"/>
                </a:lnTo>
                <a:lnTo>
                  <a:pt x="551" y="1825"/>
                </a:lnTo>
                <a:lnTo>
                  <a:pt x="533" y="1864"/>
                </a:lnTo>
                <a:lnTo>
                  <a:pt x="516" y="1904"/>
                </a:lnTo>
                <a:lnTo>
                  <a:pt x="503" y="1948"/>
                </a:lnTo>
                <a:lnTo>
                  <a:pt x="624" y="1948"/>
                </a:lnTo>
                <a:lnTo>
                  <a:pt x="651" y="1946"/>
                </a:lnTo>
                <a:lnTo>
                  <a:pt x="680" y="1939"/>
                </a:lnTo>
                <a:lnTo>
                  <a:pt x="707" y="1925"/>
                </a:lnTo>
                <a:lnTo>
                  <a:pt x="720" y="1917"/>
                </a:lnTo>
                <a:lnTo>
                  <a:pt x="733" y="1907"/>
                </a:lnTo>
                <a:lnTo>
                  <a:pt x="744" y="1894"/>
                </a:lnTo>
                <a:lnTo>
                  <a:pt x="756" y="1881"/>
                </a:lnTo>
                <a:lnTo>
                  <a:pt x="767" y="1865"/>
                </a:lnTo>
                <a:lnTo>
                  <a:pt x="777" y="1847"/>
                </a:lnTo>
                <a:lnTo>
                  <a:pt x="786" y="1827"/>
                </a:lnTo>
                <a:lnTo>
                  <a:pt x="793" y="1805"/>
                </a:lnTo>
                <a:lnTo>
                  <a:pt x="799" y="1781"/>
                </a:lnTo>
                <a:lnTo>
                  <a:pt x="805" y="1754"/>
                </a:lnTo>
                <a:lnTo>
                  <a:pt x="897" y="1754"/>
                </a:lnTo>
                <a:lnTo>
                  <a:pt x="897" y="2039"/>
                </a:lnTo>
                <a:lnTo>
                  <a:pt x="173" y="2039"/>
                </a:lnTo>
                <a:lnTo>
                  <a:pt x="173" y="1998"/>
                </a:lnTo>
                <a:close/>
              </a:path>
            </a:pathLst>
          </a:custGeom>
          <a:solidFill>
            <a:srgbClr val="0000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sz="1600">
              <a:solidFill>
                <a:srgbClr val="000000"/>
              </a:solidFill>
            </a:endParaRPr>
          </a:p>
        </p:txBody>
      </p:sp>
      <p:sp>
        <p:nvSpPr>
          <p:cNvPr id="3" name="Text Placeholder 2"/>
          <p:cNvSpPr>
            <a:spLocks noGrp="1"/>
          </p:cNvSpPr>
          <p:nvPr>
            <p:ph type="body" sz="quarter" idx="10"/>
          </p:nvPr>
        </p:nvSpPr>
        <p:spPr>
          <a:xfrm>
            <a:off x="468000" y="5940000"/>
            <a:ext cx="3024682" cy="208952"/>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p:txBody>
      </p:sp>
      <p:sp>
        <p:nvSpPr>
          <p:cNvPr id="7" name="Text Placeholder 2"/>
          <p:cNvSpPr>
            <a:spLocks noGrp="1"/>
          </p:cNvSpPr>
          <p:nvPr>
            <p:ph type="body" sz="quarter" idx="11"/>
          </p:nvPr>
        </p:nvSpPr>
        <p:spPr>
          <a:xfrm>
            <a:off x="468000" y="6192000"/>
            <a:ext cx="3024682" cy="208952"/>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p:txBody>
      </p:sp>
      <p:sp>
        <p:nvSpPr>
          <p:cNvPr id="8" name="Text Placeholder 2"/>
          <p:cNvSpPr>
            <a:spLocks noGrp="1"/>
          </p:cNvSpPr>
          <p:nvPr>
            <p:ph type="body" sz="quarter" idx="12"/>
          </p:nvPr>
        </p:nvSpPr>
        <p:spPr>
          <a:xfrm>
            <a:off x="468000" y="6444000"/>
            <a:ext cx="3024682" cy="208952"/>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570321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urse Overview">
    <p:spTree>
      <p:nvGrpSpPr>
        <p:cNvPr id="1" name=""/>
        <p:cNvGrpSpPr/>
        <p:nvPr/>
      </p:nvGrpSpPr>
      <p:grpSpPr>
        <a:xfrm>
          <a:off x="0" y="0"/>
          <a:ext cx="0" cy="0"/>
          <a:chOff x="0" y="0"/>
          <a:chExt cx="0" cy="0"/>
        </a:xfrm>
      </p:grpSpPr>
      <p:sp>
        <p:nvSpPr>
          <p:cNvPr id="6"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19AE3073-0F09-4E3F-A5E9-7489206024B2}" type="datetime1">
              <a:rPr lang="en-US" smtClean="0">
                <a:solidFill>
                  <a:srgbClr val="000000"/>
                </a:solidFill>
              </a:rPr>
              <a:pPr/>
              <a:t>2/28/2019</a:t>
            </a:fld>
            <a:endParaRPr lang="en-US" dirty="0">
              <a:solidFill>
                <a:srgbClr val="000000"/>
              </a:solidFill>
            </a:endParaRPr>
          </a:p>
        </p:txBody>
      </p:sp>
      <p:sp>
        <p:nvSpPr>
          <p:cNvPr id="7"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dirty="0">
                <a:solidFill>
                  <a:srgbClr val="000000"/>
                </a:solidFill>
              </a:rPr>
              <a:t>Carl Zeiss Microscopy - ApoTome.2</a:t>
            </a:r>
          </a:p>
        </p:txBody>
      </p:sp>
      <p:sp>
        <p:nvSpPr>
          <p:cNvPr id="9" name="Inhaltsplatzhalter 2"/>
          <p:cNvSpPr txBox="1">
            <a:spLocks/>
          </p:cNvSpPr>
          <p:nvPr userDrawn="1"/>
        </p:nvSpPr>
        <p:spPr bwMode="auto">
          <a:xfrm>
            <a:off x="466725" y="3933825"/>
            <a:ext cx="2233613"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bIns="0"/>
          <a:lstStyle>
            <a:lvl1pPr eaLnBrk="0" hangingPunct="0">
              <a:defRPr sz="1600">
                <a:solidFill>
                  <a:schemeClr val="tx1"/>
                </a:solidFill>
                <a:latin typeface="Arial" charset="0"/>
                <a:cs typeface="Arial" charset="0"/>
              </a:defRPr>
            </a:lvl1pPr>
            <a:lvl2pPr marL="203200" indent="-182563"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fontAlgn="base" hangingPunct="1">
              <a:spcBef>
                <a:spcPct val="0"/>
              </a:spcBef>
              <a:spcAft>
                <a:spcPts val="300"/>
              </a:spcAft>
            </a:pPr>
            <a:r>
              <a:rPr lang="en-US" sz="1400" dirty="0">
                <a:solidFill>
                  <a:srgbClr val="000000"/>
                </a:solidFill>
              </a:rPr>
              <a:t>The session comprehends the following topics:</a:t>
            </a:r>
          </a:p>
        </p:txBody>
      </p:sp>
      <p:pic>
        <p:nvPicPr>
          <p:cNvPr id="10" name="Picture 2"/>
          <p:cNvPicPr>
            <a:picLocks noChangeAspect="1" noChangeArrowheads="1"/>
          </p:cNvPicPr>
          <p:nvPr userDrawn="1"/>
        </p:nvPicPr>
        <p:blipFill>
          <a:blip r:embed="rId2">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466725" y="2335214"/>
            <a:ext cx="8243888" cy="1455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28"/>
          <p:cNvSpPr>
            <a:spLocks noChangeArrowheads="1"/>
          </p:cNvSpPr>
          <p:nvPr userDrawn="1"/>
        </p:nvSpPr>
        <p:spPr bwMode="auto">
          <a:xfrm>
            <a:off x="466725" y="1700214"/>
            <a:ext cx="2233613"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fontAlgn="base" hangingPunct="0">
              <a:spcBef>
                <a:spcPct val="0"/>
              </a:spcBef>
              <a:spcAft>
                <a:spcPct val="0"/>
              </a:spcAft>
            </a:pPr>
            <a:r>
              <a:rPr lang="en-US" b="1" dirty="0">
                <a:solidFill>
                  <a:srgbClr val="000000"/>
                </a:solidFill>
              </a:rPr>
              <a:t>Content of this session</a:t>
            </a:r>
          </a:p>
        </p:txBody>
      </p:sp>
      <p:sp>
        <p:nvSpPr>
          <p:cNvPr id="12" name="Rectangle 29"/>
          <p:cNvSpPr>
            <a:spLocks noChangeArrowheads="1"/>
          </p:cNvSpPr>
          <p:nvPr userDrawn="1"/>
        </p:nvSpPr>
        <p:spPr bwMode="auto">
          <a:xfrm>
            <a:off x="6448427" y="1700214"/>
            <a:ext cx="2227263"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fontAlgn="base" hangingPunct="0">
              <a:spcBef>
                <a:spcPct val="0"/>
              </a:spcBef>
              <a:spcAft>
                <a:spcPct val="0"/>
              </a:spcAft>
            </a:pPr>
            <a:r>
              <a:rPr lang="en-US" b="1">
                <a:solidFill>
                  <a:srgbClr val="000000"/>
                </a:solidFill>
              </a:rPr>
              <a:t>Times and </a:t>
            </a:r>
            <a:br>
              <a:rPr lang="en-US" b="1">
                <a:solidFill>
                  <a:srgbClr val="000000"/>
                </a:solidFill>
              </a:rPr>
            </a:br>
            <a:r>
              <a:rPr lang="en-US" b="1">
                <a:solidFill>
                  <a:srgbClr val="000000"/>
                </a:solidFill>
              </a:rPr>
              <a:t>effort</a:t>
            </a:r>
          </a:p>
        </p:txBody>
      </p:sp>
      <p:sp>
        <p:nvSpPr>
          <p:cNvPr id="13" name="Rectangle 30"/>
          <p:cNvSpPr>
            <a:spLocks noChangeArrowheads="1"/>
          </p:cNvSpPr>
          <p:nvPr userDrawn="1"/>
        </p:nvSpPr>
        <p:spPr bwMode="auto">
          <a:xfrm>
            <a:off x="3492500" y="1700214"/>
            <a:ext cx="2159000"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fontAlgn="base" hangingPunct="0">
              <a:spcBef>
                <a:spcPct val="0"/>
              </a:spcBef>
              <a:spcAft>
                <a:spcPct val="0"/>
              </a:spcAft>
            </a:pPr>
            <a:r>
              <a:rPr lang="en-US" b="1">
                <a:solidFill>
                  <a:srgbClr val="000000"/>
                </a:solidFill>
              </a:rPr>
              <a:t>Targets of this session</a:t>
            </a:r>
          </a:p>
        </p:txBody>
      </p:sp>
      <p:sp>
        <p:nvSpPr>
          <p:cNvPr id="14" name="Textfeld 11"/>
          <p:cNvSpPr txBox="1"/>
          <p:nvPr userDrawn="1"/>
        </p:nvSpPr>
        <p:spPr>
          <a:xfrm>
            <a:off x="3492501" y="3933825"/>
            <a:ext cx="2232025" cy="523875"/>
          </a:xfrm>
          <a:prstGeom prst="rect">
            <a:avLst/>
          </a:prstGeom>
          <a:noFill/>
          <a:ln w="9525">
            <a:noFill/>
            <a:miter lim="800000"/>
            <a:headEnd/>
            <a:tailEnd/>
          </a:ln>
        </p:spPr>
        <p:txBody>
          <a:bodyPr lIns="0" tIns="0" bIns="0"/>
          <a:lstStyle/>
          <a:p>
            <a:pPr eaLnBrk="0" fontAlgn="base" hangingPunct="0">
              <a:spcBef>
                <a:spcPct val="0"/>
              </a:spcBef>
              <a:spcAft>
                <a:spcPts val="300"/>
              </a:spcAft>
              <a:defRPr/>
            </a:pPr>
            <a:r>
              <a:rPr lang="en-US" sz="1400" dirty="0">
                <a:solidFill>
                  <a:srgbClr val="000000"/>
                </a:solidFill>
              </a:rPr>
              <a:t>After the completion of this session you will:</a:t>
            </a:r>
          </a:p>
        </p:txBody>
      </p:sp>
      <p:sp>
        <p:nvSpPr>
          <p:cNvPr id="15" name="Textfeld 26"/>
          <p:cNvSpPr txBox="1">
            <a:spLocks noChangeArrowheads="1"/>
          </p:cNvSpPr>
          <p:nvPr userDrawn="1"/>
        </p:nvSpPr>
        <p:spPr bwMode="auto">
          <a:xfrm>
            <a:off x="6442077" y="3933826"/>
            <a:ext cx="2233613" cy="2236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bIns="0"/>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fontAlgn="base">
              <a:spcBef>
                <a:spcPct val="0"/>
              </a:spcBef>
              <a:spcAft>
                <a:spcPts val="300"/>
              </a:spcAft>
            </a:pPr>
            <a:r>
              <a:rPr lang="en-US" sz="1400" dirty="0">
                <a:solidFill>
                  <a:srgbClr val="000000"/>
                </a:solidFill>
              </a:rPr>
              <a:t>You will have approx. </a:t>
            </a:r>
            <a:br>
              <a:rPr lang="en-US" sz="1400" b="1" dirty="0">
                <a:solidFill>
                  <a:srgbClr val="000000"/>
                </a:solidFill>
              </a:rPr>
            </a:br>
            <a:r>
              <a:rPr lang="en-US" sz="1400" dirty="0">
                <a:solidFill>
                  <a:srgbClr val="000000"/>
                </a:solidFill>
              </a:rPr>
              <a:t> to complete this session.</a:t>
            </a:r>
          </a:p>
        </p:txBody>
      </p:sp>
      <p:sp>
        <p:nvSpPr>
          <p:cNvPr id="18" name="Content Placeholder 17"/>
          <p:cNvSpPr>
            <a:spLocks noGrp="1"/>
          </p:cNvSpPr>
          <p:nvPr>
            <p:ph sz="quarter" idx="15" hasCustomPrompt="1"/>
          </p:nvPr>
        </p:nvSpPr>
        <p:spPr>
          <a:xfrm>
            <a:off x="8141283" y="3933826"/>
            <a:ext cx="560346" cy="261937"/>
          </a:xfrm>
        </p:spPr>
        <p:txBody>
          <a:bodyPr/>
          <a:lstStyle>
            <a:lvl1pPr>
              <a:defRPr sz="1400" b="1"/>
            </a:lvl1pPr>
          </a:lstStyle>
          <a:p>
            <a:pPr lvl="0"/>
            <a:r>
              <a:rPr lang="en-US" dirty="0"/>
              <a:t>4 h</a:t>
            </a:r>
          </a:p>
        </p:txBody>
      </p:sp>
      <p:sp>
        <p:nvSpPr>
          <p:cNvPr id="22" name="Text Placeholder 21"/>
          <p:cNvSpPr>
            <a:spLocks noGrp="1"/>
          </p:cNvSpPr>
          <p:nvPr>
            <p:ph type="body" sz="quarter" idx="16"/>
          </p:nvPr>
        </p:nvSpPr>
        <p:spPr>
          <a:xfrm>
            <a:off x="476250" y="4410075"/>
            <a:ext cx="2224088" cy="1771651"/>
          </a:xfrm>
        </p:spPr>
        <p:txBody>
          <a:bodyPr/>
          <a:lstStyle>
            <a:lvl1pPr marL="266700" indent="-180975">
              <a:buClr>
                <a:schemeClr val="accent6"/>
              </a:buClr>
              <a:buFont typeface="Arial" pitchFamily="34" charset="0"/>
              <a:buChar char="•"/>
              <a:tabLst/>
              <a:defRPr sz="1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Box 25"/>
          <p:cNvSpPr txBox="1">
            <a:spLocks/>
          </p:cNvSpPr>
          <p:nvPr userDrawn="1"/>
        </p:nvSpPr>
        <p:spPr>
          <a:xfrm>
            <a:off x="466725" y="307975"/>
            <a:ext cx="7346950" cy="941388"/>
          </a:xfrm>
          <a:prstGeom prst="rect">
            <a:avLst/>
          </a:prstGeom>
          <a:noFill/>
        </p:spPr>
        <p:txBody>
          <a:bodyPr wrap="square" lIns="0" tIns="0" rIns="0" bIns="0" rtlCol="0" anchor="t" anchorCtr="0">
            <a:noAutofit/>
          </a:bodyPr>
          <a:lstStyle/>
          <a:p>
            <a:pPr eaLnBrk="0" fontAlgn="base" hangingPunct="0">
              <a:lnSpc>
                <a:spcPct val="90000"/>
              </a:lnSpc>
              <a:spcBef>
                <a:spcPct val="0"/>
              </a:spcBef>
              <a:spcAft>
                <a:spcPct val="0"/>
              </a:spcAft>
            </a:pPr>
            <a:r>
              <a:rPr lang="en-US" sz="2200" b="1" dirty="0">
                <a:solidFill>
                  <a:srgbClr val="000000"/>
                </a:solidFill>
              </a:rPr>
              <a:t>Content and targets</a:t>
            </a:r>
          </a:p>
        </p:txBody>
      </p:sp>
      <p:sp>
        <p:nvSpPr>
          <p:cNvPr id="27" name="Text Placeholder 21"/>
          <p:cNvSpPr>
            <a:spLocks noGrp="1"/>
          </p:cNvSpPr>
          <p:nvPr>
            <p:ph type="body" sz="quarter" idx="17"/>
          </p:nvPr>
        </p:nvSpPr>
        <p:spPr>
          <a:xfrm>
            <a:off x="3459956" y="4398963"/>
            <a:ext cx="2224088" cy="1771651"/>
          </a:xfrm>
        </p:spPr>
        <p:txBody>
          <a:bodyPr/>
          <a:lstStyle>
            <a:lvl1pPr marL="266700" indent="-180975">
              <a:buClr>
                <a:schemeClr val="accent6"/>
              </a:buClr>
              <a:buFont typeface="Arial" pitchFamily="34" charset="0"/>
              <a:buChar char="•"/>
              <a:tabLst/>
              <a:defRPr sz="1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405917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noProof="0" dirty="0"/>
          </a:p>
        </p:txBody>
      </p:sp>
      <p:sp>
        <p:nvSpPr>
          <p:cNvPr id="6"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EC89E607-7C21-4FA8-A1AB-0E215334EE4C}" type="datetime1">
              <a:rPr lang="en-US" smtClean="0">
                <a:solidFill>
                  <a:srgbClr val="000000"/>
                </a:solidFill>
              </a:rPr>
              <a:pPr/>
              <a:t>2/28/2019</a:t>
            </a:fld>
            <a:endParaRPr lang="en-US" dirty="0">
              <a:solidFill>
                <a:srgbClr val="000000"/>
              </a:solidFill>
            </a:endParaRPr>
          </a:p>
        </p:txBody>
      </p:sp>
      <p:sp>
        <p:nvSpPr>
          <p:cNvPr id="7"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dirty="0">
                <a:solidFill>
                  <a:srgbClr val="000000"/>
                </a:solidFill>
              </a:rPr>
              <a:t>Carl Zeiss Microscopy - ApoTome.2</a:t>
            </a:r>
          </a:p>
        </p:txBody>
      </p:sp>
      <p:sp>
        <p:nvSpPr>
          <p:cNvPr id="4" name="Text Placeholder 3"/>
          <p:cNvSpPr>
            <a:spLocks noGrp="1"/>
          </p:cNvSpPr>
          <p:nvPr>
            <p:ph type="body" sz="quarter" idx="13"/>
          </p:nvPr>
        </p:nvSpPr>
        <p:spPr>
          <a:xfrm>
            <a:off x="465138" y="2324025"/>
            <a:ext cx="360000" cy="331200"/>
          </a:xfrm>
          <a:solidFill>
            <a:srgbClr val="3B76B1"/>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rIns="0" anchor="ctr"/>
          <a:lstStyle>
            <a:lvl1pPr algn="ctr">
              <a:defRPr kumimoji="0" lang="en-US" sz="1800" b="1" i="0" u="none" strike="noStrike" kern="0" cap="none" spc="0" normalizeH="0" baseline="0" dirty="0" smtClean="0">
                <a:ln>
                  <a:noFill/>
                </a:ln>
                <a:solidFill>
                  <a:srgbClr val="FFFFFF"/>
                </a:solidFill>
                <a:effectLst/>
                <a:uLnTx/>
                <a:uFillTx/>
                <a:latin typeface="Arial" charset="0"/>
              </a:defRPr>
            </a:lvl1pPr>
            <a:lvl2pPr>
              <a:defRPr lang="en-US" kern="1200" dirty="0" smtClean="0">
                <a:latin typeface="Arial" charset="0"/>
                <a:ea typeface="+mn-ea"/>
                <a:cs typeface="+mn-cs"/>
              </a:defRPr>
            </a:lvl2pPr>
            <a:lvl3pPr>
              <a:defRPr lang="en-US" sz="1600" kern="1200" dirty="0" smtClean="0">
                <a:latin typeface="Arial" charset="0"/>
                <a:ea typeface="+mn-ea"/>
                <a:cs typeface="+mn-cs"/>
              </a:defRPr>
            </a:lvl3pPr>
            <a:lvl4pPr>
              <a:defRPr lang="en-US" sz="1600" kern="1200" dirty="0" smtClean="0">
                <a:latin typeface="Arial" charset="0"/>
                <a:ea typeface="+mn-ea"/>
                <a:cs typeface="+mn-cs"/>
              </a:defRPr>
            </a:lvl4pPr>
            <a:lvl5pPr>
              <a:defRPr lang="en-US" sz="1600" kern="1200" dirty="0">
                <a:latin typeface="Arial" charset="0"/>
                <a:ea typeface="+mn-ea"/>
                <a:cs typeface="+mn-cs"/>
              </a:defRPr>
            </a:lvl5pPr>
          </a:lstStyle>
          <a:p>
            <a:pPr marL="0" marR="0" lvl="0" indent="0" algn="ctr" defTabSz="914400" eaLnBrk="1" fontAlgn="auto" latinLnBrk="0" hangingPunct="1">
              <a:lnSpc>
                <a:spcPct val="100000"/>
              </a:lnSpc>
              <a:spcBef>
                <a:spcPts val="0"/>
              </a:spcBef>
              <a:spcAft>
                <a:spcPts val="0"/>
              </a:spcAft>
              <a:buClrTx/>
              <a:buSzTx/>
              <a:buFontTx/>
              <a:buNone/>
              <a:tabLst/>
            </a:pPr>
            <a:r>
              <a:rPr lang="en-US" dirty="0"/>
              <a:t>Click to edit Master text styles</a:t>
            </a:r>
          </a:p>
        </p:txBody>
      </p:sp>
      <p:sp>
        <p:nvSpPr>
          <p:cNvPr id="15" name="Text Placeholder 14"/>
          <p:cNvSpPr>
            <a:spLocks noGrp="1"/>
          </p:cNvSpPr>
          <p:nvPr>
            <p:ph type="body" sz="quarter" idx="14"/>
          </p:nvPr>
        </p:nvSpPr>
        <p:spPr>
          <a:xfrm>
            <a:off x="941301" y="2324025"/>
            <a:ext cx="7732800" cy="331200"/>
          </a:xfrm>
          <a:solidFill>
            <a:srgbClr val="C2DEF6"/>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hlink">
                      <a:gamma/>
                      <a:shade val="60000"/>
                      <a:invGamma/>
                    </a:schemeClr>
                  </a:outerShdw>
                </a:effectLst>
              </a14:hiddenEffects>
            </a:ext>
          </a:extLst>
        </p:spPr>
        <p:txBody>
          <a:bodyPr lIns="90000" anchor="ctr"/>
          <a:lstStyle>
            <a:lvl1pPr>
              <a:defRPr kumimoji="0" lang="en-US" sz="1800" b="1" i="0" u="none" strike="noStrike" kern="0" cap="none" spc="0" normalizeH="0" baseline="0" dirty="0" smtClean="0">
                <a:ln>
                  <a:noFill/>
                </a:ln>
                <a:solidFill>
                  <a:srgbClr val="3B76B1"/>
                </a:solidFill>
                <a:effectLst/>
                <a:uLnTx/>
                <a:uFillTx/>
                <a:latin typeface="Arial" charset="0"/>
              </a:defRPr>
            </a:lvl1pPr>
            <a:lvl2pPr>
              <a:defRPr lang="en-US" kern="1200" dirty="0" smtClean="0">
                <a:latin typeface="Arial" charset="0"/>
                <a:ea typeface="+mn-ea"/>
                <a:cs typeface="+mn-cs"/>
              </a:defRPr>
            </a:lvl2pPr>
            <a:lvl3pPr>
              <a:defRPr lang="en-US" sz="1600" kern="1200" dirty="0" smtClean="0">
                <a:latin typeface="Arial" charset="0"/>
                <a:ea typeface="+mn-ea"/>
                <a:cs typeface="+mn-cs"/>
              </a:defRPr>
            </a:lvl3pPr>
            <a:lvl4pPr>
              <a:defRPr lang="en-US" sz="1600" kern="1200" dirty="0" smtClean="0">
                <a:latin typeface="Arial" charset="0"/>
                <a:ea typeface="+mn-ea"/>
                <a:cs typeface="+mn-cs"/>
              </a:defRPr>
            </a:lvl4pPr>
            <a:lvl5pPr>
              <a:defRPr lang="en-US" sz="1600" kern="1200" dirty="0">
                <a:latin typeface="Arial" charset="0"/>
                <a:ea typeface="+mn-ea"/>
                <a:cs typeface="+mn-cs"/>
              </a:defRPr>
            </a:lvl5pPr>
          </a:lstStyle>
          <a:p>
            <a:pPr marL="0" marR="0" lvl="0" indent="0" defTabSz="914400" eaLnBrk="1" fontAlgn="auto" latinLnBrk="0" hangingPunct="1">
              <a:lnSpc>
                <a:spcPct val="100000"/>
              </a:lnSpc>
              <a:spcBef>
                <a:spcPts val="0"/>
              </a:spcBef>
              <a:spcAft>
                <a:spcPts val="0"/>
              </a:spcAft>
              <a:buClrTx/>
              <a:buSzTx/>
              <a:buFontTx/>
              <a:buNone/>
              <a:tabLst/>
            </a:pPr>
            <a:r>
              <a:rPr lang="en-US" dirty="0"/>
              <a:t>Click to edit Master text styles</a:t>
            </a:r>
          </a:p>
        </p:txBody>
      </p:sp>
      <p:sp>
        <p:nvSpPr>
          <p:cNvPr id="16" name="Text Placeholder 3"/>
          <p:cNvSpPr>
            <a:spLocks noGrp="1"/>
          </p:cNvSpPr>
          <p:nvPr>
            <p:ph type="body" sz="quarter" idx="15"/>
          </p:nvPr>
        </p:nvSpPr>
        <p:spPr>
          <a:xfrm>
            <a:off x="465138" y="2810400"/>
            <a:ext cx="360000" cy="331200"/>
          </a:xfrm>
          <a:solidFill>
            <a:srgbClr val="B2B2B2"/>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gamma/>
                      <a:shade val="60000"/>
                      <a:invGamma/>
                    </a:schemeClr>
                  </a:outerShdw>
                </a:effectLst>
              </a14:hiddenEffects>
            </a:ext>
          </a:extLst>
        </p:spPr>
        <p:txBody>
          <a:bodyPr wrap="none" rIns="0" anchor="ctr"/>
          <a:lstStyle>
            <a:lvl1pPr algn="ctr">
              <a:defRPr kumimoji="0" lang="en-US" sz="1800" i="0" u="none" strike="noStrike" kern="0" cap="none" spc="0" normalizeH="0" baseline="0" dirty="0" smtClean="0">
                <a:ln>
                  <a:noFill/>
                </a:ln>
                <a:solidFill>
                  <a:srgbClr val="000000"/>
                </a:solidFill>
                <a:effectLst/>
                <a:uLnTx/>
                <a:uFillTx/>
                <a:latin typeface="Arial" charset="0"/>
              </a:defRPr>
            </a:lvl1pPr>
          </a:lstStyle>
          <a:p>
            <a:pPr marL="0" marR="0" lvl="0" indent="0" algn="ctr" defTabSz="914400" eaLnBrk="1" fontAlgn="auto" latinLnBrk="0" hangingPunct="1">
              <a:lnSpc>
                <a:spcPct val="100000"/>
              </a:lnSpc>
              <a:spcBef>
                <a:spcPts val="0"/>
              </a:spcBef>
              <a:spcAft>
                <a:spcPts val="0"/>
              </a:spcAft>
              <a:buClrTx/>
              <a:buSzTx/>
              <a:buFontTx/>
              <a:buNone/>
              <a:tabLst/>
            </a:pPr>
            <a:r>
              <a:rPr lang="en-US" dirty="0"/>
              <a:t>Click to edit Master text styles</a:t>
            </a:r>
          </a:p>
        </p:txBody>
      </p:sp>
      <p:sp>
        <p:nvSpPr>
          <p:cNvPr id="17" name="Text Placeholder 14"/>
          <p:cNvSpPr>
            <a:spLocks noGrp="1"/>
          </p:cNvSpPr>
          <p:nvPr>
            <p:ph type="body" sz="quarter" idx="16"/>
          </p:nvPr>
        </p:nvSpPr>
        <p:spPr>
          <a:xfrm>
            <a:off x="941301" y="2810400"/>
            <a:ext cx="7732800" cy="331200"/>
          </a:xfrm>
          <a:solidFill>
            <a:srgbClr val="B2B2B2"/>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gamma/>
                      <a:shade val="60000"/>
                      <a:invGamma/>
                    </a:schemeClr>
                  </a:outerShdw>
                </a:effectLst>
              </a14:hiddenEffects>
            </a:ext>
          </a:extLst>
        </p:spPr>
        <p:txBody>
          <a:bodyPr lIns="90000" anchor="ctr"/>
          <a:lstStyle>
            <a:lvl1pPr>
              <a:defRPr kumimoji="0" lang="en-US" sz="1800" b="0" i="0" u="none" strike="noStrike" kern="0" cap="none" spc="0" normalizeH="0" baseline="0" dirty="0" smtClean="0">
                <a:ln>
                  <a:noFill/>
                </a:ln>
                <a:solidFill>
                  <a:sysClr val="windowText" lastClr="000000"/>
                </a:solidFill>
                <a:effectLst/>
                <a:uLnTx/>
                <a:uFillTx/>
                <a:latin typeface="Arial" charset="0"/>
              </a:defRPr>
            </a:lvl1pPr>
          </a:lstStyle>
          <a:p>
            <a:pPr marL="0" marR="0" lvl="0" indent="0" defTabSz="914400" eaLnBrk="1" fontAlgn="auto" latinLnBrk="0" hangingPunct="1">
              <a:lnSpc>
                <a:spcPct val="100000"/>
              </a:lnSpc>
              <a:spcBef>
                <a:spcPts val="0"/>
              </a:spcBef>
              <a:spcAft>
                <a:spcPts val="0"/>
              </a:spcAft>
              <a:buClrTx/>
              <a:buSzTx/>
              <a:buFontTx/>
              <a:buNone/>
              <a:tabLst/>
            </a:pPr>
            <a:r>
              <a:rPr lang="en-US" dirty="0"/>
              <a:t>Click to edit Master text styles</a:t>
            </a:r>
          </a:p>
        </p:txBody>
      </p:sp>
    </p:spTree>
    <p:extLst>
      <p:ext uri="{BB962C8B-B14F-4D97-AF65-F5344CB8AC3E}">
        <p14:creationId xmlns:p14="http://schemas.microsoft.com/office/powerpoint/2010/main" val="6305303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3" name="Content Placeholder 2"/>
          <p:cNvSpPr>
            <a:spLocks noGrp="1"/>
          </p:cNvSpPr>
          <p:nvPr>
            <p:ph idx="1"/>
          </p:nvPr>
        </p:nvSpPr>
        <p:spPr>
          <a:xfrm>
            <a:off x="466725" y="1708151"/>
            <a:ext cx="8215853" cy="446246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1C418E1A-77BD-4F02-B8D2-F1BA1E70FD6E}" type="datetime1">
              <a:rPr lang="en-US" smtClean="0">
                <a:solidFill>
                  <a:srgbClr val="000000"/>
                </a:solidFill>
              </a:rPr>
              <a:pPr/>
              <a:t>2/28/2019</a:t>
            </a:fld>
            <a:endParaRPr lang="en-US" dirty="0">
              <a:solidFill>
                <a:srgbClr val="000000"/>
              </a:solidFill>
            </a:endParaRPr>
          </a:p>
        </p:txBody>
      </p:sp>
      <p:sp>
        <p:nvSpPr>
          <p:cNvPr id="6"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dirty="0">
                <a:solidFill>
                  <a:srgbClr val="000000"/>
                </a:solidFill>
              </a:rPr>
              <a:t>Carl Zeiss Microscopy - ApoTome.2</a:t>
            </a:r>
          </a:p>
        </p:txBody>
      </p:sp>
    </p:spTree>
    <p:extLst>
      <p:ext uri="{BB962C8B-B14F-4D97-AF65-F5344CB8AC3E}">
        <p14:creationId xmlns:p14="http://schemas.microsoft.com/office/powerpoint/2010/main" val="18470257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Image as Illustra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3" name="Content Placeholder 2"/>
          <p:cNvSpPr>
            <a:spLocks noGrp="1"/>
          </p:cNvSpPr>
          <p:nvPr>
            <p:ph idx="1"/>
          </p:nvPr>
        </p:nvSpPr>
        <p:spPr>
          <a:xfrm>
            <a:off x="466725" y="1708151"/>
            <a:ext cx="5726113" cy="446246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AEDDA57E-A87A-478C-AFD6-699E67A57F25}" type="datetime1">
              <a:rPr lang="en-US" smtClean="0">
                <a:solidFill>
                  <a:srgbClr val="000000"/>
                </a:solidFill>
              </a:rPr>
              <a:pPr/>
              <a:t>2/28/2019</a:t>
            </a:fld>
            <a:endParaRPr lang="en-US" dirty="0">
              <a:solidFill>
                <a:srgbClr val="000000"/>
              </a:solidFill>
            </a:endParaRPr>
          </a:p>
        </p:txBody>
      </p:sp>
      <p:sp>
        <p:nvSpPr>
          <p:cNvPr id="6"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dirty="0">
                <a:solidFill>
                  <a:srgbClr val="000000"/>
                </a:solidFill>
              </a:rPr>
              <a:t>Carl Zeiss Microscopy - ApoTome.2</a:t>
            </a:r>
          </a:p>
        </p:txBody>
      </p:sp>
    </p:spTree>
    <p:extLst>
      <p:ext uri="{BB962C8B-B14F-4D97-AF65-F5344CB8AC3E}">
        <p14:creationId xmlns:p14="http://schemas.microsoft.com/office/powerpoint/2010/main" val="9200785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Workflow">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3" name="Content Placeholder 2"/>
          <p:cNvSpPr>
            <a:spLocks noGrp="1"/>
          </p:cNvSpPr>
          <p:nvPr>
            <p:ph idx="1"/>
          </p:nvPr>
        </p:nvSpPr>
        <p:spPr>
          <a:xfrm>
            <a:off x="466725" y="1708151"/>
            <a:ext cx="8215853" cy="446246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72C8A408-D2DD-4327-8D81-DAAB5E327C23}" type="datetime1">
              <a:rPr lang="en-US" smtClean="0">
                <a:solidFill>
                  <a:srgbClr val="000000"/>
                </a:solidFill>
              </a:rPr>
              <a:pPr/>
              <a:t>2/28/2019</a:t>
            </a:fld>
            <a:endParaRPr lang="en-US" dirty="0">
              <a:solidFill>
                <a:srgbClr val="000000"/>
              </a:solidFill>
            </a:endParaRPr>
          </a:p>
        </p:txBody>
      </p:sp>
      <p:sp>
        <p:nvSpPr>
          <p:cNvPr id="6"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dirty="0">
                <a:solidFill>
                  <a:srgbClr val="000000"/>
                </a:solidFill>
              </a:rPr>
              <a:t>Carl Zeiss Microscopy - ApoTome.2</a:t>
            </a:r>
          </a:p>
        </p:txBody>
      </p:sp>
      <p:sp>
        <p:nvSpPr>
          <p:cNvPr id="4" name="Right Triangle 3"/>
          <p:cNvSpPr/>
          <p:nvPr userDrawn="1"/>
        </p:nvSpPr>
        <p:spPr bwMode="auto">
          <a:xfrm rot="5400000">
            <a:off x="-33338" y="33338"/>
            <a:ext cx="819149" cy="752475"/>
          </a:xfrm>
          <a:prstGeom prst="rtTriangle">
            <a:avLst/>
          </a:prstGeom>
          <a:solidFill>
            <a:schemeClr val="accent5"/>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dirty="0">
              <a:solidFill>
                <a:srgbClr val="000000"/>
              </a:solidFill>
            </a:endParaRPr>
          </a:p>
        </p:txBody>
      </p:sp>
      <p:sp>
        <p:nvSpPr>
          <p:cNvPr id="7" name="TextBox 6"/>
          <p:cNvSpPr txBox="1"/>
          <p:nvPr userDrawn="1"/>
        </p:nvSpPr>
        <p:spPr>
          <a:xfrm rot="18900000">
            <a:off x="-161083" y="31751"/>
            <a:ext cx="914400" cy="457200"/>
          </a:xfrm>
          <a:prstGeom prst="rect">
            <a:avLst/>
          </a:prstGeom>
          <a:noFill/>
        </p:spPr>
        <p:txBody>
          <a:bodyPr wrap="none" rtlCol="0" anchor="ctr">
            <a:noAutofit/>
          </a:bodyPr>
          <a:lstStyle/>
          <a:p>
            <a:pPr algn="ctr" eaLnBrk="0" fontAlgn="base" hangingPunct="0">
              <a:spcBef>
                <a:spcPct val="0"/>
              </a:spcBef>
              <a:spcAft>
                <a:spcPct val="0"/>
              </a:spcAft>
            </a:pPr>
            <a:r>
              <a:rPr lang="en-US" sz="1200" b="1" dirty="0">
                <a:solidFill>
                  <a:srgbClr val="FFFFFF"/>
                </a:solidFill>
              </a:rPr>
              <a:t>Workflow</a:t>
            </a:r>
          </a:p>
        </p:txBody>
      </p:sp>
    </p:spTree>
    <p:extLst>
      <p:ext uri="{BB962C8B-B14F-4D97-AF65-F5344CB8AC3E}">
        <p14:creationId xmlns:p14="http://schemas.microsoft.com/office/powerpoint/2010/main" val="29933165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Exerci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3" name="Content Placeholder 2"/>
          <p:cNvSpPr>
            <a:spLocks noGrp="1"/>
          </p:cNvSpPr>
          <p:nvPr>
            <p:ph idx="1"/>
          </p:nvPr>
        </p:nvSpPr>
        <p:spPr>
          <a:xfrm>
            <a:off x="466725" y="1708151"/>
            <a:ext cx="5726113" cy="446246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D9BCAE70-9CDE-41C3-A0DA-0DD111289994}" type="datetime1">
              <a:rPr lang="en-US" smtClean="0">
                <a:solidFill>
                  <a:srgbClr val="000000"/>
                </a:solidFill>
              </a:rPr>
              <a:pPr/>
              <a:t>2/28/2019</a:t>
            </a:fld>
            <a:endParaRPr lang="en-US" dirty="0">
              <a:solidFill>
                <a:srgbClr val="000000"/>
              </a:solidFill>
            </a:endParaRPr>
          </a:p>
        </p:txBody>
      </p:sp>
      <p:sp>
        <p:nvSpPr>
          <p:cNvPr id="6"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dirty="0">
                <a:solidFill>
                  <a:srgbClr val="000000"/>
                </a:solidFill>
              </a:rPr>
              <a:t>Carl Zeiss Microscopy - ApoTome.2</a:t>
            </a:r>
          </a:p>
        </p:txBody>
      </p:sp>
      <p:sp>
        <p:nvSpPr>
          <p:cNvPr id="4" name="Right Triangle 3"/>
          <p:cNvSpPr/>
          <p:nvPr userDrawn="1"/>
        </p:nvSpPr>
        <p:spPr bwMode="auto">
          <a:xfrm rot="5400000">
            <a:off x="-33338" y="33338"/>
            <a:ext cx="819149" cy="752475"/>
          </a:xfrm>
          <a:prstGeom prst="rtTriangle">
            <a:avLst/>
          </a:prstGeom>
          <a:solidFill>
            <a:srgbClr val="92D050"/>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dirty="0">
              <a:solidFill>
                <a:srgbClr val="000000"/>
              </a:solidFill>
            </a:endParaRPr>
          </a:p>
        </p:txBody>
      </p:sp>
      <p:sp>
        <p:nvSpPr>
          <p:cNvPr id="7" name="TextBox 6"/>
          <p:cNvSpPr txBox="1"/>
          <p:nvPr userDrawn="1"/>
        </p:nvSpPr>
        <p:spPr>
          <a:xfrm rot="18900000">
            <a:off x="-161083" y="31751"/>
            <a:ext cx="914400" cy="457200"/>
          </a:xfrm>
          <a:prstGeom prst="rect">
            <a:avLst/>
          </a:prstGeom>
          <a:noFill/>
        </p:spPr>
        <p:txBody>
          <a:bodyPr wrap="none" rtlCol="0" anchor="ctr">
            <a:noAutofit/>
          </a:bodyPr>
          <a:lstStyle/>
          <a:p>
            <a:pPr algn="ctr" eaLnBrk="0" fontAlgn="base" hangingPunct="0">
              <a:spcBef>
                <a:spcPct val="0"/>
              </a:spcBef>
              <a:spcAft>
                <a:spcPct val="0"/>
              </a:spcAft>
            </a:pPr>
            <a:r>
              <a:rPr lang="en-US" sz="1200" b="1" dirty="0">
                <a:solidFill>
                  <a:srgbClr val="FFFFFF"/>
                </a:solidFill>
              </a:rPr>
              <a:t>Exercise</a:t>
            </a:r>
          </a:p>
        </p:txBody>
      </p:sp>
      <p:sp>
        <p:nvSpPr>
          <p:cNvPr id="10" name="Text Placeholder 9"/>
          <p:cNvSpPr>
            <a:spLocks noGrp="1"/>
          </p:cNvSpPr>
          <p:nvPr>
            <p:ph type="body" sz="quarter" idx="13"/>
          </p:nvPr>
        </p:nvSpPr>
        <p:spPr>
          <a:xfrm>
            <a:off x="6192838" y="1708150"/>
            <a:ext cx="2501900" cy="4462463"/>
          </a:xfrm>
          <a:solidFill>
            <a:schemeClr val="bg1">
              <a:lumMod val="85000"/>
            </a:schemeClr>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92488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F765975-A351-42C2-A247-B41DB5844E41}" type="datetimeFigureOut">
              <a:rPr lang="en-US" smtClean="0">
                <a:solidFill>
                  <a:prstClr val="black">
                    <a:tint val="75000"/>
                  </a:prstClr>
                </a:solidFill>
              </a:rPr>
              <a:pPr/>
              <a:t>2/28/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3364355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ext &amp; Screensho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3" name="Content Placeholder 2"/>
          <p:cNvSpPr>
            <a:spLocks noGrp="1"/>
          </p:cNvSpPr>
          <p:nvPr>
            <p:ph idx="1"/>
          </p:nvPr>
        </p:nvSpPr>
        <p:spPr>
          <a:xfrm>
            <a:off x="5580114" y="1719263"/>
            <a:ext cx="3102467" cy="4462463"/>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6559661A-BCD0-4826-9F84-87A8DB421AAC}" type="datetime1">
              <a:rPr lang="en-US" smtClean="0">
                <a:solidFill>
                  <a:srgbClr val="000000"/>
                </a:solidFill>
              </a:rPr>
              <a:pPr/>
              <a:t>2/28/2019</a:t>
            </a:fld>
            <a:endParaRPr lang="en-US" dirty="0">
              <a:solidFill>
                <a:srgbClr val="000000"/>
              </a:solidFill>
            </a:endParaRPr>
          </a:p>
        </p:txBody>
      </p:sp>
      <p:sp>
        <p:nvSpPr>
          <p:cNvPr id="6"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dirty="0">
                <a:solidFill>
                  <a:srgbClr val="000000"/>
                </a:solidFill>
              </a:rPr>
              <a:t>Carl Zeiss Microscopy - ApoTome.2</a:t>
            </a:r>
          </a:p>
        </p:txBody>
      </p:sp>
    </p:spTree>
    <p:extLst>
      <p:ext uri="{BB962C8B-B14F-4D97-AF65-F5344CB8AC3E}">
        <p14:creationId xmlns:p14="http://schemas.microsoft.com/office/powerpoint/2010/main" val="5974587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p:spPr>
        <p:txBody>
          <a:bodyPr/>
          <a:lstStyle>
            <a:lvl1pPr algn="l">
              <a:defRPr sz="4000" b="1" cap="all"/>
            </a:lvl1pPr>
          </a:lstStyle>
          <a:p>
            <a:r>
              <a:rPr lang="en-US" noProof="0"/>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noProof="0"/>
              <a:t>Click to edit Master text styles</a:t>
            </a:r>
          </a:p>
        </p:txBody>
      </p:sp>
      <p:sp>
        <p:nvSpPr>
          <p:cNvPr id="5"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E52D8D66-5C91-4198-8172-A3845D54ACF0}" type="datetime1">
              <a:rPr lang="en-US" smtClean="0">
                <a:solidFill>
                  <a:srgbClr val="000000"/>
                </a:solidFill>
              </a:rPr>
              <a:pPr/>
              <a:t>2/28/2019</a:t>
            </a:fld>
            <a:endParaRPr lang="en-US" dirty="0">
              <a:solidFill>
                <a:srgbClr val="000000"/>
              </a:solidFill>
            </a:endParaRPr>
          </a:p>
        </p:txBody>
      </p:sp>
      <p:sp>
        <p:nvSpPr>
          <p:cNvPr id="6"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dirty="0">
                <a:solidFill>
                  <a:srgbClr val="000000"/>
                </a:solidFill>
              </a:rPr>
              <a:t>Carl Zeiss Microscopy - ApoTome.2</a:t>
            </a:r>
          </a:p>
        </p:txBody>
      </p:sp>
    </p:spTree>
    <p:extLst>
      <p:ext uri="{BB962C8B-B14F-4D97-AF65-F5344CB8AC3E}">
        <p14:creationId xmlns:p14="http://schemas.microsoft.com/office/powerpoint/2010/main" val="8214434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3" name="Content Placeholder 2"/>
          <p:cNvSpPr>
            <a:spLocks noGrp="1"/>
          </p:cNvSpPr>
          <p:nvPr>
            <p:ph sz="half" idx="1"/>
          </p:nvPr>
        </p:nvSpPr>
        <p:spPr>
          <a:xfrm>
            <a:off x="466725" y="1708151"/>
            <a:ext cx="4027488" cy="44624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Content Placeholder 3"/>
          <p:cNvSpPr>
            <a:spLocks noGrp="1"/>
          </p:cNvSpPr>
          <p:nvPr>
            <p:ph sz="half" idx="2"/>
          </p:nvPr>
        </p:nvSpPr>
        <p:spPr>
          <a:xfrm>
            <a:off x="4646614" y="1708151"/>
            <a:ext cx="4029075" cy="44624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F182EFAA-752B-4318-B755-1E288B831962}" type="datetime1">
              <a:rPr lang="en-US" smtClean="0">
                <a:solidFill>
                  <a:srgbClr val="000000"/>
                </a:solidFill>
              </a:rPr>
              <a:pPr/>
              <a:t>2/28/2019</a:t>
            </a:fld>
            <a:endParaRPr lang="en-US" dirty="0">
              <a:solidFill>
                <a:srgbClr val="000000"/>
              </a:solidFill>
            </a:endParaRPr>
          </a:p>
        </p:txBody>
      </p:sp>
      <p:sp>
        <p:nvSpPr>
          <p:cNvPr id="6"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7"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dirty="0">
                <a:solidFill>
                  <a:srgbClr val="000000"/>
                </a:solidFill>
              </a:rPr>
              <a:t>Carl Zeiss Microscopy - ApoTome.2</a:t>
            </a:r>
          </a:p>
        </p:txBody>
      </p:sp>
    </p:spTree>
    <p:extLst>
      <p:ext uri="{BB962C8B-B14F-4D97-AF65-F5344CB8AC3E}">
        <p14:creationId xmlns:p14="http://schemas.microsoft.com/office/powerpoint/2010/main" val="30537004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4637"/>
            <a:ext cx="7356475" cy="1143000"/>
          </a:xfrm>
        </p:spPr>
        <p:txBody>
          <a:bodyPr/>
          <a:lstStyle>
            <a:lvl1pPr>
              <a:defRPr/>
            </a:lvl1pPr>
          </a:lstStyle>
          <a:p>
            <a:r>
              <a:rPr lang="en-US" noProof="0"/>
              <a:t>Click to edit Master title style</a:t>
            </a:r>
          </a:p>
        </p:txBody>
      </p:sp>
      <p:sp>
        <p:nvSpPr>
          <p:cNvPr id="3" name="Text Placeholder 2"/>
          <p:cNvSpPr>
            <a:spLocks noGrp="1"/>
          </p:cNvSpPr>
          <p:nvPr>
            <p:ph type="body" idx="1"/>
          </p:nvPr>
        </p:nvSpPr>
        <p:spPr>
          <a:xfrm>
            <a:off x="457200" y="1711325"/>
            <a:ext cx="4040188" cy="69631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4" name="Content Placeholder 3"/>
          <p:cNvSpPr>
            <a:spLocks noGrp="1"/>
          </p:cNvSpPr>
          <p:nvPr>
            <p:ph sz="half" idx="2"/>
          </p:nvPr>
        </p:nvSpPr>
        <p:spPr>
          <a:xfrm>
            <a:off x="457200" y="2407639"/>
            <a:ext cx="4040188" cy="37185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4"/>
          <p:cNvSpPr>
            <a:spLocks noGrp="1"/>
          </p:cNvSpPr>
          <p:nvPr>
            <p:ph type="body" sz="quarter" idx="3"/>
          </p:nvPr>
        </p:nvSpPr>
        <p:spPr>
          <a:xfrm>
            <a:off x="4645027" y="1711325"/>
            <a:ext cx="4041775" cy="69631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s</a:t>
            </a:r>
          </a:p>
        </p:txBody>
      </p:sp>
      <p:sp>
        <p:nvSpPr>
          <p:cNvPr id="6" name="Content Placeholder 5"/>
          <p:cNvSpPr>
            <a:spLocks noGrp="1"/>
          </p:cNvSpPr>
          <p:nvPr>
            <p:ph sz="quarter" idx="4"/>
          </p:nvPr>
        </p:nvSpPr>
        <p:spPr>
          <a:xfrm>
            <a:off x="4645027" y="2407639"/>
            <a:ext cx="4041775" cy="37185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F5F6D4AA-30BA-4E0E-92C0-2DA800ADFE2F}" type="datetime1">
              <a:rPr lang="en-US" smtClean="0">
                <a:solidFill>
                  <a:srgbClr val="000000"/>
                </a:solidFill>
              </a:rPr>
              <a:pPr/>
              <a:t>2/28/2019</a:t>
            </a:fld>
            <a:endParaRPr lang="en-US" dirty="0">
              <a:solidFill>
                <a:srgbClr val="000000"/>
              </a:solidFill>
            </a:endParaRPr>
          </a:p>
        </p:txBody>
      </p:sp>
      <p:sp>
        <p:nvSpPr>
          <p:cNvPr id="11"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12"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dirty="0">
                <a:solidFill>
                  <a:srgbClr val="000000"/>
                </a:solidFill>
              </a:rPr>
              <a:t>Carl Zeiss Microscopy - ApoTome.2</a:t>
            </a:r>
          </a:p>
        </p:txBody>
      </p:sp>
    </p:spTree>
    <p:extLst>
      <p:ext uri="{BB962C8B-B14F-4D97-AF65-F5344CB8AC3E}">
        <p14:creationId xmlns:p14="http://schemas.microsoft.com/office/powerpoint/2010/main" val="3613321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lick to edit Master title style</a:t>
            </a: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dirty="0">
                <a:solidFill>
                  <a:srgbClr val="000000"/>
                </a:solidFill>
              </a:rPr>
              <a:t>Carl Zeiss Microscopy - ApoTome.2</a:t>
            </a:r>
          </a:p>
        </p:txBody>
      </p:sp>
    </p:spTree>
    <p:extLst>
      <p:ext uri="{BB962C8B-B14F-4D97-AF65-F5344CB8AC3E}">
        <p14:creationId xmlns:p14="http://schemas.microsoft.com/office/powerpoint/2010/main" val="16125872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0"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dirty="0">
                <a:solidFill>
                  <a:srgbClr val="000000"/>
                </a:solidFill>
              </a:rPr>
              <a:t>Carl Zeiss Microscopy - ApoTome.2</a:t>
            </a:r>
          </a:p>
        </p:txBody>
      </p:sp>
    </p:spTree>
    <p:extLst>
      <p:ext uri="{BB962C8B-B14F-4D97-AF65-F5344CB8AC3E}">
        <p14:creationId xmlns:p14="http://schemas.microsoft.com/office/powerpoint/2010/main" val="9688023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49"/>
            <a:ext cx="3008313" cy="1162051"/>
          </a:xfrm>
        </p:spPr>
        <p:txBody>
          <a:bodyPr anchor="b"/>
          <a:lstStyle>
            <a:lvl1pPr algn="l">
              <a:defRPr sz="2000" b="1"/>
            </a:lvl1pPr>
          </a:lstStyle>
          <a:p>
            <a:r>
              <a:rPr lang="en-US" noProof="0"/>
              <a:t>Click to edit Master title style</a:t>
            </a:r>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a:t>Click to edit Master text styles</a:t>
            </a:r>
          </a:p>
        </p:txBody>
      </p:sp>
      <p:sp>
        <p:nvSpPr>
          <p:cNvPr id="10"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dirty="0">
                <a:solidFill>
                  <a:srgbClr val="000000"/>
                </a:solidFill>
              </a:rPr>
              <a:t>Carl Zeiss Microscopy - ApoTome.2</a:t>
            </a:r>
          </a:p>
        </p:txBody>
      </p:sp>
    </p:spTree>
    <p:extLst>
      <p:ext uri="{BB962C8B-B14F-4D97-AF65-F5344CB8AC3E}">
        <p14:creationId xmlns:p14="http://schemas.microsoft.com/office/powerpoint/2010/main" val="34618144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9"/>
          </a:xfrm>
        </p:spPr>
        <p:txBody>
          <a:bodyPr anchor="b"/>
          <a:lstStyle>
            <a:lvl1pPr algn="l">
              <a:defRPr sz="2000" b="1"/>
            </a:lvl1pPr>
          </a:lstStyle>
          <a:p>
            <a:r>
              <a:rPr lang="en-US" noProof="0"/>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noProof="0"/>
          </a:p>
        </p:txBody>
      </p:sp>
      <p:sp>
        <p:nvSpPr>
          <p:cNvPr id="4" name="Text Placeholder 3"/>
          <p:cNvSpPr>
            <a:spLocks noGrp="1"/>
          </p:cNvSpPr>
          <p:nvPr>
            <p:ph type="body" sz="half" idx="2"/>
          </p:nvPr>
        </p:nvSpPr>
        <p:spPr>
          <a:xfrm>
            <a:off x="1792288" y="536733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a:t>Click to edit Master text styles</a:t>
            </a:r>
          </a:p>
        </p:txBody>
      </p:sp>
      <p:sp>
        <p:nvSpPr>
          <p:cNvPr id="10"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dirty="0">
                <a:solidFill>
                  <a:srgbClr val="000000"/>
                </a:solidFill>
              </a:rPr>
              <a:t>Carl Zeiss Microscopy - ApoTome.2</a:t>
            </a:r>
          </a:p>
        </p:txBody>
      </p:sp>
    </p:spTree>
    <p:extLst>
      <p:ext uri="{BB962C8B-B14F-4D97-AF65-F5344CB8AC3E}">
        <p14:creationId xmlns:p14="http://schemas.microsoft.com/office/powerpoint/2010/main" val="24666886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3" name="Vertical Text Placeholder 2"/>
          <p:cNvSpPr>
            <a:spLocks noGrp="1"/>
          </p:cNvSpPr>
          <p:nvPr>
            <p:ph type="body" orient="vert" idx="1"/>
          </p:nvPr>
        </p:nvSpPr>
        <p:spPr/>
        <p:txBody>
          <a:bodyPr vert="eaVert"/>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C4D59253-48A3-4426-8AD9-A688E721B712}" type="datetime1">
              <a:rPr lang="en-US" smtClean="0">
                <a:solidFill>
                  <a:srgbClr val="000000"/>
                </a:solidFill>
              </a:rPr>
              <a:pPr/>
              <a:t>2/28/2019</a:t>
            </a:fld>
            <a:endParaRPr lang="en-US" dirty="0">
              <a:solidFill>
                <a:srgbClr val="000000"/>
              </a:solidFill>
            </a:endParaRPr>
          </a:p>
        </p:txBody>
      </p:sp>
      <p:sp>
        <p:nvSpPr>
          <p:cNvPr id="8"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9"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dirty="0">
                <a:solidFill>
                  <a:srgbClr val="000000"/>
                </a:solidFill>
              </a:rPr>
              <a:t>Carl Zeiss Microscopy - ApoTome.2</a:t>
            </a:r>
          </a:p>
        </p:txBody>
      </p:sp>
    </p:spTree>
    <p:extLst>
      <p:ext uri="{BB962C8B-B14F-4D97-AF65-F5344CB8AC3E}">
        <p14:creationId xmlns:p14="http://schemas.microsoft.com/office/powerpoint/2010/main" val="9026928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4638" y="307975"/>
            <a:ext cx="2051050" cy="5862639"/>
          </a:xfrm>
        </p:spPr>
        <p:txBody>
          <a:bodyPr vert="eaVert"/>
          <a:lstStyle/>
          <a:p>
            <a:r>
              <a:rPr lang="en-US" noProof="0"/>
              <a:t>Click to edit Master title style</a:t>
            </a:r>
          </a:p>
        </p:txBody>
      </p:sp>
      <p:sp>
        <p:nvSpPr>
          <p:cNvPr id="3" name="Vertical Text Placeholder 2"/>
          <p:cNvSpPr>
            <a:spLocks noGrp="1"/>
          </p:cNvSpPr>
          <p:nvPr>
            <p:ph type="body" orient="vert" idx="1"/>
          </p:nvPr>
        </p:nvSpPr>
        <p:spPr>
          <a:xfrm>
            <a:off x="466725" y="307975"/>
            <a:ext cx="6005513" cy="5862639"/>
          </a:xfrm>
        </p:spPr>
        <p:txBody>
          <a:bodyPr vert="eaVert"/>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14F14613-6E7E-4B48-ABA0-4EE1F57DEA0E}" type="datetime1">
              <a:rPr lang="en-US" smtClean="0">
                <a:solidFill>
                  <a:srgbClr val="000000"/>
                </a:solidFill>
              </a:rPr>
              <a:pPr/>
              <a:t>2/28/2019</a:t>
            </a:fld>
            <a:endParaRPr lang="en-US" dirty="0">
              <a:solidFill>
                <a:srgbClr val="000000"/>
              </a:solidFill>
            </a:endParaRPr>
          </a:p>
        </p:txBody>
      </p:sp>
      <p:sp>
        <p:nvSpPr>
          <p:cNvPr id="5"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6"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dirty="0">
                <a:solidFill>
                  <a:srgbClr val="000000"/>
                </a:solidFill>
              </a:rPr>
              <a:t>Carl Zeiss Microscopy - ApoTome.2</a:t>
            </a:r>
          </a:p>
        </p:txBody>
      </p:sp>
    </p:spTree>
    <p:extLst>
      <p:ext uri="{BB962C8B-B14F-4D97-AF65-F5344CB8AC3E}">
        <p14:creationId xmlns:p14="http://schemas.microsoft.com/office/powerpoint/2010/main" val="41239775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F765975-A351-42C2-A247-B41DB5844E41}" type="datetimeFigureOut">
              <a:rPr lang="en-US" smtClean="0">
                <a:solidFill>
                  <a:prstClr val="black">
                    <a:tint val="75000"/>
                  </a:prstClr>
                </a:solidFill>
              </a:rPr>
              <a:pPr/>
              <a:t>2/28/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9826110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ast Slide">
    <p:spTree>
      <p:nvGrpSpPr>
        <p:cNvPr id="1" name=""/>
        <p:cNvGrpSpPr/>
        <p:nvPr/>
      </p:nvGrpSpPr>
      <p:grpSpPr>
        <a:xfrm>
          <a:off x="0" y="0"/>
          <a:ext cx="0" cy="0"/>
          <a:chOff x="0" y="0"/>
          <a:chExt cx="0" cy="0"/>
        </a:xfrm>
      </p:grpSpPr>
      <p:sp>
        <p:nvSpPr>
          <p:cNvPr id="7" name="Rectangle 6"/>
          <p:cNvSpPr/>
          <p:nvPr userDrawn="1"/>
        </p:nvSpPr>
        <p:spPr bwMode="auto">
          <a:xfrm>
            <a:off x="0" y="-10779"/>
            <a:ext cx="9144000" cy="6868779"/>
          </a:xfrm>
          <a:prstGeom prst="rect">
            <a:avLst/>
          </a:prstGeom>
          <a:solidFill>
            <a:srgbClr val="FFFFFD"/>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pic>
        <p:nvPicPr>
          <p:cNvPr id="6" name="Picture 48" descr="Logo_mit_Claim_transp"/>
          <p:cNvPicPr>
            <a:picLocks noChangeAspect="1" noChangeArrowheads="1"/>
          </p:cNvPicPr>
          <p:nvPr userDrawn="1">
            <p:custDataLst>
              <p:tags r:id="rId1"/>
            </p:custDataLst>
          </p:nvPr>
        </p:nvPicPr>
        <p:blipFill>
          <a:blip r:embed="rId3" cstate="screen">
            <a:extLst>
              <a:ext uri="{28A0092B-C50C-407E-A947-70E740481C1C}">
                <a14:useLocalDpi xmlns:a14="http://schemas.microsoft.com/office/drawing/2010/main"/>
              </a:ext>
            </a:extLst>
          </a:blip>
          <a:srcRect/>
          <a:stretch>
            <a:fillRect/>
          </a:stretch>
        </p:blipFill>
        <p:spPr bwMode="auto">
          <a:xfrm>
            <a:off x="3416302" y="2193925"/>
            <a:ext cx="2308225" cy="19494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56364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3251205" name="Rectangle 5"/>
          <p:cNvSpPr>
            <a:spLocks noGrp="1" noChangeArrowheads="1"/>
          </p:cNvSpPr>
          <p:nvPr>
            <p:ph type="ctrTitle" sz="quarter"/>
          </p:nvPr>
        </p:nvSpPr>
        <p:spPr>
          <a:xfrm>
            <a:off x="466725" y="268288"/>
            <a:ext cx="6208713" cy="928687"/>
          </a:xfrm>
        </p:spPr>
        <p:txBody>
          <a:bodyPr/>
          <a:lstStyle>
            <a:lvl1pPr>
              <a:defRPr sz="2400"/>
            </a:lvl1pPr>
          </a:lstStyle>
          <a:p>
            <a:pPr lvl="0"/>
            <a:r>
              <a:rPr lang="de-DE" noProof="0"/>
              <a:t>Titelmasterformat durch Klicken bearbeiten</a:t>
            </a:r>
          </a:p>
        </p:txBody>
      </p:sp>
      <p:sp>
        <p:nvSpPr>
          <p:cNvPr id="3251215" name="Freeform 15"/>
          <p:cNvSpPr>
            <a:spLocks noEditPoints="1"/>
          </p:cNvSpPr>
          <p:nvPr>
            <p:custDataLst>
              <p:tags r:id="rId1"/>
            </p:custDataLst>
          </p:nvPr>
        </p:nvSpPr>
        <p:spPr bwMode="auto">
          <a:xfrm>
            <a:off x="8216900" y="379413"/>
            <a:ext cx="463550" cy="488950"/>
          </a:xfrm>
          <a:custGeom>
            <a:avLst/>
            <a:gdLst>
              <a:gd name="T0" fmla="*/ 743 w 4092"/>
              <a:gd name="T1" fmla="*/ 3836 h 4104"/>
              <a:gd name="T2" fmla="*/ 1652 w 4092"/>
              <a:gd name="T3" fmla="*/ 3680 h 4104"/>
              <a:gd name="T4" fmla="*/ 2573 w 4092"/>
              <a:gd name="T5" fmla="*/ 3692 h 4104"/>
              <a:gd name="T6" fmla="*/ 3476 w 4092"/>
              <a:gd name="T7" fmla="*/ 3873 h 4104"/>
              <a:gd name="T8" fmla="*/ 0 w 4092"/>
              <a:gd name="T9" fmla="*/ 0 h 4104"/>
              <a:gd name="T10" fmla="*/ 3802 w 4092"/>
              <a:gd name="T11" fmla="*/ 1443 h 4104"/>
              <a:gd name="T12" fmla="*/ 3712 w 4092"/>
              <a:gd name="T13" fmla="*/ 1281 h 4104"/>
              <a:gd name="T14" fmla="*/ 3509 w 4092"/>
              <a:gd name="T15" fmla="*/ 1254 h 4104"/>
              <a:gd name="T16" fmla="*/ 3662 w 4092"/>
              <a:gd name="T17" fmla="*/ 1523 h 4104"/>
              <a:gd name="T18" fmla="*/ 3865 w 4092"/>
              <a:gd name="T19" fmla="*/ 1799 h 4104"/>
              <a:gd name="T20" fmla="*/ 3900 w 4092"/>
              <a:gd name="T21" fmla="*/ 2004 h 4104"/>
              <a:gd name="T22" fmla="*/ 3313 w 4092"/>
              <a:gd name="T23" fmla="*/ 1825 h 4104"/>
              <a:gd name="T24" fmla="*/ 3412 w 4092"/>
              <a:gd name="T25" fmla="*/ 1939 h 4104"/>
              <a:gd name="T26" fmla="*/ 3572 w 4092"/>
              <a:gd name="T27" fmla="*/ 1876 h 4104"/>
              <a:gd name="T28" fmla="*/ 3353 w 4092"/>
              <a:gd name="T29" fmla="*/ 1570 h 4104"/>
              <a:gd name="T30" fmla="*/ 3203 w 4092"/>
              <a:gd name="T31" fmla="*/ 1305 h 4104"/>
              <a:gd name="T32" fmla="*/ 2422 w 4092"/>
              <a:gd name="T33" fmla="*/ 1158 h 4104"/>
              <a:gd name="T34" fmla="*/ 2958 w 4092"/>
              <a:gd name="T35" fmla="*/ 1319 h 4104"/>
              <a:gd name="T36" fmla="*/ 2839 w 4092"/>
              <a:gd name="T37" fmla="*/ 1250 h 4104"/>
              <a:gd name="T38" fmla="*/ 2783 w 4092"/>
              <a:gd name="T39" fmla="*/ 1403 h 4104"/>
              <a:gd name="T40" fmla="*/ 2986 w 4092"/>
              <a:gd name="T41" fmla="*/ 1654 h 4104"/>
              <a:gd name="T42" fmla="*/ 3113 w 4092"/>
              <a:gd name="T43" fmla="*/ 1932 h 4104"/>
              <a:gd name="T44" fmla="*/ 2408 w 4092"/>
              <a:gd name="T45" fmla="*/ 1754 h 4104"/>
              <a:gd name="T46" fmla="*/ 2577 w 4092"/>
              <a:gd name="T47" fmla="*/ 1912 h 4104"/>
              <a:gd name="T48" fmla="*/ 2802 w 4092"/>
              <a:gd name="T49" fmla="*/ 1948 h 4104"/>
              <a:gd name="T50" fmla="*/ 2677 w 4092"/>
              <a:gd name="T51" fmla="*/ 1714 h 4104"/>
              <a:gd name="T52" fmla="*/ 2446 w 4092"/>
              <a:gd name="T53" fmla="*/ 1400 h 4104"/>
              <a:gd name="T54" fmla="*/ 1842 w 4092"/>
              <a:gd name="T55" fmla="*/ 1948 h 4104"/>
              <a:gd name="T56" fmla="*/ 1927 w 4092"/>
              <a:gd name="T57" fmla="*/ 1911 h 4104"/>
              <a:gd name="T58" fmla="*/ 1913 w 4092"/>
              <a:gd name="T59" fmla="*/ 1271 h 4104"/>
              <a:gd name="T60" fmla="*/ 2306 w 4092"/>
              <a:gd name="T61" fmla="*/ 1158 h 4104"/>
              <a:gd name="T62" fmla="*/ 2224 w 4092"/>
              <a:gd name="T63" fmla="*/ 1287 h 4104"/>
              <a:gd name="T64" fmla="*/ 2224 w 4092"/>
              <a:gd name="T65" fmla="*/ 1912 h 4104"/>
              <a:gd name="T66" fmla="*/ 2306 w 4092"/>
              <a:gd name="T67" fmla="*/ 2039 h 4104"/>
              <a:gd name="T68" fmla="*/ 1057 w 4092"/>
              <a:gd name="T69" fmla="*/ 1935 h 4104"/>
              <a:gd name="T70" fmla="*/ 1085 w 4092"/>
              <a:gd name="T71" fmla="*/ 1299 h 4104"/>
              <a:gd name="T72" fmla="*/ 1026 w 4092"/>
              <a:gd name="T73" fmla="*/ 1250 h 4104"/>
              <a:gd name="T74" fmla="*/ 1620 w 4092"/>
              <a:gd name="T75" fmla="*/ 1356 h 4104"/>
              <a:gd name="T76" fmla="*/ 1530 w 4092"/>
              <a:gd name="T77" fmla="*/ 1259 h 4104"/>
              <a:gd name="T78" fmla="*/ 1432 w 4092"/>
              <a:gd name="T79" fmla="*/ 1548 h 4104"/>
              <a:gd name="T80" fmla="*/ 1477 w 4092"/>
              <a:gd name="T81" fmla="*/ 1445 h 4104"/>
              <a:gd name="T82" fmla="*/ 1465 w 4092"/>
              <a:gd name="T83" fmla="*/ 1681 h 4104"/>
              <a:gd name="T84" fmla="*/ 1369 w 4092"/>
              <a:gd name="T85" fmla="*/ 1948 h 4104"/>
              <a:gd name="T86" fmla="*/ 1589 w 4092"/>
              <a:gd name="T87" fmla="*/ 1894 h 4104"/>
              <a:gd name="T88" fmla="*/ 1648 w 4092"/>
              <a:gd name="T89" fmla="*/ 1754 h 4104"/>
              <a:gd name="T90" fmla="*/ 180 w 4092"/>
              <a:gd name="T91" fmla="*/ 1948 h 4104"/>
              <a:gd name="T92" fmla="*/ 309 w 4092"/>
              <a:gd name="T93" fmla="*/ 1667 h 4104"/>
              <a:gd name="T94" fmla="*/ 538 w 4092"/>
              <a:gd name="T95" fmla="*/ 1368 h 4104"/>
              <a:gd name="T96" fmla="*/ 443 w 4092"/>
              <a:gd name="T97" fmla="*/ 1255 h 4104"/>
              <a:gd name="T98" fmla="*/ 315 w 4092"/>
              <a:gd name="T99" fmla="*/ 1374 h 4104"/>
              <a:gd name="T100" fmla="*/ 912 w 4092"/>
              <a:gd name="T101" fmla="*/ 1195 h 4104"/>
              <a:gd name="T102" fmla="*/ 784 w 4092"/>
              <a:gd name="T103" fmla="*/ 1516 h 4104"/>
              <a:gd name="T104" fmla="*/ 551 w 4092"/>
              <a:gd name="T105" fmla="*/ 1825 h 4104"/>
              <a:gd name="T106" fmla="*/ 707 w 4092"/>
              <a:gd name="T107" fmla="*/ 1925 h 4104"/>
              <a:gd name="T108" fmla="*/ 786 w 4092"/>
              <a:gd name="T109" fmla="*/ 1827 h 4104"/>
              <a:gd name="T110" fmla="*/ 173 w 4092"/>
              <a:gd name="T111" fmla="*/ 1998 h 4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92" h="4104">
                <a:moveTo>
                  <a:pt x="0" y="4104"/>
                </a:moveTo>
                <a:lnTo>
                  <a:pt x="121" y="4051"/>
                </a:lnTo>
                <a:lnTo>
                  <a:pt x="243" y="4001"/>
                </a:lnTo>
                <a:lnTo>
                  <a:pt x="366" y="3955"/>
                </a:lnTo>
                <a:lnTo>
                  <a:pt x="491" y="3912"/>
                </a:lnTo>
                <a:lnTo>
                  <a:pt x="617" y="3873"/>
                </a:lnTo>
                <a:lnTo>
                  <a:pt x="743" y="3836"/>
                </a:lnTo>
                <a:lnTo>
                  <a:pt x="871" y="3804"/>
                </a:lnTo>
                <a:lnTo>
                  <a:pt x="1000" y="3775"/>
                </a:lnTo>
                <a:lnTo>
                  <a:pt x="1129" y="3749"/>
                </a:lnTo>
                <a:lnTo>
                  <a:pt x="1259" y="3727"/>
                </a:lnTo>
                <a:lnTo>
                  <a:pt x="1389" y="3707"/>
                </a:lnTo>
                <a:lnTo>
                  <a:pt x="1521" y="3692"/>
                </a:lnTo>
                <a:lnTo>
                  <a:pt x="1652" y="3680"/>
                </a:lnTo>
                <a:lnTo>
                  <a:pt x="1783" y="3671"/>
                </a:lnTo>
                <a:lnTo>
                  <a:pt x="1915" y="3666"/>
                </a:lnTo>
                <a:lnTo>
                  <a:pt x="2047" y="3664"/>
                </a:lnTo>
                <a:lnTo>
                  <a:pt x="2178" y="3666"/>
                </a:lnTo>
                <a:lnTo>
                  <a:pt x="2311" y="3671"/>
                </a:lnTo>
                <a:lnTo>
                  <a:pt x="2442" y="3680"/>
                </a:lnTo>
                <a:lnTo>
                  <a:pt x="2573" y="3692"/>
                </a:lnTo>
                <a:lnTo>
                  <a:pt x="2704" y="3707"/>
                </a:lnTo>
                <a:lnTo>
                  <a:pt x="2835" y="3727"/>
                </a:lnTo>
                <a:lnTo>
                  <a:pt x="2964" y="3749"/>
                </a:lnTo>
                <a:lnTo>
                  <a:pt x="3093" y="3775"/>
                </a:lnTo>
                <a:lnTo>
                  <a:pt x="3222" y="3804"/>
                </a:lnTo>
                <a:lnTo>
                  <a:pt x="3350" y="3836"/>
                </a:lnTo>
                <a:lnTo>
                  <a:pt x="3476" y="3873"/>
                </a:lnTo>
                <a:lnTo>
                  <a:pt x="3602" y="3912"/>
                </a:lnTo>
                <a:lnTo>
                  <a:pt x="3726" y="3955"/>
                </a:lnTo>
                <a:lnTo>
                  <a:pt x="3850" y="4001"/>
                </a:lnTo>
                <a:lnTo>
                  <a:pt x="3972" y="4051"/>
                </a:lnTo>
                <a:lnTo>
                  <a:pt x="4092" y="4104"/>
                </a:lnTo>
                <a:lnTo>
                  <a:pt x="4092" y="0"/>
                </a:lnTo>
                <a:lnTo>
                  <a:pt x="0" y="0"/>
                </a:lnTo>
                <a:lnTo>
                  <a:pt x="0" y="4104"/>
                </a:lnTo>
                <a:close/>
                <a:moveTo>
                  <a:pt x="3198" y="1210"/>
                </a:moveTo>
                <a:lnTo>
                  <a:pt x="3205" y="1184"/>
                </a:lnTo>
                <a:lnTo>
                  <a:pt x="3214" y="1158"/>
                </a:lnTo>
                <a:lnTo>
                  <a:pt x="3891" y="1158"/>
                </a:lnTo>
                <a:lnTo>
                  <a:pt x="3891" y="1443"/>
                </a:lnTo>
                <a:lnTo>
                  <a:pt x="3802" y="1443"/>
                </a:lnTo>
                <a:lnTo>
                  <a:pt x="3788" y="1394"/>
                </a:lnTo>
                <a:lnTo>
                  <a:pt x="3770" y="1352"/>
                </a:lnTo>
                <a:lnTo>
                  <a:pt x="3761" y="1334"/>
                </a:lnTo>
                <a:lnTo>
                  <a:pt x="3749" y="1319"/>
                </a:lnTo>
                <a:lnTo>
                  <a:pt x="3738" y="1304"/>
                </a:lnTo>
                <a:lnTo>
                  <a:pt x="3725" y="1292"/>
                </a:lnTo>
                <a:lnTo>
                  <a:pt x="3712" y="1281"/>
                </a:lnTo>
                <a:lnTo>
                  <a:pt x="3698" y="1272"/>
                </a:lnTo>
                <a:lnTo>
                  <a:pt x="3682" y="1264"/>
                </a:lnTo>
                <a:lnTo>
                  <a:pt x="3667" y="1258"/>
                </a:lnTo>
                <a:lnTo>
                  <a:pt x="3631" y="1250"/>
                </a:lnTo>
                <a:lnTo>
                  <a:pt x="3592" y="1248"/>
                </a:lnTo>
                <a:lnTo>
                  <a:pt x="3509" y="1248"/>
                </a:lnTo>
                <a:lnTo>
                  <a:pt x="3509" y="1254"/>
                </a:lnTo>
                <a:lnTo>
                  <a:pt x="3517" y="1281"/>
                </a:lnTo>
                <a:lnTo>
                  <a:pt x="3528" y="1311"/>
                </a:lnTo>
                <a:lnTo>
                  <a:pt x="3548" y="1353"/>
                </a:lnTo>
                <a:lnTo>
                  <a:pt x="3575" y="1403"/>
                </a:lnTo>
                <a:lnTo>
                  <a:pt x="3613" y="1459"/>
                </a:lnTo>
                <a:lnTo>
                  <a:pt x="3635" y="1491"/>
                </a:lnTo>
                <a:lnTo>
                  <a:pt x="3662" y="1523"/>
                </a:lnTo>
                <a:lnTo>
                  <a:pt x="3691" y="1556"/>
                </a:lnTo>
                <a:lnTo>
                  <a:pt x="3724" y="1590"/>
                </a:lnTo>
                <a:lnTo>
                  <a:pt x="3749" y="1618"/>
                </a:lnTo>
                <a:lnTo>
                  <a:pt x="3778" y="1654"/>
                </a:lnTo>
                <a:lnTo>
                  <a:pt x="3808" y="1698"/>
                </a:lnTo>
                <a:lnTo>
                  <a:pt x="3838" y="1747"/>
                </a:lnTo>
                <a:lnTo>
                  <a:pt x="3865" y="1799"/>
                </a:lnTo>
                <a:lnTo>
                  <a:pt x="3887" y="1852"/>
                </a:lnTo>
                <a:lnTo>
                  <a:pt x="3895" y="1879"/>
                </a:lnTo>
                <a:lnTo>
                  <a:pt x="3901" y="1906"/>
                </a:lnTo>
                <a:lnTo>
                  <a:pt x="3904" y="1932"/>
                </a:lnTo>
                <a:lnTo>
                  <a:pt x="3906" y="1957"/>
                </a:lnTo>
                <a:lnTo>
                  <a:pt x="3905" y="1983"/>
                </a:lnTo>
                <a:lnTo>
                  <a:pt x="3900" y="2004"/>
                </a:lnTo>
                <a:lnTo>
                  <a:pt x="3893" y="2022"/>
                </a:lnTo>
                <a:lnTo>
                  <a:pt x="3883" y="2039"/>
                </a:lnTo>
                <a:lnTo>
                  <a:pt x="3199" y="2039"/>
                </a:lnTo>
                <a:lnTo>
                  <a:pt x="3199" y="1754"/>
                </a:lnTo>
                <a:lnTo>
                  <a:pt x="3293" y="1754"/>
                </a:lnTo>
                <a:lnTo>
                  <a:pt x="3302" y="1791"/>
                </a:lnTo>
                <a:lnTo>
                  <a:pt x="3313" y="1825"/>
                </a:lnTo>
                <a:lnTo>
                  <a:pt x="3328" y="1858"/>
                </a:lnTo>
                <a:lnTo>
                  <a:pt x="3346" y="1887"/>
                </a:lnTo>
                <a:lnTo>
                  <a:pt x="3356" y="1900"/>
                </a:lnTo>
                <a:lnTo>
                  <a:pt x="3369" y="1912"/>
                </a:lnTo>
                <a:lnTo>
                  <a:pt x="3381" y="1922"/>
                </a:lnTo>
                <a:lnTo>
                  <a:pt x="3396" y="1932"/>
                </a:lnTo>
                <a:lnTo>
                  <a:pt x="3412" y="1939"/>
                </a:lnTo>
                <a:lnTo>
                  <a:pt x="3430" y="1944"/>
                </a:lnTo>
                <a:lnTo>
                  <a:pt x="3450" y="1947"/>
                </a:lnTo>
                <a:lnTo>
                  <a:pt x="3472" y="1948"/>
                </a:lnTo>
                <a:lnTo>
                  <a:pt x="3594" y="1948"/>
                </a:lnTo>
                <a:lnTo>
                  <a:pt x="3594" y="1941"/>
                </a:lnTo>
                <a:lnTo>
                  <a:pt x="3586" y="1918"/>
                </a:lnTo>
                <a:lnTo>
                  <a:pt x="3572" y="1876"/>
                </a:lnTo>
                <a:lnTo>
                  <a:pt x="3554" y="1841"/>
                </a:lnTo>
                <a:lnTo>
                  <a:pt x="3529" y="1800"/>
                </a:lnTo>
                <a:lnTo>
                  <a:pt x="3499" y="1758"/>
                </a:lnTo>
                <a:lnTo>
                  <a:pt x="3469" y="1714"/>
                </a:lnTo>
                <a:lnTo>
                  <a:pt x="3412" y="1641"/>
                </a:lnTo>
                <a:lnTo>
                  <a:pt x="3383" y="1603"/>
                </a:lnTo>
                <a:lnTo>
                  <a:pt x="3353" y="1570"/>
                </a:lnTo>
                <a:lnTo>
                  <a:pt x="3324" y="1533"/>
                </a:lnTo>
                <a:lnTo>
                  <a:pt x="3288" y="1485"/>
                </a:lnTo>
                <a:lnTo>
                  <a:pt x="3254" y="1430"/>
                </a:lnTo>
                <a:lnTo>
                  <a:pt x="3238" y="1400"/>
                </a:lnTo>
                <a:lnTo>
                  <a:pt x="3224" y="1370"/>
                </a:lnTo>
                <a:lnTo>
                  <a:pt x="3212" y="1337"/>
                </a:lnTo>
                <a:lnTo>
                  <a:pt x="3203" y="1305"/>
                </a:lnTo>
                <a:lnTo>
                  <a:pt x="3197" y="1273"/>
                </a:lnTo>
                <a:lnTo>
                  <a:pt x="3195" y="1240"/>
                </a:lnTo>
                <a:lnTo>
                  <a:pt x="3198" y="1210"/>
                </a:lnTo>
                <a:close/>
                <a:moveTo>
                  <a:pt x="2404" y="1225"/>
                </a:moveTo>
                <a:lnTo>
                  <a:pt x="2406" y="1210"/>
                </a:lnTo>
                <a:lnTo>
                  <a:pt x="2413" y="1184"/>
                </a:lnTo>
                <a:lnTo>
                  <a:pt x="2422" y="1158"/>
                </a:lnTo>
                <a:lnTo>
                  <a:pt x="3099" y="1158"/>
                </a:lnTo>
                <a:lnTo>
                  <a:pt x="3099" y="1443"/>
                </a:lnTo>
                <a:lnTo>
                  <a:pt x="3010" y="1443"/>
                </a:lnTo>
                <a:lnTo>
                  <a:pt x="2996" y="1394"/>
                </a:lnTo>
                <a:lnTo>
                  <a:pt x="2978" y="1352"/>
                </a:lnTo>
                <a:lnTo>
                  <a:pt x="2968" y="1334"/>
                </a:lnTo>
                <a:lnTo>
                  <a:pt x="2958" y="1319"/>
                </a:lnTo>
                <a:lnTo>
                  <a:pt x="2945" y="1304"/>
                </a:lnTo>
                <a:lnTo>
                  <a:pt x="2933" y="1292"/>
                </a:lnTo>
                <a:lnTo>
                  <a:pt x="2920" y="1281"/>
                </a:lnTo>
                <a:lnTo>
                  <a:pt x="2906" y="1272"/>
                </a:lnTo>
                <a:lnTo>
                  <a:pt x="2890" y="1264"/>
                </a:lnTo>
                <a:lnTo>
                  <a:pt x="2875" y="1258"/>
                </a:lnTo>
                <a:lnTo>
                  <a:pt x="2839" y="1250"/>
                </a:lnTo>
                <a:lnTo>
                  <a:pt x="2800" y="1248"/>
                </a:lnTo>
                <a:lnTo>
                  <a:pt x="2717" y="1248"/>
                </a:lnTo>
                <a:lnTo>
                  <a:pt x="2717" y="1254"/>
                </a:lnTo>
                <a:lnTo>
                  <a:pt x="2725" y="1281"/>
                </a:lnTo>
                <a:lnTo>
                  <a:pt x="2737" y="1311"/>
                </a:lnTo>
                <a:lnTo>
                  <a:pt x="2756" y="1353"/>
                </a:lnTo>
                <a:lnTo>
                  <a:pt x="2783" y="1403"/>
                </a:lnTo>
                <a:lnTo>
                  <a:pt x="2820" y="1459"/>
                </a:lnTo>
                <a:lnTo>
                  <a:pt x="2844" y="1491"/>
                </a:lnTo>
                <a:lnTo>
                  <a:pt x="2870" y="1523"/>
                </a:lnTo>
                <a:lnTo>
                  <a:pt x="2900" y="1556"/>
                </a:lnTo>
                <a:lnTo>
                  <a:pt x="2932" y="1590"/>
                </a:lnTo>
                <a:lnTo>
                  <a:pt x="2957" y="1618"/>
                </a:lnTo>
                <a:lnTo>
                  <a:pt x="2986" y="1654"/>
                </a:lnTo>
                <a:lnTo>
                  <a:pt x="3016" y="1698"/>
                </a:lnTo>
                <a:lnTo>
                  <a:pt x="3046" y="1747"/>
                </a:lnTo>
                <a:lnTo>
                  <a:pt x="3073" y="1799"/>
                </a:lnTo>
                <a:lnTo>
                  <a:pt x="3095" y="1852"/>
                </a:lnTo>
                <a:lnTo>
                  <a:pt x="3103" y="1879"/>
                </a:lnTo>
                <a:lnTo>
                  <a:pt x="3109" y="1906"/>
                </a:lnTo>
                <a:lnTo>
                  <a:pt x="3113" y="1932"/>
                </a:lnTo>
                <a:lnTo>
                  <a:pt x="3114" y="1957"/>
                </a:lnTo>
                <a:lnTo>
                  <a:pt x="3113" y="1983"/>
                </a:lnTo>
                <a:lnTo>
                  <a:pt x="3108" y="2004"/>
                </a:lnTo>
                <a:lnTo>
                  <a:pt x="3101" y="2022"/>
                </a:lnTo>
                <a:lnTo>
                  <a:pt x="3090" y="2039"/>
                </a:lnTo>
                <a:lnTo>
                  <a:pt x="2408" y="2039"/>
                </a:lnTo>
                <a:lnTo>
                  <a:pt x="2408" y="1754"/>
                </a:lnTo>
                <a:lnTo>
                  <a:pt x="2500" y="1754"/>
                </a:lnTo>
                <a:lnTo>
                  <a:pt x="2510" y="1791"/>
                </a:lnTo>
                <a:lnTo>
                  <a:pt x="2521" y="1825"/>
                </a:lnTo>
                <a:lnTo>
                  <a:pt x="2536" y="1858"/>
                </a:lnTo>
                <a:lnTo>
                  <a:pt x="2554" y="1887"/>
                </a:lnTo>
                <a:lnTo>
                  <a:pt x="2564" y="1900"/>
                </a:lnTo>
                <a:lnTo>
                  <a:pt x="2577" y="1912"/>
                </a:lnTo>
                <a:lnTo>
                  <a:pt x="2590" y="1922"/>
                </a:lnTo>
                <a:lnTo>
                  <a:pt x="2605" y="1932"/>
                </a:lnTo>
                <a:lnTo>
                  <a:pt x="2620" y="1939"/>
                </a:lnTo>
                <a:lnTo>
                  <a:pt x="2639" y="1944"/>
                </a:lnTo>
                <a:lnTo>
                  <a:pt x="2659" y="1947"/>
                </a:lnTo>
                <a:lnTo>
                  <a:pt x="2681" y="1948"/>
                </a:lnTo>
                <a:lnTo>
                  <a:pt x="2802" y="1948"/>
                </a:lnTo>
                <a:lnTo>
                  <a:pt x="2802" y="1941"/>
                </a:lnTo>
                <a:lnTo>
                  <a:pt x="2794" y="1918"/>
                </a:lnTo>
                <a:lnTo>
                  <a:pt x="2781" y="1876"/>
                </a:lnTo>
                <a:lnTo>
                  <a:pt x="2762" y="1841"/>
                </a:lnTo>
                <a:lnTo>
                  <a:pt x="2737" y="1800"/>
                </a:lnTo>
                <a:lnTo>
                  <a:pt x="2708" y="1758"/>
                </a:lnTo>
                <a:lnTo>
                  <a:pt x="2677" y="1714"/>
                </a:lnTo>
                <a:lnTo>
                  <a:pt x="2620" y="1641"/>
                </a:lnTo>
                <a:lnTo>
                  <a:pt x="2589" y="1603"/>
                </a:lnTo>
                <a:lnTo>
                  <a:pt x="2561" y="1570"/>
                </a:lnTo>
                <a:lnTo>
                  <a:pt x="2531" y="1533"/>
                </a:lnTo>
                <a:lnTo>
                  <a:pt x="2496" y="1485"/>
                </a:lnTo>
                <a:lnTo>
                  <a:pt x="2462" y="1430"/>
                </a:lnTo>
                <a:lnTo>
                  <a:pt x="2446" y="1400"/>
                </a:lnTo>
                <a:lnTo>
                  <a:pt x="2433" y="1370"/>
                </a:lnTo>
                <a:lnTo>
                  <a:pt x="2420" y="1337"/>
                </a:lnTo>
                <a:lnTo>
                  <a:pt x="2411" y="1305"/>
                </a:lnTo>
                <a:lnTo>
                  <a:pt x="2406" y="1273"/>
                </a:lnTo>
                <a:lnTo>
                  <a:pt x="2402" y="1240"/>
                </a:lnTo>
                <a:lnTo>
                  <a:pt x="2404" y="1225"/>
                </a:lnTo>
                <a:close/>
                <a:moveTo>
                  <a:pt x="1842" y="1948"/>
                </a:moveTo>
                <a:lnTo>
                  <a:pt x="1876" y="1948"/>
                </a:lnTo>
                <a:lnTo>
                  <a:pt x="1884" y="1947"/>
                </a:lnTo>
                <a:lnTo>
                  <a:pt x="1894" y="1943"/>
                </a:lnTo>
                <a:lnTo>
                  <a:pt x="1903" y="1937"/>
                </a:lnTo>
                <a:lnTo>
                  <a:pt x="1913" y="1930"/>
                </a:lnTo>
                <a:lnTo>
                  <a:pt x="1921" y="1920"/>
                </a:lnTo>
                <a:lnTo>
                  <a:pt x="1927" y="1911"/>
                </a:lnTo>
                <a:lnTo>
                  <a:pt x="1931" y="1901"/>
                </a:lnTo>
                <a:lnTo>
                  <a:pt x="1932" y="1892"/>
                </a:lnTo>
                <a:lnTo>
                  <a:pt x="1932" y="1308"/>
                </a:lnTo>
                <a:lnTo>
                  <a:pt x="1931" y="1299"/>
                </a:lnTo>
                <a:lnTo>
                  <a:pt x="1927" y="1289"/>
                </a:lnTo>
                <a:lnTo>
                  <a:pt x="1921" y="1280"/>
                </a:lnTo>
                <a:lnTo>
                  <a:pt x="1913" y="1271"/>
                </a:lnTo>
                <a:lnTo>
                  <a:pt x="1903" y="1262"/>
                </a:lnTo>
                <a:lnTo>
                  <a:pt x="1893" y="1255"/>
                </a:lnTo>
                <a:lnTo>
                  <a:pt x="1882" y="1251"/>
                </a:lnTo>
                <a:lnTo>
                  <a:pt x="1872" y="1250"/>
                </a:lnTo>
                <a:lnTo>
                  <a:pt x="1842" y="1250"/>
                </a:lnTo>
                <a:lnTo>
                  <a:pt x="1842" y="1158"/>
                </a:lnTo>
                <a:lnTo>
                  <a:pt x="2306" y="1158"/>
                </a:lnTo>
                <a:lnTo>
                  <a:pt x="2306" y="1250"/>
                </a:lnTo>
                <a:lnTo>
                  <a:pt x="2275" y="1250"/>
                </a:lnTo>
                <a:lnTo>
                  <a:pt x="2263" y="1252"/>
                </a:lnTo>
                <a:lnTo>
                  <a:pt x="2251" y="1257"/>
                </a:lnTo>
                <a:lnTo>
                  <a:pt x="2241" y="1265"/>
                </a:lnTo>
                <a:lnTo>
                  <a:pt x="2232" y="1276"/>
                </a:lnTo>
                <a:lnTo>
                  <a:pt x="2224" y="1287"/>
                </a:lnTo>
                <a:lnTo>
                  <a:pt x="2219" y="1299"/>
                </a:lnTo>
                <a:lnTo>
                  <a:pt x="2216" y="1309"/>
                </a:lnTo>
                <a:lnTo>
                  <a:pt x="2214" y="1319"/>
                </a:lnTo>
                <a:lnTo>
                  <a:pt x="2214" y="1881"/>
                </a:lnTo>
                <a:lnTo>
                  <a:pt x="2215" y="1890"/>
                </a:lnTo>
                <a:lnTo>
                  <a:pt x="2219" y="1900"/>
                </a:lnTo>
                <a:lnTo>
                  <a:pt x="2224" y="1912"/>
                </a:lnTo>
                <a:lnTo>
                  <a:pt x="2230" y="1923"/>
                </a:lnTo>
                <a:lnTo>
                  <a:pt x="2239" y="1933"/>
                </a:lnTo>
                <a:lnTo>
                  <a:pt x="2249" y="1941"/>
                </a:lnTo>
                <a:lnTo>
                  <a:pt x="2260" y="1946"/>
                </a:lnTo>
                <a:lnTo>
                  <a:pt x="2271" y="1948"/>
                </a:lnTo>
                <a:lnTo>
                  <a:pt x="2306" y="1948"/>
                </a:lnTo>
                <a:lnTo>
                  <a:pt x="2306" y="2039"/>
                </a:lnTo>
                <a:lnTo>
                  <a:pt x="1842" y="2039"/>
                </a:lnTo>
                <a:lnTo>
                  <a:pt x="1842" y="1948"/>
                </a:lnTo>
                <a:close/>
                <a:moveTo>
                  <a:pt x="995" y="1946"/>
                </a:moveTo>
                <a:lnTo>
                  <a:pt x="1030" y="1946"/>
                </a:lnTo>
                <a:lnTo>
                  <a:pt x="1038" y="1944"/>
                </a:lnTo>
                <a:lnTo>
                  <a:pt x="1047" y="1941"/>
                </a:lnTo>
                <a:lnTo>
                  <a:pt x="1057" y="1935"/>
                </a:lnTo>
                <a:lnTo>
                  <a:pt x="1066" y="1927"/>
                </a:lnTo>
                <a:lnTo>
                  <a:pt x="1075" y="1918"/>
                </a:lnTo>
                <a:lnTo>
                  <a:pt x="1081" y="1909"/>
                </a:lnTo>
                <a:lnTo>
                  <a:pt x="1085" y="1899"/>
                </a:lnTo>
                <a:lnTo>
                  <a:pt x="1086" y="1889"/>
                </a:lnTo>
                <a:lnTo>
                  <a:pt x="1086" y="1308"/>
                </a:lnTo>
                <a:lnTo>
                  <a:pt x="1085" y="1299"/>
                </a:lnTo>
                <a:lnTo>
                  <a:pt x="1081" y="1289"/>
                </a:lnTo>
                <a:lnTo>
                  <a:pt x="1075" y="1280"/>
                </a:lnTo>
                <a:lnTo>
                  <a:pt x="1066" y="1271"/>
                </a:lnTo>
                <a:lnTo>
                  <a:pt x="1057" y="1262"/>
                </a:lnTo>
                <a:lnTo>
                  <a:pt x="1046" y="1256"/>
                </a:lnTo>
                <a:lnTo>
                  <a:pt x="1036" y="1251"/>
                </a:lnTo>
                <a:lnTo>
                  <a:pt x="1026" y="1250"/>
                </a:lnTo>
                <a:lnTo>
                  <a:pt x="995" y="1250"/>
                </a:lnTo>
                <a:lnTo>
                  <a:pt x="995" y="1158"/>
                </a:lnTo>
                <a:lnTo>
                  <a:pt x="1742" y="1158"/>
                </a:lnTo>
                <a:lnTo>
                  <a:pt x="1742" y="1443"/>
                </a:lnTo>
                <a:lnTo>
                  <a:pt x="1648" y="1443"/>
                </a:lnTo>
                <a:lnTo>
                  <a:pt x="1635" y="1397"/>
                </a:lnTo>
                <a:lnTo>
                  <a:pt x="1620" y="1356"/>
                </a:lnTo>
                <a:lnTo>
                  <a:pt x="1602" y="1323"/>
                </a:lnTo>
                <a:lnTo>
                  <a:pt x="1592" y="1308"/>
                </a:lnTo>
                <a:lnTo>
                  <a:pt x="1581" y="1296"/>
                </a:lnTo>
                <a:lnTo>
                  <a:pt x="1570" y="1284"/>
                </a:lnTo>
                <a:lnTo>
                  <a:pt x="1557" y="1275"/>
                </a:lnTo>
                <a:lnTo>
                  <a:pt x="1544" y="1267"/>
                </a:lnTo>
                <a:lnTo>
                  <a:pt x="1530" y="1259"/>
                </a:lnTo>
                <a:lnTo>
                  <a:pt x="1514" y="1254"/>
                </a:lnTo>
                <a:lnTo>
                  <a:pt x="1498" y="1251"/>
                </a:lnTo>
                <a:lnTo>
                  <a:pt x="1461" y="1248"/>
                </a:lnTo>
                <a:lnTo>
                  <a:pt x="1369" y="1248"/>
                </a:lnTo>
                <a:lnTo>
                  <a:pt x="1369" y="1553"/>
                </a:lnTo>
                <a:lnTo>
                  <a:pt x="1416" y="1553"/>
                </a:lnTo>
                <a:lnTo>
                  <a:pt x="1432" y="1548"/>
                </a:lnTo>
                <a:lnTo>
                  <a:pt x="1441" y="1542"/>
                </a:lnTo>
                <a:lnTo>
                  <a:pt x="1452" y="1533"/>
                </a:lnTo>
                <a:lnTo>
                  <a:pt x="1461" y="1524"/>
                </a:lnTo>
                <a:lnTo>
                  <a:pt x="1470" y="1513"/>
                </a:lnTo>
                <a:lnTo>
                  <a:pt x="1475" y="1500"/>
                </a:lnTo>
                <a:lnTo>
                  <a:pt x="1477" y="1485"/>
                </a:lnTo>
                <a:lnTo>
                  <a:pt x="1477" y="1445"/>
                </a:lnTo>
                <a:lnTo>
                  <a:pt x="1568" y="1445"/>
                </a:lnTo>
                <a:lnTo>
                  <a:pt x="1568" y="1752"/>
                </a:lnTo>
                <a:lnTo>
                  <a:pt x="1477" y="1752"/>
                </a:lnTo>
                <a:lnTo>
                  <a:pt x="1477" y="1714"/>
                </a:lnTo>
                <a:lnTo>
                  <a:pt x="1476" y="1704"/>
                </a:lnTo>
                <a:lnTo>
                  <a:pt x="1472" y="1693"/>
                </a:lnTo>
                <a:lnTo>
                  <a:pt x="1465" y="1681"/>
                </a:lnTo>
                <a:lnTo>
                  <a:pt x="1457" y="1671"/>
                </a:lnTo>
                <a:lnTo>
                  <a:pt x="1447" y="1661"/>
                </a:lnTo>
                <a:lnTo>
                  <a:pt x="1433" y="1652"/>
                </a:lnTo>
                <a:lnTo>
                  <a:pt x="1419" y="1646"/>
                </a:lnTo>
                <a:lnTo>
                  <a:pt x="1401" y="1644"/>
                </a:lnTo>
                <a:lnTo>
                  <a:pt x="1369" y="1644"/>
                </a:lnTo>
                <a:lnTo>
                  <a:pt x="1369" y="1948"/>
                </a:lnTo>
                <a:lnTo>
                  <a:pt x="1471" y="1948"/>
                </a:lnTo>
                <a:lnTo>
                  <a:pt x="1497" y="1946"/>
                </a:lnTo>
                <a:lnTo>
                  <a:pt x="1524" y="1939"/>
                </a:lnTo>
                <a:lnTo>
                  <a:pt x="1551" y="1925"/>
                </a:lnTo>
                <a:lnTo>
                  <a:pt x="1564" y="1917"/>
                </a:lnTo>
                <a:lnTo>
                  <a:pt x="1577" y="1907"/>
                </a:lnTo>
                <a:lnTo>
                  <a:pt x="1589" y="1894"/>
                </a:lnTo>
                <a:lnTo>
                  <a:pt x="1600" y="1881"/>
                </a:lnTo>
                <a:lnTo>
                  <a:pt x="1611" y="1865"/>
                </a:lnTo>
                <a:lnTo>
                  <a:pt x="1621" y="1847"/>
                </a:lnTo>
                <a:lnTo>
                  <a:pt x="1629" y="1827"/>
                </a:lnTo>
                <a:lnTo>
                  <a:pt x="1637" y="1805"/>
                </a:lnTo>
                <a:lnTo>
                  <a:pt x="1644" y="1781"/>
                </a:lnTo>
                <a:lnTo>
                  <a:pt x="1648" y="1754"/>
                </a:lnTo>
                <a:lnTo>
                  <a:pt x="1742" y="1754"/>
                </a:lnTo>
                <a:lnTo>
                  <a:pt x="1742" y="2039"/>
                </a:lnTo>
                <a:lnTo>
                  <a:pt x="995" y="2039"/>
                </a:lnTo>
                <a:lnTo>
                  <a:pt x="995" y="1946"/>
                </a:lnTo>
                <a:close/>
                <a:moveTo>
                  <a:pt x="173" y="1998"/>
                </a:moveTo>
                <a:lnTo>
                  <a:pt x="174" y="1983"/>
                </a:lnTo>
                <a:lnTo>
                  <a:pt x="180" y="1948"/>
                </a:lnTo>
                <a:lnTo>
                  <a:pt x="192" y="1901"/>
                </a:lnTo>
                <a:lnTo>
                  <a:pt x="201" y="1874"/>
                </a:lnTo>
                <a:lnTo>
                  <a:pt x="213" y="1846"/>
                </a:lnTo>
                <a:lnTo>
                  <a:pt x="235" y="1796"/>
                </a:lnTo>
                <a:lnTo>
                  <a:pt x="267" y="1734"/>
                </a:lnTo>
                <a:lnTo>
                  <a:pt x="287" y="1700"/>
                </a:lnTo>
                <a:lnTo>
                  <a:pt x="309" y="1667"/>
                </a:lnTo>
                <a:lnTo>
                  <a:pt x="334" y="1635"/>
                </a:lnTo>
                <a:lnTo>
                  <a:pt x="360" y="1605"/>
                </a:lnTo>
                <a:lnTo>
                  <a:pt x="392" y="1572"/>
                </a:lnTo>
                <a:lnTo>
                  <a:pt x="420" y="1540"/>
                </a:lnTo>
                <a:lnTo>
                  <a:pt x="469" y="1477"/>
                </a:lnTo>
                <a:lnTo>
                  <a:pt x="508" y="1420"/>
                </a:lnTo>
                <a:lnTo>
                  <a:pt x="538" y="1368"/>
                </a:lnTo>
                <a:lnTo>
                  <a:pt x="559" y="1324"/>
                </a:lnTo>
                <a:lnTo>
                  <a:pt x="574" y="1289"/>
                </a:lnTo>
                <a:lnTo>
                  <a:pt x="588" y="1254"/>
                </a:lnTo>
                <a:lnTo>
                  <a:pt x="588" y="1248"/>
                </a:lnTo>
                <a:lnTo>
                  <a:pt x="506" y="1248"/>
                </a:lnTo>
                <a:lnTo>
                  <a:pt x="472" y="1250"/>
                </a:lnTo>
                <a:lnTo>
                  <a:pt x="443" y="1255"/>
                </a:lnTo>
                <a:lnTo>
                  <a:pt x="418" y="1264"/>
                </a:lnTo>
                <a:lnTo>
                  <a:pt x="395" y="1276"/>
                </a:lnTo>
                <a:lnTo>
                  <a:pt x="375" y="1289"/>
                </a:lnTo>
                <a:lnTo>
                  <a:pt x="359" y="1305"/>
                </a:lnTo>
                <a:lnTo>
                  <a:pt x="344" y="1322"/>
                </a:lnTo>
                <a:lnTo>
                  <a:pt x="332" y="1340"/>
                </a:lnTo>
                <a:lnTo>
                  <a:pt x="315" y="1374"/>
                </a:lnTo>
                <a:lnTo>
                  <a:pt x="303" y="1405"/>
                </a:lnTo>
                <a:lnTo>
                  <a:pt x="295" y="1443"/>
                </a:lnTo>
                <a:lnTo>
                  <a:pt x="206" y="1443"/>
                </a:lnTo>
                <a:lnTo>
                  <a:pt x="206" y="1158"/>
                </a:lnTo>
                <a:lnTo>
                  <a:pt x="913" y="1158"/>
                </a:lnTo>
                <a:lnTo>
                  <a:pt x="913" y="1182"/>
                </a:lnTo>
                <a:lnTo>
                  <a:pt x="912" y="1195"/>
                </a:lnTo>
                <a:lnTo>
                  <a:pt x="907" y="1226"/>
                </a:lnTo>
                <a:lnTo>
                  <a:pt x="897" y="1271"/>
                </a:lnTo>
                <a:lnTo>
                  <a:pt x="881" y="1325"/>
                </a:lnTo>
                <a:lnTo>
                  <a:pt x="859" y="1379"/>
                </a:lnTo>
                <a:lnTo>
                  <a:pt x="835" y="1428"/>
                </a:lnTo>
                <a:lnTo>
                  <a:pt x="810" y="1474"/>
                </a:lnTo>
                <a:lnTo>
                  <a:pt x="784" y="1516"/>
                </a:lnTo>
                <a:lnTo>
                  <a:pt x="757" y="1554"/>
                </a:lnTo>
                <a:lnTo>
                  <a:pt x="730" y="1590"/>
                </a:lnTo>
                <a:lnTo>
                  <a:pt x="673" y="1658"/>
                </a:lnTo>
                <a:lnTo>
                  <a:pt x="620" y="1723"/>
                </a:lnTo>
                <a:lnTo>
                  <a:pt x="596" y="1756"/>
                </a:lnTo>
                <a:lnTo>
                  <a:pt x="572" y="1790"/>
                </a:lnTo>
                <a:lnTo>
                  <a:pt x="551" y="1825"/>
                </a:lnTo>
                <a:lnTo>
                  <a:pt x="533" y="1864"/>
                </a:lnTo>
                <a:lnTo>
                  <a:pt x="516" y="1904"/>
                </a:lnTo>
                <a:lnTo>
                  <a:pt x="503" y="1948"/>
                </a:lnTo>
                <a:lnTo>
                  <a:pt x="624" y="1948"/>
                </a:lnTo>
                <a:lnTo>
                  <a:pt x="651" y="1946"/>
                </a:lnTo>
                <a:lnTo>
                  <a:pt x="680" y="1939"/>
                </a:lnTo>
                <a:lnTo>
                  <a:pt x="707" y="1925"/>
                </a:lnTo>
                <a:lnTo>
                  <a:pt x="720" y="1917"/>
                </a:lnTo>
                <a:lnTo>
                  <a:pt x="733" y="1907"/>
                </a:lnTo>
                <a:lnTo>
                  <a:pt x="744" y="1894"/>
                </a:lnTo>
                <a:lnTo>
                  <a:pt x="756" y="1881"/>
                </a:lnTo>
                <a:lnTo>
                  <a:pt x="767" y="1865"/>
                </a:lnTo>
                <a:lnTo>
                  <a:pt x="777" y="1847"/>
                </a:lnTo>
                <a:lnTo>
                  <a:pt x="786" y="1827"/>
                </a:lnTo>
                <a:lnTo>
                  <a:pt x="793" y="1805"/>
                </a:lnTo>
                <a:lnTo>
                  <a:pt x="799" y="1781"/>
                </a:lnTo>
                <a:lnTo>
                  <a:pt x="805" y="1754"/>
                </a:lnTo>
                <a:lnTo>
                  <a:pt x="897" y="1754"/>
                </a:lnTo>
                <a:lnTo>
                  <a:pt x="897" y="2039"/>
                </a:lnTo>
                <a:lnTo>
                  <a:pt x="173" y="2039"/>
                </a:lnTo>
                <a:lnTo>
                  <a:pt x="173" y="1998"/>
                </a:lnTo>
                <a:close/>
              </a:path>
            </a:pathLst>
          </a:custGeom>
          <a:solidFill>
            <a:srgbClr val="0000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e-DE" sz="1600">
              <a:solidFill>
                <a:srgbClr val="000000"/>
              </a:solidFill>
            </a:endParaRPr>
          </a:p>
        </p:txBody>
      </p:sp>
      <p:pic>
        <p:nvPicPr>
          <p:cNvPr id="3251248" name="Bild 2" descr="13_DSC_0298_foleys_Präse2.jpg"/>
          <p:cNvPicPr>
            <a:picLocks noChangeAspect="1"/>
          </p:cNvPicPr>
          <p:nvPr/>
        </p:nvPicPr>
        <p:blipFill>
          <a:blip r:embed="rId3">
            <a:extLst>
              <a:ext uri="{28A0092B-C50C-407E-A947-70E740481C1C}">
                <a14:useLocalDpi xmlns:a14="http://schemas.microsoft.com/office/drawing/2010/main" val="0"/>
              </a:ext>
            </a:extLst>
          </a:blip>
          <a:srcRect t="10429" r="2383" b="9293"/>
          <a:stretch>
            <a:fillRect/>
          </a:stretch>
        </p:blipFill>
        <p:spPr bwMode="auto">
          <a:xfrm>
            <a:off x="0" y="1350963"/>
            <a:ext cx="9144000" cy="435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573265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lvl1pPr>
              <a:defRPr/>
            </a:lvl1pPr>
          </a:lstStyle>
          <a:p>
            <a:fld id="{6CE505A7-AB0C-440C-BCE9-038C2B735393}" type="datetime1">
              <a:rPr lang="de-DE" smtClean="0">
                <a:solidFill>
                  <a:srgbClr val="000000"/>
                </a:solidFill>
              </a:rPr>
              <a:pPr/>
              <a:t>28.02.2019</a:t>
            </a:fld>
            <a:endParaRPr lang="de-DE">
              <a:solidFill>
                <a:srgbClr val="000000"/>
              </a:solidFill>
            </a:endParaRPr>
          </a:p>
        </p:txBody>
      </p:sp>
      <p:sp>
        <p:nvSpPr>
          <p:cNvPr id="5" name="Foliennummernplatzhalter 4"/>
          <p:cNvSpPr>
            <a:spLocks noGrp="1"/>
          </p:cNvSpPr>
          <p:nvPr>
            <p:ph type="sldNum" sz="quarter" idx="11"/>
          </p:nvPr>
        </p:nvSpPr>
        <p:spPr/>
        <p:txBody>
          <a:bodyPr/>
          <a:lstStyle>
            <a:lvl1pPr>
              <a:defRPr/>
            </a:lvl1pPr>
          </a:lstStyle>
          <a:p>
            <a:fld id="{E7106F61-AEF5-4A9D-9A53-47E3DFDE314C}" type="slidenum">
              <a:rPr lang="de-DE">
                <a:solidFill>
                  <a:srgbClr val="000000"/>
                </a:solidFill>
              </a:rPr>
              <a:pPr/>
              <a:t>‹#›</a:t>
            </a:fld>
            <a:endParaRPr lang="de-DE">
              <a:solidFill>
                <a:srgbClr val="000000"/>
              </a:solidFill>
            </a:endParaRPr>
          </a:p>
        </p:txBody>
      </p:sp>
      <p:sp>
        <p:nvSpPr>
          <p:cNvPr id="6" name="Fußzeilenplatzhalter 5"/>
          <p:cNvSpPr>
            <a:spLocks noGrp="1"/>
          </p:cNvSpPr>
          <p:nvPr>
            <p:ph type="ftr" sz="quarter" idx="12"/>
          </p:nvPr>
        </p:nvSpPr>
        <p:spPr/>
        <p:txBody>
          <a:bodyPr/>
          <a:lstStyle>
            <a:lvl1pPr>
              <a:defRPr/>
            </a:lvl1pPr>
          </a:lstStyle>
          <a:p>
            <a:r>
              <a:rPr lang="de-DE">
                <a:solidFill>
                  <a:srgbClr val="000000"/>
                </a:solidFill>
              </a:rPr>
              <a:t>Carl Zeiss Microscopy</a:t>
            </a:r>
          </a:p>
        </p:txBody>
      </p:sp>
    </p:spTree>
    <p:extLst>
      <p:ext uri="{BB962C8B-B14F-4D97-AF65-F5344CB8AC3E}">
        <p14:creationId xmlns:p14="http://schemas.microsoft.com/office/powerpoint/2010/main" val="363699467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lstStyle>
            <a:lvl1pPr algn="l">
              <a:defRPr sz="4000" b="1" cap="all"/>
            </a:lvl1pPr>
          </a:lstStyle>
          <a:p>
            <a:r>
              <a:rPr lang="de-DE"/>
              <a:t>Titelmasterformat durch Klicken bearbeiten</a:t>
            </a:r>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 bearbeiten</a:t>
            </a:r>
          </a:p>
        </p:txBody>
      </p:sp>
      <p:sp>
        <p:nvSpPr>
          <p:cNvPr id="4" name="Datumsplatzhalter 3"/>
          <p:cNvSpPr>
            <a:spLocks noGrp="1"/>
          </p:cNvSpPr>
          <p:nvPr>
            <p:ph type="dt" sz="half" idx="10"/>
          </p:nvPr>
        </p:nvSpPr>
        <p:spPr/>
        <p:txBody>
          <a:bodyPr/>
          <a:lstStyle>
            <a:lvl1pPr>
              <a:defRPr/>
            </a:lvl1pPr>
          </a:lstStyle>
          <a:p>
            <a:fld id="{46CB562D-D0A2-4733-8C20-6DDEBFAA7382}" type="datetime1">
              <a:rPr lang="de-DE" smtClean="0">
                <a:solidFill>
                  <a:srgbClr val="000000"/>
                </a:solidFill>
              </a:rPr>
              <a:pPr/>
              <a:t>28.02.2019</a:t>
            </a:fld>
            <a:endParaRPr lang="de-DE">
              <a:solidFill>
                <a:srgbClr val="000000"/>
              </a:solidFill>
            </a:endParaRPr>
          </a:p>
        </p:txBody>
      </p:sp>
      <p:sp>
        <p:nvSpPr>
          <p:cNvPr id="5" name="Foliennummernplatzhalter 4"/>
          <p:cNvSpPr>
            <a:spLocks noGrp="1"/>
          </p:cNvSpPr>
          <p:nvPr>
            <p:ph type="sldNum" sz="quarter" idx="11"/>
          </p:nvPr>
        </p:nvSpPr>
        <p:spPr/>
        <p:txBody>
          <a:bodyPr/>
          <a:lstStyle>
            <a:lvl1pPr>
              <a:defRPr/>
            </a:lvl1pPr>
          </a:lstStyle>
          <a:p>
            <a:fld id="{CCD1BEB8-F336-48B2-B5D1-8087AE456A36}" type="slidenum">
              <a:rPr lang="de-DE">
                <a:solidFill>
                  <a:srgbClr val="000000"/>
                </a:solidFill>
              </a:rPr>
              <a:pPr/>
              <a:t>‹#›</a:t>
            </a:fld>
            <a:endParaRPr lang="de-DE">
              <a:solidFill>
                <a:srgbClr val="000000"/>
              </a:solidFill>
            </a:endParaRPr>
          </a:p>
        </p:txBody>
      </p:sp>
      <p:sp>
        <p:nvSpPr>
          <p:cNvPr id="6" name="Fußzeilenplatzhalter 5"/>
          <p:cNvSpPr>
            <a:spLocks noGrp="1"/>
          </p:cNvSpPr>
          <p:nvPr>
            <p:ph type="ftr" sz="quarter" idx="12"/>
          </p:nvPr>
        </p:nvSpPr>
        <p:spPr/>
        <p:txBody>
          <a:bodyPr/>
          <a:lstStyle>
            <a:lvl1pPr>
              <a:defRPr/>
            </a:lvl1pPr>
          </a:lstStyle>
          <a:p>
            <a:r>
              <a:rPr lang="de-DE">
                <a:solidFill>
                  <a:srgbClr val="000000"/>
                </a:solidFill>
              </a:rPr>
              <a:t>Carl Zeiss Microscopy</a:t>
            </a:r>
          </a:p>
        </p:txBody>
      </p:sp>
    </p:spTree>
    <p:extLst>
      <p:ext uri="{BB962C8B-B14F-4D97-AF65-F5344CB8AC3E}">
        <p14:creationId xmlns:p14="http://schemas.microsoft.com/office/powerpoint/2010/main" val="167533907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466725" y="1708150"/>
            <a:ext cx="4027488" cy="44624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4646613" y="1708150"/>
            <a:ext cx="4029075" cy="44624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p:txBody>
          <a:bodyPr/>
          <a:lstStyle>
            <a:lvl1pPr>
              <a:defRPr/>
            </a:lvl1pPr>
          </a:lstStyle>
          <a:p>
            <a:fld id="{BBA54C05-A936-464D-91DE-277E23F73FE8}" type="datetime1">
              <a:rPr lang="de-DE" smtClean="0">
                <a:solidFill>
                  <a:srgbClr val="000000"/>
                </a:solidFill>
              </a:rPr>
              <a:pPr/>
              <a:t>28.02.2019</a:t>
            </a:fld>
            <a:endParaRPr lang="de-DE">
              <a:solidFill>
                <a:srgbClr val="000000"/>
              </a:solidFill>
            </a:endParaRPr>
          </a:p>
        </p:txBody>
      </p:sp>
      <p:sp>
        <p:nvSpPr>
          <p:cNvPr id="6" name="Foliennummernplatzhalter 5"/>
          <p:cNvSpPr>
            <a:spLocks noGrp="1"/>
          </p:cNvSpPr>
          <p:nvPr>
            <p:ph type="sldNum" sz="quarter" idx="11"/>
          </p:nvPr>
        </p:nvSpPr>
        <p:spPr/>
        <p:txBody>
          <a:bodyPr/>
          <a:lstStyle>
            <a:lvl1pPr>
              <a:defRPr/>
            </a:lvl1pPr>
          </a:lstStyle>
          <a:p>
            <a:fld id="{DA40D4D5-BF9D-42B6-80A8-D26AE5FA9F60}" type="slidenum">
              <a:rPr lang="de-DE">
                <a:solidFill>
                  <a:srgbClr val="000000"/>
                </a:solidFill>
              </a:rPr>
              <a:pPr/>
              <a:t>‹#›</a:t>
            </a:fld>
            <a:endParaRPr lang="de-DE">
              <a:solidFill>
                <a:srgbClr val="000000"/>
              </a:solidFill>
            </a:endParaRPr>
          </a:p>
        </p:txBody>
      </p:sp>
      <p:sp>
        <p:nvSpPr>
          <p:cNvPr id="7" name="Fußzeilenplatzhalter 6"/>
          <p:cNvSpPr>
            <a:spLocks noGrp="1"/>
          </p:cNvSpPr>
          <p:nvPr>
            <p:ph type="ftr" sz="quarter" idx="12"/>
          </p:nvPr>
        </p:nvSpPr>
        <p:spPr/>
        <p:txBody>
          <a:bodyPr/>
          <a:lstStyle>
            <a:lvl1pPr>
              <a:defRPr/>
            </a:lvl1pPr>
          </a:lstStyle>
          <a:p>
            <a:r>
              <a:rPr lang="de-DE">
                <a:solidFill>
                  <a:srgbClr val="000000"/>
                </a:solidFill>
              </a:rPr>
              <a:t>Carl Zeiss Microscopy</a:t>
            </a:r>
          </a:p>
        </p:txBody>
      </p:sp>
    </p:spTree>
    <p:extLst>
      <p:ext uri="{BB962C8B-B14F-4D97-AF65-F5344CB8AC3E}">
        <p14:creationId xmlns:p14="http://schemas.microsoft.com/office/powerpoint/2010/main" val="42698424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e-DE"/>
              <a:t>Titelmasterformat durch Klicken bearbeiten</a:t>
            </a:r>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p:cNvSpPr>
            <a:spLocks noGrp="1"/>
          </p:cNvSpPr>
          <p:nvPr>
            <p:ph type="dt" sz="half" idx="10"/>
          </p:nvPr>
        </p:nvSpPr>
        <p:spPr/>
        <p:txBody>
          <a:bodyPr/>
          <a:lstStyle>
            <a:lvl1pPr>
              <a:defRPr/>
            </a:lvl1pPr>
          </a:lstStyle>
          <a:p>
            <a:fld id="{221326EE-B63E-4DAA-835D-897A885B4592}" type="datetime1">
              <a:rPr lang="de-DE" smtClean="0">
                <a:solidFill>
                  <a:srgbClr val="000000"/>
                </a:solidFill>
              </a:rPr>
              <a:pPr/>
              <a:t>28.02.2019</a:t>
            </a:fld>
            <a:endParaRPr lang="de-DE">
              <a:solidFill>
                <a:srgbClr val="000000"/>
              </a:solidFill>
            </a:endParaRPr>
          </a:p>
        </p:txBody>
      </p:sp>
      <p:sp>
        <p:nvSpPr>
          <p:cNvPr id="8" name="Foliennummernplatzhalter 7"/>
          <p:cNvSpPr>
            <a:spLocks noGrp="1"/>
          </p:cNvSpPr>
          <p:nvPr>
            <p:ph type="sldNum" sz="quarter" idx="11"/>
          </p:nvPr>
        </p:nvSpPr>
        <p:spPr/>
        <p:txBody>
          <a:bodyPr/>
          <a:lstStyle>
            <a:lvl1pPr>
              <a:defRPr/>
            </a:lvl1pPr>
          </a:lstStyle>
          <a:p>
            <a:fld id="{06BE5CAF-42A3-4742-B8C1-C14053CF0F0B}" type="slidenum">
              <a:rPr lang="de-DE">
                <a:solidFill>
                  <a:srgbClr val="000000"/>
                </a:solidFill>
              </a:rPr>
              <a:pPr/>
              <a:t>‹#›</a:t>
            </a:fld>
            <a:endParaRPr lang="de-DE">
              <a:solidFill>
                <a:srgbClr val="000000"/>
              </a:solidFill>
            </a:endParaRPr>
          </a:p>
        </p:txBody>
      </p:sp>
      <p:sp>
        <p:nvSpPr>
          <p:cNvPr id="9" name="Fußzeilenplatzhalter 8"/>
          <p:cNvSpPr>
            <a:spLocks noGrp="1"/>
          </p:cNvSpPr>
          <p:nvPr>
            <p:ph type="ftr" sz="quarter" idx="12"/>
          </p:nvPr>
        </p:nvSpPr>
        <p:spPr/>
        <p:txBody>
          <a:bodyPr/>
          <a:lstStyle>
            <a:lvl1pPr>
              <a:defRPr/>
            </a:lvl1pPr>
          </a:lstStyle>
          <a:p>
            <a:r>
              <a:rPr lang="de-DE">
                <a:solidFill>
                  <a:srgbClr val="000000"/>
                </a:solidFill>
              </a:rPr>
              <a:t>Carl Zeiss Microscopy</a:t>
            </a:r>
          </a:p>
        </p:txBody>
      </p:sp>
    </p:spTree>
    <p:extLst>
      <p:ext uri="{BB962C8B-B14F-4D97-AF65-F5344CB8AC3E}">
        <p14:creationId xmlns:p14="http://schemas.microsoft.com/office/powerpoint/2010/main" val="27879710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lvl1pPr>
              <a:defRPr/>
            </a:lvl1pPr>
          </a:lstStyle>
          <a:p>
            <a:fld id="{CA148118-09E4-4E33-AFE0-65EA9020545C}" type="datetime1">
              <a:rPr lang="de-DE" smtClean="0">
                <a:solidFill>
                  <a:srgbClr val="000000"/>
                </a:solidFill>
              </a:rPr>
              <a:pPr/>
              <a:t>28.02.2019</a:t>
            </a:fld>
            <a:endParaRPr lang="de-DE">
              <a:solidFill>
                <a:srgbClr val="000000"/>
              </a:solidFill>
            </a:endParaRPr>
          </a:p>
        </p:txBody>
      </p:sp>
      <p:sp>
        <p:nvSpPr>
          <p:cNvPr id="4" name="Foliennummernplatzhalter 3"/>
          <p:cNvSpPr>
            <a:spLocks noGrp="1"/>
          </p:cNvSpPr>
          <p:nvPr>
            <p:ph type="sldNum" sz="quarter" idx="11"/>
          </p:nvPr>
        </p:nvSpPr>
        <p:spPr/>
        <p:txBody>
          <a:bodyPr/>
          <a:lstStyle>
            <a:lvl1pPr>
              <a:defRPr/>
            </a:lvl1pPr>
          </a:lstStyle>
          <a:p>
            <a:fld id="{517F8D53-1DB1-4A35-BD8A-26FD967BA0FC}" type="slidenum">
              <a:rPr lang="de-DE">
                <a:solidFill>
                  <a:srgbClr val="000000"/>
                </a:solidFill>
              </a:rPr>
              <a:pPr/>
              <a:t>‹#›</a:t>
            </a:fld>
            <a:endParaRPr lang="de-DE">
              <a:solidFill>
                <a:srgbClr val="000000"/>
              </a:solidFill>
            </a:endParaRPr>
          </a:p>
        </p:txBody>
      </p:sp>
      <p:sp>
        <p:nvSpPr>
          <p:cNvPr id="5" name="Fußzeilenplatzhalter 4"/>
          <p:cNvSpPr>
            <a:spLocks noGrp="1"/>
          </p:cNvSpPr>
          <p:nvPr>
            <p:ph type="ftr" sz="quarter" idx="12"/>
          </p:nvPr>
        </p:nvSpPr>
        <p:spPr/>
        <p:txBody>
          <a:bodyPr/>
          <a:lstStyle>
            <a:lvl1pPr>
              <a:defRPr/>
            </a:lvl1pPr>
          </a:lstStyle>
          <a:p>
            <a:r>
              <a:rPr lang="de-DE">
                <a:solidFill>
                  <a:srgbClr val="000000"/>
                </a:solidFill>
              </a:rPr>
              <a:t>Carl Zeiss Microscopy</a:t>
            </a:r>
          </a:p>
        </p:txBody>
      </p:sp>
    </p:spTree>
    <p:extLst>
      <p:ext uri="{BB962C8B-B14F-4D97-AF65-F5344CB8AC3E}">
        <p14:creationId xmlns:p14="http://schemas.microsoft.com/office/powerpoint/2010/main" val="67046986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lvl1pPr>
              <a:defRPr/>
            </a:lvl1pPr>
          </a:lstStyle>
          <a:p>
            <a:fld id="{92655880-9AA7-4B9C-9888-72060D03BA1D}" type="datetime1">
              <a:rPr lang="de-DE" smtClean="0">
                <a:solidFill>
                  <a:srgbClr val="000000"/>
                </a:solidFill>
              </a:rPr>
              <a:pPr/>
              <a:t>28.02.2019</a:t>
            </a:fld>
            <a:endParaRPr lang="de-DE">
              <a:solidFill>
                <a:srgbClr val="000000"/>
              </a:solidFill>
            </a:endParaRPr>
          </a:p>
        </p:txBody>
      </p:sp>
      <p:sp>
        <p:nvSpPr>
          <p:cNvPr id="3" name="Foliennummernplatzhalter 2"/>
          <p:cNvSpPr>
            <a:spLocks noGrp="1"/>
          </p:cNvSpPr>
          <p:nvPr>
            <p:ph type="sldNum" sz="quarter" idx="11"/>
          </p:nvPr>
        </p:nvSpPr>
        <p:spPr/>
        <p:txBody>
          <a:bodyPr/>
          <a:lstStyle>
            <a:lvl1pPr>
              <a:defRPr/>
            </a:lvl1pPr>
          </a:lstStyle>
          <a:p>
            <a:fld id="{132E970F-E96A-4A31-AA3D-EB62DC579E46}" type="slidenum">
              <a:rPr lang="de-DE">
                <a:solidFill>
                  <a:srgbClr val="000000"/>
                </a:solidFill>
              </a:rPr>
              <a:pPr/>
              <a:t>‹#›</a:t>
            </a:fld>
            <a:endParaRPr lang="de-DE">
              <a:solidFill>
                <a:srgbClr val="000000"/>
              </a:solidFill>
            </a:endParaRPr>
          </a:p>
        </p:txBody>
      </p:sp>
      <p:sp>
        <p:nvSpPr>
          <p:cNvPr id="4" name="Fußzeilenplatzhalter 3"/>
          <p:cNvSpPr>
            <a:spLocks noGrp="1"/>
          </p:cNvSpPr>
          <p:nvPr>
            <p:ph type="ftr" sz="quarter" idx="12"/>
          </p:nvPr>
        </p:nvSpPr>
        <p:spPr/>
        <p:txBody>
          <a:bodyPr/>
          <a:lstStyle>
            <a:lvl1pPr>
              <a:defRPr/>
            </a:lvl1pPr>
          </a:lstStyle>
          <a:p>
            <a:r>
              <a:rPr lang="de-DE">
                <a:solidFill>
                  <a:srgbClr val="000000"/>
                </a:solidFill>
              </a:rPr>
              <a:t>Carl Zeiss Microscopy</a:t>
            </a:r>
          </a:p>
        </p:txBody>
      </p:sp>
    </p:spTree>
    <p:extLst>
      <p:ext uri="{BB962C8B-B14F-4D97-AF65-F5344CB8AC3E}">
        <p14:creationId xmlns:p14="http://schemas.microsoft.com/office/powerpoint/2010/main" val="4273848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e-DE"/>
              <a:t>Titelmasterformat durch Klicken bearbeiten</a:t>
            </a:r>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Datumsplatzhalter 4"/>
          <p:cNvSpPr>
            <a:spLocks noGrp="1"/>
          </p:cNvSpPr>
          <p:nvPr>
            <p:ph type="dt" sz="half" idx="10"/>
          </p:nvPr>
        </p:nvSpPr>
        <p:spPr/>
        <p:txBody>
          <a:bodyPr/>
          <a:lstStyle>
            <a:lvl1pPr>
              <a:defRPr/>
            </a:lvl1pPr>
          </a:lstStyle>
          <a:p>
            <a:fld id="{CC3CAFC7-8C83-47CC-95D1-DB8132570BBD}" type="datetime1">
              <a:rPr lang="de-DE" smtClean="0">
                <a:solidFill>
                  <a:srgbClr val="000000"/>
                </a:solidFill>
              </a:rPr>
              <a:pPr/>
              <a:t>28.02.2019</a:t>
            </a:fld>
            <a:endParaRPr lang="de-DE">
              <a:solidFill>
                <a:srgbClr val="000000"/>
              </a:solidFill>
            </a:endParaRPr>
          </a:p>
        </p:txBody>
      </p:sp>
      <p:sp>
        <p:nvSpPr>
          <p:cNvPr id="6" name="Foliennummernplatzhalter 5"/>
          <p:cNvSpPr>
            <a:spLocks noGrp="1"/>
          </p:cNvSpPr>
          <p:nvPr>
            <p:ph type="sldNum" sz="quarter" idx="11"/>
          </p:nvPr>
        </p:nvSpPr>
        <p:spPr/>
        <p:txBody>
          <a:bodyPr/>
          <a:lstStyle>
            <a:lvl1pPr>
              <a:defRPr/>
            </a:lvl1pPr>
          </a:lstStyle>
          <a:p>
            <a:fld id="{07E8BB52-CA46-49AB-8871-831104575AC9}" type="slidenum">
              <a:rPr lang="de-DE">
                <a:solidFill>
                  <a:srgbClr val="000000"/>
                </a:solidFill>
              </a:rPr>
              <a:pPr/>
              <a:t>‹#›</a:t>
            </a:fld>
            <a:endParaRPr lang="de-DE">
              <a:solidFill>
                <a:srgbClr val="000000"/>
              </a:solidFill>
            </a:endParaRPr>
          </a:p>
        </p:txBody>
      </p:sp>
      <p:sp>
        <p:nvSpPr>
          <p:cNvPr id="7" name="Fußzeilenplatzhalter 6"/>
          <p:cNvSpPr>
            <a:spLocks noGrp="1"/>
          </p:cNvSpPr>
          <p:nvPr>
            <p:ph type="ftr" sz="quarter" idx="12"/>
          </p:nvPr>
        </p:nvSpPr>
        <p:spPr/>
        <p:txBody>
          <a:bodyPr/>
          <a:lstStyle>
            <a:lvl1pPr>
              <a:defRPr/>
            </a:lvl1pPr>
          </a:lstStyle>
          <a:p>
            <a:r>
              <a:rPr lang="de-DE">
                <a:solidFill>
                  <a:srgbClr val="000000"/>
                </a:solidFill>
              </a:rPr>
              <a:t>Carl Zeiss Microscopy</a:t>
            </a:r>
          </a:p>
        </p:txBody>
      </p:sp>
    </p:spTree>
    <p:extLst>
      <p:ext uri="{BB962C8B-B14F-4D97-AF65-F5344CB8AC3E}">
        <p14:creationId xmlns:p14="http://schemas.microsoft.com/office/powerpoint/2010/main" val="5065437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a:t>Titelmasterformat durch Klicken bearbeiten</a:t>
            </a:r>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Datumsplatzhalter 4"/>
          <p:cNvSpPr>
            <a:spLocks noGrp="1"/>
          </p:cNvSpPr>
          <p:nvPr>
            <p:ph type="dt" sz="half" idx="10"/>
          </p:nvPr>
        </p:nvSpPr>
        <p:spPr/>
        <p:txBody>
          <a:bodyPr/>
          <a:lstStyle>
            <a:lvl1pPr>
              <a:defRPr/>
            </a:lvl1pPr>
          </a:lstStyle>
          <a:p>
            <a:fld id="{A1A6930B-FE3D-407C-8F5A-330C1B04A6A5}" type="datetime1">
              <a:rPr lang="de-DE" smtClean="0">
                <a:solidFill>
                  <a:srgbClr val="000000"/>
                </a:solidFill>
              </a:rPr>
              <a:pPr/>
              <a:t>28.02.2019</a:t>
            </a:fld>
            <a:endParaRPr lang="de-DE">
              <a:solidFill>
                <a:srgbClr val="000000"/>
              </a:solidFill>
            </a:endParaRPr>
          </a:p>
        </p:txBody>
      </p:sp>
      <p:sp>
        <p:nvSpPr>
          <p:cNvPr id="6" name="Foliennummernplatzhalter 5"/>
          <p:cNvSpPr>
            <a:spLocks noGrp="1"/>
          </p:cNvSpPr>
          <p:nvPr>
            <p:ph type="sldNum" sz="quarter" idx="11"/>
          </p:nvPr>
        </p:nvSpPr>
        <p:spPr/>
        <p:txBody>
          <a:bodyPr/>
          <a:lstStyle>
            <a:lvl1pPr>
              <a:defRPr/>
            </a:lvl1pPr>
          </a:lstStyle>
          <a:p>
            <a:fld id="{9DFB4647-7B30-4AC1-A8B1-F2C95ED2674F}" type="slidenum">
              <a:rPr lang="de-DE">
                <a:solidFill>
                  <a:srgbClr val="000000"/>
                </a:solidFill>
              </a:rPr>
              <a:pPr/>
              <a:t>‹#›</a:t>
            </a:fld>
            <a:endParaRPr lang="de-DE">
              <a:solidFill>
                <a:srgbClr val="000000"/>
              </a:solidFill>
            </a:endParaRPr>
          </a:p>
        </p:txBody>
      </p:sp>
      <p:sp>
        <p:nvSpPr>
          <p:cNvPr id="7" name="Fußzeilenplatzhalter 6"/>
          <p:cNvSpPr>
            <a:spLocks noGrp="1"/>
          </p:cNvSpPr>
          <p:nvPr>
            <p:ph type="ftr" sz="quarter" idx="12"/>
          </p:nvPr>
        </p:nvSpPr>
        <p:spPr/>
        <p:txBody>
          <a:bodyPr/>
          <a:lstStyle>
            <a:lvl1pPr>
              <a:defRPr/>
            </a:lvl1pPr>
          </a:lstStyle>
          <a:p>
            <a:r>
              <a:rPr lang="de-DE">
                <a:solidFill>
                  <a:srgbClr val="000000"/>
                </a:solidFill>
              </a:rPr>
              <a:t>Carl Zeiss Microscopy</a:t>
            </a:r>
          </a:p>
        </p:txBody>
      </p:sp>
    </p:spTree>
    <p:extLst>
      <p:ext uri="{BB962C8B-B14F-4D97-AF65-F5344CB8AC3E}">
        <p14:creationId xmlns:p14="http://schemas.microsoft.com/office/powerpoint/2010/main" val="18817125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F765975-A351-42C2-A247-B41DB5844E41}" type="datetimeFigureOut">
              <a:rPr lang="en-US" smtClean="0">
                <a:solidFill>
                  <a:prstClr val="black">
                    <a:tint val="75000"/>
                  </a:prstClr>
                </a:solidFill>
              </a:rPr>
              <a:pPr/>
              <a:t>2/28/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132160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lvl1pPr>
              <a:defRPr/>
            </a:lvl1pPr>
          </a:lstStyle>
          <a:p>
            <a:fld id="{14AF4BBC-DC0C-4E5A-B7A1-E9A027BFE326}" type="datetime1">
              <a:rPr lang="de-DE" smtClean="0">
                <a:solidFill>
                  <a:srgbClr val="000000"/>
                </a:solidFill>
              </a:rPr>
              <a:pPr/>
              <a:t>28.02.2019</a:t>
            </a:fld>
            <a:endParaRPr lang="de-DE">
              <a:solidFill>
                <a:srgbClr val="000000"/>
              </a:solidFill>
            </a:endParaRPr>
          </a:p>
        </p:txBody>
      </p:sp>
      <p:sp>
        <p:nvSpPr>
          <p:cNvPr id="5" name="Foliennummernplatzhalter 4"/>
          <p:cNvSpPr>
            <a:spLocks noGrp="1"/>
          </p:cNvSpPr>
          <p:nvPr>
            <p:ph type="sldNum" sz="quarter" idx="11"/>
          </p:nvPr>
        </p:nvSpPr>
        <p:spPr/>
        <p:txBody>
          <a:bodyPr/>
          <a:lstStyle>
            <a:lvl1pPr>
              <a:defRPr/>
            </a:lvl1pPr>
          </a:lstStyle>
          <a:p>
            <a:fld id="{DCB2D7BF-5786-44ED-AFC1-795E5181F2D1}" type="slidenum">
              <a:rPr lang="de-DE">
                <a:solidFill>
                  <a:srgbClr val="000000"/>
                </a:solidFill>
              </a:rPr>
              <a:pPr/>
              <a:t>‹#›</a:t>
            </a:fld>
            <a:endParaRPr lang="de-DE">
              <a:solidFill>
                <a:srgbClr val="000000"/>
              </a:solidFill>
            </a:endParaRPr>
          </a:p>
        </p:txBody>
      </p:sp>
      <p:sp>
        <p:nvSpPr>
          <p:cNvPr id="6" name="Fußzeilenplatzhalter 5"/>
          <p:cNvSpPr>
            <a:spLocks noGrp="1"/>
          </p:cNvSpPr>
          <p:nvPr>
            <p:ph type="ftr" sz="quarter" idx="12"/>
          </p:nvPr>
        </p:nvSpPr>
        <p:spPr/>
        <p:txBody>
          <a:bodyPr/>
          <a:lstStyle>
            <a:lvl1pPr>
              <a:defRPr/>
            </a:lvl1pPr>
          </a:lstStyle>
          <a:p>
            <a:r>
              <a:rPr lang="de-DE">
                <a:solidFill>
                  <a:srgbClr val="000000"/>
                </a:solidFill>
              </a:rPr>
              <a:t>Carl Zeiss Microscopy</a:t>
            </a:r>
          </a:p>
        </p:txBody>
      </p:sp>
    </p:spTree>
    <p:extLst>
      <p:ext uri="{BB962C8B-B14F-4D97-AF65-F5344CB8AC3E}">
        <p14:creationId xmlns:p14="http://schemas.microsoft.com/office/powerpoint/2010/main" val="87535872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24638" y="307975"/>
            <a:ext cx="2051050" cy="5862638"/>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466725" y="307975"/>
            <a:ext cx="6005513" cy="586263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lvl1pPr>
              <a:defRPr/>
            </a:lvl1pPr>
          </a:lstStyle>
          <a:p>
            <a:fld id="{9F2A1B4F-6832-4B56-8F7C-3F290B889216}" type="datetime1">
              <a:rPr lang="de-DE" smtClean="0">
                <a:solidFill>
                  <a:srgbClr val="000000"/>
                </a:solidFill>
              </a:rPr>
              <a:pPr/>
              <a:t>28.02.2019</a:t>
            </a:fld>
            <a:endParaRPr lang="de-DE">
              <a:solidFill>
                <a:srgbClr val="000000"/>
              </a:solidFill>
            </a:endParaRPr>
          </a:p>
        </p:txBody>
      </p:sp>
      <p:sp>
        <p:nvSpPr>
          <p:cNvPr id="5" name="Foliennummernplatzhalter 4"/>
          <p:cNvSpPr>
            <a:spLocks noGrp="1"/>
          </p:cNvSpPr>
          <p:nvPr>
            <p:ph type="sldNum" sz="quarter" idx="11"/>
          </p:nvPr>
        </p:nvSpPr>
        <p:spPr/>
        <p:txBody>
          <a:bodyPr/>
          <a:lstStyle>
            <a:lvl1pPr>
              <a:defRPr/>
            </a:lvl1pPr>
          </a:lstStyle>
          <a:p>
            <a:fld id="{E6B5A577-C0D6-4A5C-B870-6858098C7882}" type="slidenum">
              <a:rPr lang="de-DE">
                <a:solidFill>
                  <a:srgbClr val="000000"/>
                </a:solidFill>
              </a:rPr>
              <a:pPr/>
              <a:t>‹#›</a:t>
            </a:fld>
            <a:endParaRPr lang="de-DE">
              <a:solidFill>
                <a:srgbClr val="000000"/>
              </a:solidFill>
            </a:endParaRPr>
          </a:p>
        </p:txBody>
      </p:sp>
      <p:sp>
        <p:nvSpPr>
          <p:cNvPr id="6" name="Fußzeilenplatzhalter 5"/>
          <p:cNvSpPr>
            <a:spLocks noGrp="1"/>
          </p:cNvSpPr>
          <p:nvPr>
            <p:ph type="ftr" sz="quarter" idx="12"/>
          </p:nvPr>
        </p:nvSpPr>
        <p:spPr/>
        <p:txBody>
          <a:bodyPr/>
          <a:lstStyle>
            <a:lvl1pPr>
              <a:defRPr/>
            </a:lvl1pPr>
          </a:lstStyle>
          <a:p>
            <a:r>
              <a:rPr lang="de-DE">
                <a:solidFill>
                  <a:srgbClr val="000000"/>
                </a:solidFill>
              </a:rPr>
              <a:t>Carl Zeiss Microscopy</a:t>
            </a:r>
          </a:p>
        </p:txBody>
      </p:sp>
    </p:spTree>
    <p:extLst>
      <p:ext uri="{BB962C8B-B14F-4D97-AF65-F5344CB8AC3E}">
        <p14:creationId xmlns:p14="http://schemas.microsoft.com/office/powerpoint/2010/main" val="304459880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 CorrMic">
    <p:spTree>
      <p:nvGrpSpPr>
        <p:cNvPr id="1" name=""/>
        <p:cNvGrpSpPr/>
        <p:nvPr/>
      </p:nvGrpSpPr>
      <p:grpSpPr>
        <a:xfrm>
          <a:off x="0" y="0"/>
          <a:ext cx="0" cy="0"/>
          <a:chOff x="0" y="0"/>
          <a:chExt cx="0" cy="0"/>
        </a:xfrm>
      </p:grpSpPr>
      <p:sp>
        <p:nvSpPr>
          <p:cNvPr id="3251215" name="Freeform 15"/>
          <p:cNvSpPr>
            <a:spLocks noEditPoints="1"/>
          </p:cNvSpPr>
          <p:nvPr>
            <p:custDataLst>
              <p:tags r:id="rId2"/>
            </p:custDataLst>
          </p:nvPr>
        </p:nvSpPr>
        <p:spPr bwMode="auto">
          <a:xfrm>
            <a:off x="8209757" y="379414"/>
            <a:ext cx="463550" cy="488951"/>
          </a:xfrm>
          <a:custGeom>
            <a:avLst/>
            <a:gdLst>
              <a:gd name="T0" fmla="*/ 743 w 4092"/>
              <a:gd name="T1" fmla="*/ 3836 h 4104"/>
              <a:gd name="T2" fmla="*/ 1652 w 4092"/>
              <a:gd name="T3" fmla="*/ 3680 h 4104"/>
              <a:gd name="T4" fmla="*/ 2573 w 4092"/>
              <a:gd name="T5" fmla="*/ 3692 h 4104"/>
              <a:gd name="T6" fmla="*/ 3476 w 4092"/>
              <a:gd name="T7" fmla="*/ 3873 h 4104"/>
              <a:gd name="T8" fmla="*/ 0 w 4092"/>
              <a:gd name="T9" fmla="*/ 0 h 4104"/>
              <a:gd name="T10" fmla="*/ 3802 w 4092"/>
              <a:gd name="T11" fmla="*/ 1443 h 4104"/>
              <a:gd name="T12" fmla="*/ 3712 w 4092"/>
              <a:gd name="T13" fmla="*/ 1281 h 4104"/>
              <a:gd name="T14" fmla="*/ 3509 w 4092"/>
              <a:gd name="T15" fmla="*/ 1254 h 4104"/>
              <a:gd name="T16" fmla="*/ 3662 w 4092"/>
              <a:gd name="T17" fmla="*/ 1523 h 4104"/>
              <a:gd name="T18" fmla="*/ 3865 w 4092"/>
              <a:gd name="T19" fmla="*/ 1799 h 4104"/>
              <a:gd name="T20" fmla="*/ 3900 w 4092"/>
              <a:gd name="T21" fmla="*/ 2004 h 4104"/>
              <a:gd name="T22" fmla="*/ 3313 w 4092"/>
              <a:gd name="T23" fmla="*/ 1825 h 4104"/>
              <a:gd name="T24" fmla="*/ 3412 w 4092"/>
              <a:gd name="T25" fmla="*/ 1939 h 4104"/>
              <a:gd name="T26" fmla="*/ 3572 w 4092"/>
              <a:gd name="T27" fmla="*/ 1876 h 4104"/>
              <a:gd name="T28" fmla="*/ 3353 w 4092"/>
              <a:gd name="T29" fmla="*/ 1570 h 4104"/>
              <a:gd name="T30" fmla="*/ 3203 w 4092"/>
              <a:gd name="T31" fmla="*/ 1305 h 4104"/>
              <a:gd name="T32" fmla="*/ 2422 w 4092"/>
              <a:gd name="T33" fmla="*/ 1158 h 4104"/>
              <a:gd name="T34" fmla="*/ 2958 w 4092"/>
              <a:gd name="T35" fmla="*/ 1319 h 4104"/>
              <a:gd name="T36" fmla="*/ 2839 w 4092"/>
              <a:gd name="T37" fmla="*/ 1250 h 4104"/>
              <a:gd name="T38" fmla="*/ 2783 w 4092"/>
              <a:gd name="T39" fmla="*/ 1403 h 4104"/>
              <a:gd name="T40" fmla="*/ 2986 w 4092"/>
              <a:gd name="T41" fmla="*/ 1654 h 4104"/>
              <a:gd name="T42" fmla="*/ 3113 w 4092"/>
              <a:gd name="T43" fmla="*/ 1932 h 4104"/>
              <a:gd name="T44" fmla="*/ 2408 w 4092"/>
              <a:gd name="T45" fmla="*/ 1754 h 4104"/>
              <a:gd name="T46" fmla="*/ 2577 w 4092"/>
              <a:gd name="T47" fmla="*/ 1912 h 4104"/>
              <a:gd name="T48" fmla="*/ 2802 w 4092"/>
              <a:gd name="T49" fmla="*/ 1948 h 4104"/>
              <a:gd name="T50" fmla="*/ 2677 w 4092"/>
              <a:gd name="T51" fmla="*/ 1714 h 4104"/>
              <a:gd name="T52" fmla="*/ 2446 w 4092"/>
              <a:gd name="T53" fmla="*/ 1400 h 4104"/>
              <a:gd name="T54" fmla="*/ 1842 w 4092"/>
              <a:gd name="T55" fmla="*/ 1948 h 4104"/>
              <a:gd name="T56" fmla="*/ 1927 w 4092"/>
              <a:gd name="T57" fmla="*/ 1911 h 4104"/>
              <a:gd name="T58" fmla="*/ 1913 w 4092"/>
              <a:gd name="T59" fmla="*/ 1271 h 4104"/>
              <a:gd name="T60" fmla="*/ 2306 w 4092"/>
              <a:gd name="T61" fmla="*/ 1158 h 4104"/>
              <a:gd name="T62" fmla="*/ 2224 w 4092"/>
              <a:gd name="T63" fmla="*/ 1287 h 4104"/>
              <a:gd name="T64" fmla="*/ 2224 w 4092"/>
              <a:gd name="T65" fmla="*/ 1912 h 4104"/>
              <a:gd name="T66" fmla="*/ 2306 w 4092"/>
              <a:gd name="T67" fmla="*/ 2039 h 4104"/>
              <a:gd name="T68" fmla="*/ 1057 w 4092"/>
              <a:gd name="T69" fmla="*/ 1935 h 4104"/>
              <a:gd name="T70" fmla="*/ 1085 w 4092"/>
              <a:gd name="T71" fmla="*/ 1299 h 4104"/>
              <a:gd name="T72" fmla="*/ 1026 w 4092"/>
              <a:gd name="T73" fmla="*/ 1250 h 4104"/>
              <a:gd name="T74" fmla="*/ 1620 w 4092"/>
              <a:gd name="T75" fmla="*/ 1356 h 4104"/>
              <a:gd name="T76" fmla="*/ 1530 w 4092"/>
              <a:gd name="T77" fmla="*/ 1259 h 4104"/>
              <a:gd name="T78" fmla="*/ 1432 w 4092"/>
              <a:gd name="T79" fmla="*/ 1548 h 4104"/>
              <a:gd name="T80" fmla="*/ 1477 w 4092"/>
              <a:gd name="T81" fmla="*/ 1445 h 4104"/>
              <a:gd name="T82" fmla="*/ 1465 w 4092"/>
              <a:gd name="T83" fmla="*/ 1681 h 4104"/>
              <a:gd name="T84" fmla="*/ 1369 w 4092"/>
              <a:gd name="T85" fmla="*/ 1948 h 4104"/>
              <a:gd name="T86" fmla="*/ 1589 w 4092"/>
              <a:gd name="T87" fmla="*/ 1894 h 4104"/>
              <a:gd name="T88" fmla="*/ 1648 w 4092"/>
              <a:gd name="T89" fmla="*/ 1754 h 4104"/>
              <a:gd name="T90" fmla="*/ 180 w 4092"/>
              <a:gd name="T91" fmla="*/ 1948 h 4104"/>
              <a:gd name="T92" fmla="*/ 309 w 4092"/>
              <a:gd name="T93" fmla="*/ 1667 h 4104"/>
              <a:gd name="T94" fmla="*/ 538 w 4092"/>
              <a:gd name="T95" fmla="*/ 1368 h 4104"/>
              <a:gd name="T96" fmla="*/ 443 w 4092"/>
              <a:gd name="T97" fmla="*/ 1255 h 4104"/>
              <a:gd name="T98" fmla="*/ 315 w 4092"/>
              <a:gd name="T99" fmla="*/ 1374 h 4104"/>
              <a:gd name="T100" fmla="*/ 912 w 4092"/>
              <a:gd name="T101" fmla="*/ 1195 h 4104"/>
              <a:gd name="T102" fmla="*/ 784 w 4092"/>
              <a:gd name="T103" fmla="*/ 1516 h 4104"/>
              <a:gd name="T104" fmla="*/ 551 w 4092"/>
              <a:gd name="T105" fmla="*/ 1825 h 4104"/>
              <a:gd name="T106" fmla="*/ 707 w 4092"/>
              <a:gd name="T107" fmla="*/ 1925 h 4104"/>
              <a:gd name="T108" fmla="*/ 786 w 4092"/>
              <a:gd name="T109" fmla="*/ 1827 h 4104"/>
              <a:gd name="T110" fmla="*/ 173 w 4092"/>
              <a:gd name="T111" fmla="*/ 1998 h 4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92" h="4104">
                <a:moveTo>
                  <a:pt x="0" y="4104"/>
                </a:moveTo>
                <a:lnTo>
                  <a:pt x="121" y="4051"/>
                </a:lnTo>
                <a:lnTo>
                  <a:pt x="243" y="4001"/>
                </a:lnTo>
                <a:lnTo>
                  <a:pt x="366" y="3955"/>
                </a:lnTo>
                <a:lnTo>
                  <a:pt x="491" y="3912"/>
                </a:lnTo>
                <a:lnTo>
                  <a:pt x="617" y="3873"/>
                </a:lnTo>
                <a:lnTo>
                  <a:pt x="743" y="3836"/>
                </a:lnTo>
                <a:lnTo>
                  <a:pt x="871" y="3804"/>
                </a:lnTo>
                <a:lnTo>
                  <a:pt x="1000" y="3775"/>
                </a:lnTo>
                <a:lnTo>
                  <a:pt x="1129" y="3749"/>
                </a:lnTo>
                <a:lnTo>
                  <a:pt x="1259" y="3727"/>
                </a:lnTo>
                <a:lnTo>
                  <a:pt x="1389" y="3707"/>
                </a:lnTo>
                <a:lnTo>
                  <a:pt x="1521" y="3692"/>
                </a:lnTo>
                <a:lnTo>
                  <a:pt x="1652" y="3680"/>
                </a:lnTo>
                <a:lnTo>
                  <a:pt x="1783" y="3671"/>
                </a:lnTo>
                <a:lnTo>
                  <a:pt x="1915" y="3666"/>
                </a:lnTo>
                <a:lnTo>
                  <a:pt x="2047" y="3664"/>
                </a:lnTo>
                <a:lnTo>
                  <a:pt x="2178" y="3666"/>
                </a:lnTo>
                <a:lnTo>
                  <a:pt x="2311" y="3671"/>
                </a:lnTo>
                <a:lnTo>
                  <a:pt x="2442" y="3680"/>
                </a:lnTo>
                <a:lnTo>
                  <a:pt x="2573" y="3692"/>
                </a:lnTo>
                <a:lnTo>
                  <a:pt x="2704" y="3707"/>
                </a:lnTo>
                <a:lnTo>
                  <a:pt x="2835" y="3727"/>
                </a:lnTo>
                <a:lnTo>
                  <a:pt x="2964" y="3749"/>
                </a:lnTo>
                <a:lnTo>
                  <a:pt x="3093" y="3775"/>
                </a:lnTo>
                <a:lnTo>
                  <a:pt x="3222" y="3804"/>
                </a:lnTo>
                <a:lnTo>
                  <a:pt x="3350" y="3836"/>
                </a:lnTo>
                <a:lnTo>
                  <a:pt x="3476" y="3873"/>
                </a:lnTo>
                <a:lnTo>
                  <a:pt x="3602" y="3912"/>
                </a:lnTo>
                <a:lnTo>
                  <a:pt x="3726" y="3955"/>
                </a:lnTo>
                <a:lnTo>
                  <a:pt x="3850" y="4001"/>
                </a:lnTo>
                <a:lnTo>
                  <a:pt x="3972" y="4051"/>
                </a:lnTo>
                <a:lnTo>
                  <a:pt x="4092" y="4104"/>
                </a:lnTo>
                <a:lnTo>
                  <a:pt x="4092" y="0"/>
                </a:lnTo>
                <a:lnTo>
                  <a:pt x="0" y="0"/>
                </a:lnTo>
                <a:lnTo>
                  <a:pt x="0" y="4104"/>
                </a:lnTo>
                <a:close/>
                <a:moveTo>
                  <a:pt x="3198" y="1210"/>
                </a:moveTo>
                <a:lnTo>
                  <a:pt x="3205" y="1184"/>
                </a:lnTo>
                <a:lnTo>
                  <a:pt x="3214" y="1158"/>
                </a:lnTo>
                <a:lnTo>
                  <a:pt x="3891" y="1158"/>
                </a:lnTo>
                <a:lnTo>
                  <a:pt x="3891" y="1443"/>
                </a:lnTo>
                <a:lnTo>
                  <a:pt x="3802" y="1443"/>
                </a:lnTo>
                <a:lnTo>
                  <a:pt x="3788" y="1394"/>
                </a:lnTo>
                <a:lnTo>
                  <a:pt x="3770" y="1352"/>
                </a:lnTo>
                <a:lnTo>
                  <a:pt x="3761" y="1334"/>
                </a:lnTo>
                <a:lnTo>
                  <a:pt x="3749" y="1319"/>
                </a:lnTo>
                <a:lnTo>
                  <a:pt x="3738" y="1304"/>
                </a:lnTo>
                <a:lnTo>
                  <a:pt x="3725" y="1292"/>
                </a:lnTo>
                <a:lnTo>
                  <a:pt x="3712" y="1281"/>
                </a:lnTo>
                <a:lnTo>
                  <a:pt x="3698" y="1272"/>
                </a:lnTo>
                <a:lnTo>
                  <a:pt x="3682" y="1264"/>
                </a:lnTo>
                <a:lnTo>
                  <a:pt x="3667" y="1258"/>
                </a:lnTo>
                <a:lnTo>
                  <a:pt x="3631" y="1250"/>
                </a:lnTo>
                <a:lnTo>
                  <a:pt x="3592" y="1248"/>
                </a:lnTo>
                <a:lnTo>
                  <a:pt x="3509" y="1248"/>
                </a:lnTo>
                <a:lnTo>
                  <a:pt x="3509" y="1254"/>
                </a:lnTo>
                <a:lnTo>
                  <a:pt x="3517" y="1281"/>
                </a:lnTo>
                <a:lnTo>
                  <a:pt x="3528" y="1311"/>
                </a:lnTo>
                <a:lnTo>
                  <a:pt x="3548" y="1353"/>
                </a:lnTo>
                <a:lnTo>
                  <a:pt x="3575" y="1403"/>
                </a:lnTo>
                <a:lnTo>
                  <a:pt x="3613" y="1459"/>
                </a:lnTo>
                <a:lnTo>
                  <a:pt x="3635" y="1491"/>
                </a:lnTo>
                <a:lnTo>
                  <a:pt x="3662" y="1523"/>
                </a:lnTo>
                <a:lnTo>
                  <a:pt x="3691" y="1556"/>
                </a:lnTo>
                <a:lnTo>
                  <a:pt x="3724" y="1590"/>
                </a:lnTo>
                <a:lnTo>
                  <a:pt x="3749" y="1618"/>
                </a:lnTo>
                <a:lnTo>
                  <a:pt x="3778" y="1654"/>
                </a:lnTo>
                <a:lnTo>
                  <a:pt x="3808" y="1698"/>
                </a:lnTo>
                <a:lnTo>
                  <a:pt x="3838" y="1747"/>
                </a:lnTo>
                <a:lnTo>
                  <a:pt x="3865" y="1799"/>
                </a:lnTo>
                <a:lnTo>
                  <a:pt x="3887" y="1852"/>
                </a:lnTo>
                <a:lnTo>
                  <a:pt x="3895" y="1879"/>
                </a:lnTo>
                <a:lnTo>
                  <a:pt x="3901" y="1906"/>
                </a:lnTo>
                <a:lnTo>
                  <a:pt x="3904" y="1932"/>
                </a:lnTo>
                <a:lnTo>
                  <a:pt x="3906" y="1957"/>
                </a:lnTo>
                <a:lnTo>
                  <a:pt x="3905" y="1983"/>
                </a:lnTo>
                <a:lnTo>
                  <a:pt x="3900" y="2004"/>
                </a:lnTo>
                <a:lnTo>
                  <a:pt x="3893" y="2022"/>
                </a:lnTo>
                <a:lnTo>
                  <a:pt x="3883" y="2039"/>
                </a:lnTo>
                <a:lnTo>
                  <a:pt x="3199" y="2039"/>
                </a:lnTo>
                <a:lnTo>
                  <a:pt x="3199" y="1754"/>
                </a:lnTo>
                <a:lnTo>
                  <a:pt x="3293" y="1754"/>
                </a:lnTo>
                <a:lnTo>
                  <a:pt x="3302" y="1791"/>
                </a:lnTo>
                <a:lnTo>
                  <a:pt x="3313" y="1825"/>
                </a:lnTo>
                <a:lnTo>
                  <a:pt x="3328" y="1858"/>
                </a:lnTo>
                <a:lnTo>
                  <a:pt x="3346" y="1887"/>
                </a:lnTo>
                <a:lnTo>
                  <a:pt x="3356" y="1900"/>
                </a:lnTo>
                <a:lnTo>
                  <a:pt x="3369" y="1912"/>
                </a:lnTo>
                <a:lnTo>
                  <a:pt x="3381" y="1922"/>
                </a:lnTo>
                <a:lnTo>
                  <a:pt x="3396" y="1932"/>
                </a:lnTo>
                <a:lnTo>
                  <a:pt x="3412" y="1939"/>
                </a:lnTo>
                <a:lnTo>
                  <a:pt x="3430" y="1944"/>
                </a:lnTo>
                <a:lnTo>
                  <a:pt x="3450" y="1947"/>
                </a:lnTo>
                <a:lnTo>
                  <a:pt x="3472" y="1948"/>
                </a:lnTo>
                <a:lnTo>
                  <a:pt x="3594" y="1948"/>
                </a:lnTo>
                <a:lnTo>
                  <a:pt x="3594" y="1941"/>
                </a:lnTo>
                <a:lnTo>
                  <a:pt x="3586" y="1918"/>
                </a:lnTo>
                <a:lnTo>
                  <a:pt x="3572" y="1876"/>
                </a:lnTo>
                <a:lnTo>
                  <a:pt x="3554" y="1841"/>
                </a:lnTo>
                <a:lnTo>
                  <a:pt x="3529" y="1800"/>
                </a:lnTo>
                <a:lnTo>
                  <a:pt x="3499" y="1758"/>
                </a:lnTo>
                <a:lnTo>
                  <a:pt x="3469" y="1714"/>
                </a:lnTo>
                <a:lnTo>
                  <a:pt x="3412" y="1641"/>
                </a:lnTo>
                <a:lnTo>
                  <a:pt x="3383" y="1603"/>
                </a:lnTo>
                <a:lnTo>
                  <a:pt x="3353" y="1570"/>
                </a:lnTo>
                <a:lnTo>
                  <a:pt x="3324" y="1533"/>
                </a:lnTo>
                <a:lnTo>
                  <a:pt x="3288" y="1485"/>
                </a:lnTo>
                <a:lnTo>
                  <a:pt x="3254" y="1430"/>
                </a:lnTo>
                <a:lnTo>
                  <a:pt x="3238" y="1400"/>
                </a:lnTo>
                <a:lnTo>
                  <a:pt x="3224" y="1370"/>
                </a:lnTo>
                <a:lnTo>
                  <a:pt x="3212" y="1337"/>
                </a:lnTo>
                <a:lnTo>
                  <a:pt x="3203" y="1305"/>
                </a:lnTo>
                <a:lnTo>
                  <a:pt x="3197" y="1273"/>
                </a:lnTo>
                <a:lnTo>
                  <a:pt x="3195" y="1240"/>
                </a:lnTo>
                <a:lnTo>
                  <a:pt x="3198" y="1210"/>
                </a:lnTo>
                <a:close/>
                <a:moveTo>
                  <a:pt x="2404" y="1225"/>
                </a:moveTo>
                <a:lnTo>
                  <a:pt x="2406" y="1210"/>
                </a:lnTo>
                <a:lnTo>
                  <a:pt x="2413" y="1184"/>
                </a:lnTo>
                <a:lnTo>
                  <a:pt x="2422" y="1158"/>
                </a:lnTo>
                <a:lnTo>
                  <a:pt x="3099" y="1158"/>
                </a:lnTo>
                <a:lnTo>
                  <a:pt x="3099" y="1443"/>
                </a:lnTo>
                <a:lnTo>
                  <a:pt x="3010" y="1443"/>
                </a:lnTo>
                <a:lnTo>
                  <a:pt x="2996" y="1394"/>
                </a:lnTo>
                <a:lnTo>
                  <a:pt x="2978" y="1352"/>
                </a:lnTo>
                <a:lnTo>
                  <a:pt x="2968" y="1334"/>
                </a:lnTo>
                <a:lnTo>
                  <a:pt x="2958" y="1319"/>
                </a:lnTo>
                <a:lnTo>
                  <a:pt x="2945" y="1304"/>
                </a:lnTo>
                <a:lnTo>
                  <a:pt x="2933" y="1292"/>
                </a:lnTo>
                <a:lnTo>
                  <a:pt x="2920" y="1281"/>
                </a:lnTo>
                <a:lnTo>
                  <a:pt x="2906" y="1272"/>
                </a:lnTo>
                <a:lnTo>
                  <a:pt x="2890" y="1264"/>
                </a:lnTo>
                <a:lnTo>
                  <a:pt x="2875" y="1258"/>
                </a:lnTo>
                <a:lnTo>
                  <a:pt x="2839" y="1250"/>
                </a:lnTo>
                <a:lnTo>
                  <a:pt x="2800" y="1248"/>
                </a:lnTo>
                <a:lnTo>
                  <a:pt x="2717" y="1248"/>
                </a:lnTo>
                <a:lnTo>
                  <a:pt x="2717" y="1254"/>
                </a:lnTo>
                <a:lnTo>
                  <a:pt x="2725" y="1281"/>
                </a:lnTo>
                <a:lnTo>
                  <a:pt x="2737" y="1311"/>
                </a:lnTo>
                <a:lnTo>
                  <a:pt x="2756" y="1353"/>
                </a:lnTo>
                <a:lnTo>
                  <a:pt x="2783" y="1403"/>
                </a:lnTo>
                <a:lnTo>
                  <a:pt x="2820" y="1459"/>
                </a:lnTo>
                <a:lnTo>
                  <a:pt x="2844" y="1491"/>
                </a:lnTo>
                <a:lnTo>
                  <a:pt x="2870" y="1523"/>
                </a:lnTo>
                <a:lnTo>
                  <a:pt x="2900" y="1556"/>
                </a:lnTo>
                <a:lnTo>
                  <a:pt x="2932" y="1590"/>
                </a:lnTo>
                <a:lnTo>
                  <a:pt x="2957" y="1618"/>
                </a:lnTo>
                <a:lnTo>
                  <a:pt x="2986" y="1654"/>
                </a:lnTo>
                <a:lnTo>
                  <a:pt x="3016" y="1698"/>
                </a:lnTo>
                <a:lnTo>
                  <a:pt x="3046" y="1747"/>
                </a:lnTo>
                <a:lnTo>
                  <a:pt x="3073" y="1799"/>
                </a:lnTo>
                <a:lnTo>
                  <a:pt x="3095" y="1852"/>
                </a:lnTo>
                <a:lnTo>
                  <a:pt x="3103" y="1879"/>
                </a:lnTo>
                <a:lnTo>
                  <a:pt x="3109" y="1906"/>
                </a:lnTo>
                <a:lnTo>
                  <a:pt x="3113" y="1932"/>
                </a:lnTo>
                <a:lnTo>
                  <a:pt x="3114" y="1957"/>
                </a:lnTo>
                <a:lnTo>
                  <a:pt x="3113" y="1983"/>
                </a:lnTo>
                <a:lnTo>
                  <a:pt x="3108" y="2004"/>
                </a:lnTo>
                <a:lnTo>
                  <a:pt x="3101" y="2022"/>
                </a:lnTo>
                <a:lnTo>
                  <a:pt x="3090" y="2039"/>
                </a:lnTo>
                <a:lnTo>
                  <a:pt x="2408" y="2039"/>
                </a:lnTo>
                <a:lnTo>
                  <a:pt x="2408" y="1754"/>
                </a:lnTo>
                <a:lnTo>
                  <a:pt x="2500" y="1754"/>
                </a:lnTo>
                <a:lnTo>
                  <a:pt x="2510" y="1791"/>
                </a:lnTo>
                <a:lnTo>
                  <a:pt x="2521" y="1825"/>
                </a:lnTo>
                <a:lnTo>
                  <a:pt x="2536" y="1858"/>
                </a:lnTo>
                <a:lnTo>
                  <a:pt x="2554" y="1887"/>
                </a:lnTo>
                <a:lnTo>
                  <a:pt x="2564" y="1900"/>
                </a:lnTo>
                <a:lnTo>
                  <a:pt x="2577" y="1912"/>
                </a:lnTo>
                <a:lnTo>
                  <a:pt x="2590" y="1922"/>
                </a:lnTo>
                <a:lnTo>
                  <a:pt x="2605" y="1932"/>
                </a:lnTo>
                <a:lnTo>
                  <a:pt x="2620" y="1939"/>
                </a:lnTo>
                <a:lnTo>
                  <a:pt x="2639" y="1944"/>
                </a:lnTo>
                <a:lnTo>
                  <a:pt x="2659" y="1947"/>
                </a:lnTo>
                <a:lnTo>
                  <a:pt x="2681" y="1948"/>
                </a:lnTo>
                <a:lnTo>
                  <a:pt x="2802" y="1948"/>
                </a:lnTo>
                <a:lnTo>
                  <a:pt x="2802" y="1941"/>
                </a:lnTo>
                <a:lnTo>
                  <a:pt x="2794" y="1918"/>
                </a:lnTo>
                <a:lnTo>
                  <a:pt x="2781" y="1876"/>
                </a:lnTo>
                <a:lnTo>
                  <a:pt x="2762" y="1841"/>
                </a:lnTo>
                <a:lnTo>
                  <a:pt x="2737" y="1800"/>
                </a:lnTo>
                <a:lnTo>
                  <a:pt x="2708" y="1758"/>
                </a:lnTo>
                <a:lnTo>
                  <a:pt x="2677" y="1714"/>
                </a:lnTo>
                <a:lnTo>
                  <a:pt x="2620" y="1641"/>
                </a:lnTo>
                <a:lnTo>
                  <a:pt x="2589" y="1603"/>
                </a:lnTo>
                <a:lnTo>
                  <a:pt x="2561" y="1570"/>
                </a:lnTo>
                <a:lnTo>
                  <a:pt x="2531" y="1533"/>
                </a:lnTo>
                <a:lnTo>
                  <a:pt x="2496" y="1485"/>
                </a:lnTo>
                <a:lnTo>
                  <a:pt x="2462" y="1430"/>
                </a:lnTo>
                <a:lnTo>
                  <a:pt x="2446" y="1400"/>
                </a:lnTo>
                <a:lnTo>
                  <a:pt x="2433" y="1370"/>
                </a:lnTo>
                <a:lnTo>
                  <a:pt x="2420" y="1337"/>
                </a:lnTo>
                <a:lnTo>
                  <a:pt x="2411" y="1305"/>
                </a:lnTo>
                <a:lnTo>
                  <a:pt x="2406" y="1273"/>
                </a:lnTo>
                <a:lnTo>
                  <a:pt x="2402" y="1240"/>
                </a:lnTo>
                <a:lnTo>
                  <a:pt x="2404" y="1225"/>
                </a:lnTo>
                <a:close/>
                <a:moveTo>
                  <a:pt x="1842" y="1948"/>
                </a:moveTo>
                <a:lnTo>
                  <a:pt x="1876" y="1948"/>
                </a:lnTo>
                <a:lnTo>
                  <a:pt x="1884" y="1947"/>
                </a:lnTo>
                <a:lnTo>
                  <a:pt x="1894" y="1943"/>
                </a:lnTo>
                <a:lnTo>
                  <a:pt x="1903" y="1937"/>
                </a:lnTo>
                <a:lnTo>
                  <a:pt x="1913" y="1930"/>
                </a:lnTo>
                <a:lnTo>
                  <a:pt x="1921" y="1920"/>
                </a:lnTo>
                <a:lnTo>
                  <a:pt x="1927" y="1911"/>
                </a:lnTo>
                <a:lnTo>
                  <a:pt x="1931" y="1901"/>
                </a:lnTo>
                <a:lnTo>
                  <a:pt x="1932" y="1892"/>
                </a:lnTo>
                <a:lnTo>
                  <a:pt x="1932" y="1308"/>
                </a:lnTo>
                <a:lnTo>
                  <a:pt x="1931" y="1299"/>
                </a:lnTo>
                <a:lnTo>
                  <a:pt x="1927" y="1289"/>
                </a:lnTo>
                <a:lnTo>
                  <a:pt x="1921" y="1280"/>
                </a:lnTo>
                <a:lnTo>
                  <a:pt x="1913" y="1271"/>
                </a:lnTo>
                <a:lnTo>
                  <a:pt x="1903" y="1262"/>
                </a:lnTo>
                <a:lnTo>
                  <a:pt x="1893" y="1255"/>
                </a:lnTo>
                <a:lnTo>
                  <a:pt x="1882" y="1251"/>
                </a:lnTo>
                <a:lnTo>
                  <a:pt x="1872" y="1250"/>
                </a:lnTo>
                <a:lnTo>
                  <a:pt x="1842" y="1250"/>
                </a:lnTo>
                <a:lnTo>
                  <a:pt x="1842" y="1158"/>
                </a:lnTo>
                <a:lnTo>
                  <a:pt x="2306" y="1158"/>
                </a:lnTo>
                <a:lnTo>
                  <a:pt x="2306" y="1250"/>
                </a:lnTo>
                <a:lnTo>
                  <a:pt x="2275" y="1250"/>
                </a:lnTo>
                <a:lnTo>
                  <a:pt x="2263" y="1252"/>
                </a:lnTo>
                <a:lnTo>
                  <a:pt x="2251" y="1257"/>
                </a:lnTo>
                <a:lnTo>
                  <a:pt x="2241" y="1265"/>
                </a:lnTo>
                <a:lnTo>
                  <a:pt x="2232" y="1276"/>
                </a:lnTo>
                <a:lnTo>
                  <a:pt x="2224" y="1287"/>
                </a:lnTo>
                <a:lnTo>
                  <a:pt x="2219" y="1299"/>
                </a:lnTo>
                <a:lnTo>
                  <a:pt x="2216" y="1309"/>
                </a:lnTo>
                <a:lnTo>
                  <a:pt x="2214" y="1319"/>
                </a:lnTo>
                <a:lnTo>
                  <a:pt x="2214" y="1881"/>
                </a:lnTo>
                <a:lnTo>
                  <a:pt x="2215" y="1890"/>
                </a:lnTo>
                <a:lnTo>
                  <a:pt x="2219" y="1900"/>
                </a:lnTo>
                <a:lnTo>
                  <a:pt x="2224" y="1912"/>
                </a:lnTo>
                <a:lnTo>
                  <a:pt x="2230" y="1923"/>
                </a:lnTo>
                <a:lnTo>
                  <a:pt x="2239" y="1933"/>
                </a:lnTo>
                <a:lnTo>
                  <a:pt x="2249" y="1941"/>
                </a:lnTo>
                <a:lnTo>
                  <a:pt x="2260" y="1946"/>
                </a:lnTo>
                <a:lnTo>
                  <a:pt x="2271" y="1948"/>
                </a:lnTo>
                <a:lnTo>
                  <a:pt x="2306" y="1948"/>
                </a:lnTo>
                <a:lnTo>
                  <a:pt x="2306" y="2039"/>
                </a:lnTo>
                <a:lnTo>
                  <a:pt x="1842" y="2039"/>
                </a:lnTo>
                <a:lnTo>
                  <a:pt x="1842" y="1948"/>
                </a:lnTo>
                <a:close/>
                <a:moveTo>
                  <a:pt x="995" y="1946"/>
                </a:moveTo>
                <a:lnTo>
                  <a:pt x="1030" y="1946"/>
                </a:lnTo>
                <a:lnTo>
                  <a:pt x="1038" y="1944"/>
                </a:lnTo>
                <a:lnTo>
                  <a:pt x="1047" y="1941"/>
                </a:lnTo>
                <a:lnTo>
                  <a:pt x="1057" y="1935"/>
                </a:lnTo>
                <a:lnTo>
                  <a:pt x="1066" y="1927"/>
                </a:lnTo>
                <a:lnTo>
                  <a:pt x="1075" y="1918"/>
                </a:lnTo>
                <a:lnTo>
                  <a:pt x="1081" y="1909"/>
                </a:lnTo>
                <a:lnTo>
                  <a:pt x="1085" y="1899"/>
                </a:lnTo>
                <a:lnTo>
                  <a:pt x="1086" y="1889"/>
                </a:lnTo>
                <a:lnTo>
                  <a:pt x="1086" y="1308"/>
                </a:lnTo>
                <a:lnTo>
                  <a:pt x="1085" y="1299"/>
                </a:lnTo>
                <a:lnTo>
                  <a:pt x="1081" y="1289"/>
                </a:lnTo>
                <a:lnTo>
                  <a:pt x="1075" y="1280"/>
                </a:lnTo>
                <a:lnTo>
                  <a:pt x="1066" y="1271"/>
                </a:lnTo>
                <a:lnTo>
                  <a:pt x="1057" y="1262"/>
                </a:lnTo>
                <a:lnTo>
                  <a:pt x="1046" y="1256"/>
                </a:lnTo>
                <a:lnTo>
                  <a:pt x="1036" y="1251"/>
                </a:lnTo>
                <a:lnTo>
                  <a:pt x="1026" y="1250"/>
                </a:lnTo>
                <a:lnTo>
                  <a:pt x="995" y="1250"/>
                </a:lnTo>
                <a:lnTo>
                  <a:pt x="995" y="1158"/>
                </a:lnTo>
                <a:lnTo>
                  <a:pt x="1742" y="1158"/>
                </a:lnTo>
                <a:lnTo>
                  <a:pt x="1742" y="1443"/>
                </a:lnTo>
                <a:lnTo>
                  <a:pt x="1648" y="1443"/>
                </a:lnTo>
                <a:lnTo>
                  <a:pt x="1635" y="1397"/>
                </a:lnTo>
                <a:lnTo>
                  <a:pt x="1620" y="1356"/>
                </a:lnTo>
                <a:lnTo>
                  <a:pt x="1602" y="1323"/>
                </a:lnTo>
                <a:lnTo>
                  <a:pt x="1592" y="1308"/>
                </a:lnTo>
                <a:lnTo>
                  <a:pt x="1581" y="1296"/>
                </a:lnTo>
                <a:lnTo>
                  <a:pt x="1570" y="1284"/>
                </a:lnTo>
                <a:lnTo>
                  <a:pt x="1557" y="1275"/>
                </a:lnTo>
                <a:lnTo>
                  <a:pt x="1544" y="1267"/>
                </a:lnTo>
                <a:lnTo>
                  <a:pt x="1530" y="1259"/>
                </a:lnTo>
                <a:lnTo>
                  <a:pt x="1514" y="1254"/>
                </a:lnTo>
                <a:lnTo>
                  <a:pt x="1498" y="1251"/>
                </a:lnTo>
                <a:lnTo>
                  <a:pt x="1461" y="1248"/>
                </a:lnTo>
                <a:lnTo>
                  <a:pt x="1369" y="1248"/>
                </a:lnTo>
                <a:lnTo>
                  <a:pt x="1369" y="1553"/>
                </a:lnTo>
                <a:lnTo>
                  <a:pt x="1416" y="1553"/>
                </a:lnTo>
                <a:lnTo>
                  <a:pt x="1432" y="1548"/>
                </a:lnTo>
                <a:lnTo>
                  <a:pt x="1441" y="1542"/>
                </a:lnTo>
                <a:lnTo>
                  <a:pt x="1452" y="1533"/>
                </a:lnTo>
                <a:lnTo>
                  <a:pt x="1461" y="1524"/>
                </a:lnTo>
                <a:lnTo>
                  <a:pt x="1470" y="1513"/>
                </a:lnTo>
                <a:lnTo>
                  <a:pt x="1475" y="1500"/>
                </a:lnTo>
                <a:lnTo>
                  <a:pt x="1477" y="1485"/>
                </a:lnTo>
                <a:lnTo>
                  <a:pt x="1477" y="1445"/>
                </a:lnTo>
                <a:lnTo>
                  <a:pt x="1568" y="1445"/>
                </a:lnTo>
                <a:lnTo>
                  <a:pt x="1568" y="1752"/>
                </a:lnTo>
                <a:lnTo>
                  <a:pt x="1477" y="1752"/>
                </a:lnTo>
                <a:lnTo>
                  <a:pt x="1477" y="1714"/>
                </a:lnTo>
                <a:lnTo>
                  <a:pt x="1476" y="1704"/>
                </a:lnTo>
                <a:lnTo>
                  <a:pt x="1472" y="1693"/>
                </a:lnTo>
                <a:lnTo>
                  <a:pt x="1465" y="1681"/>
                </a:lnTo>
                <a:lnTo>
                  <a:pt x="1457" y="1671"/>
                </a:lnTo>
                <a:lnTo>
                  <a:pt x="1447" y="1661"/>
                </a:lnTo>
                <a:lnTo>
                  <a:pt x="1433" y="1652"/>
                </a:lnTo>
                <a:lnTo>
                  <a:pt x="1419" y="1646"/>
                </a:lnTo>
                <a:lnTo>
                  <a:pt x="1401" y="1644"/>
                </a:lnTo>
                <a:lnTo>
                  <a:pt x="1369" y="1644"/>
                </a:lnTo>
                <a:lnTo>
                  <a:pt x="1369" y="1948"/>
                </a:lnTo>
                <a:lnTo>
                  <a:pt x="1471" y="1948"/>
                </a:lnTo>
                <a:lnTo>
                  <a:pt x="1497" y="1946"/>
                </a:lnTo>
                <a:lnTo>
                  <a:pt x="1524" y="1939"/>
                </a:lnTo>
                <a:lnTo>
                  <a:pt x="1551" y="1925"/>
                </a:lnTo>
                <a:lnTo>
                  <a:pt x="1564" y="1917"/>
                </a:lnTo>
                <a:lnTo>
                  <a:pt x="1577" y="1907"/>
                </a:lnTo>
                <a:lnTo>
                  <a:pt x="1589" y="1894"/>
                </a:lnTo>
                <a:lnTo>
                  <a:pt x="1600" y="1881"/>
                </a:lnTo>
                <a:lnTo>
                  <a:pt x="1611" y="1865"/>
                </a:lnTo>
                <a:lnTo>
                  <a:pt x="1621" y="1847"/>
                </a:lnTo>
                <a:lnTo>
                  <a:pt x="1629" y="1827"/>
                </a:lnTo>
                <a:lnTo>
                  <a:pt x="1637" y="1805"/>
                </a:lnTo>
                <a:lnTo>
                  <a:pt x="1644" y="1781"/>
                </a:lnTo>
                <a:lnTo>
                  <a:pt x="1648" y="1754"/>
                </a:lnTo>
                <a:lnTo>
                  <a:pt x="1742" y="1754"/>
                </a:lnTo>
                <a:lnTo>
                  <a:pt x="1742" y="2039"/>
                </a:lnTo>
                <a:lnTo>
                  <a:pt x="995" y="2039"/>
                </a:lnTo>
                <a:lnTo>
                  <a:pt x="995" y="1946"/>
                </a:lnTo>
                <a:close/>
                <a:moveTo>
                  <a:pt x="173" y="1998"/>
                </a:moveTo>
                <a:lnTo>
                  <a:pt x="174" y="1983"/>
                </a:lnTo>
                <a:lnTo>
                  <a:pt x="180" y="1948"/>
                </a:lnTo>
                <a:lnTo>
                  <a:pt x="192" y="1901"/>
                </a:lnTo>
                <a:lnTo>
                  <a:pt x="201" y="1874"/>
                </a:lnTo>
                <a:lnTo>
                  <a:pt x="213" y="1846"/>
                </a:lnTo>
                <a:lnTo>
                  <a:pt x="235" y="1796"/>
                </a:lnTo>
                <a:lnTo>
                  <a:pt x="267" y="1734"/>
                </a:lnTo>
                <a:lnTo>
                  <a:pt x="287" y="1700"/>
                </a:lnTo>
                <a:lnTo>
                  <a:pt x="309" y="1667"/>
                </a:lnTo>
                <a:lnTo>
                  <a:pt x="334" y="1635"/>
                </a:lnTo>
                <a:lnTo>
                  <a:pt x="360" y="1605"/>
                </a:lnTo>
                <a:lnTo>
                  <a:pt x="392" y="1572"/>
                </a:lnTo>
                <a:lnTo>
                  <a:pt x="420" y="1540"/>
                </a:lnTo>
                <a:lnTo>
                  <a:pt x="469" y="1477"/>
                </a:lnTo>
                <a:lnTo>
                  <a:pt x="508" y="1420"/>
                </a:lnTo>
                <a:lnTo>
                  <a:pt x="538" y="1368"/>
                </a:lnTo>
                <a:lnTo>
                  <a:pt x="559" y="1324"/>
                </a:lnTo>
                <a:lnTo>
                  <a:pt x="574" y="1289"/>
                </a:lnTo>
                <a:lnTo>
                  <a:pt x="588" y="1254"/>
                </a:lnTo>
                <a:lnTo>
                  <a:pt x="588" y="1248"/>
                </a:lnTo>
                <a:lnTo>
                  <a:pt x="506" y="1248"/>
                </a:lnTo>
                <a:lnTo>
                  <a:pt x="472" y="1250"/>
                </a:lnTo>
                <a:lnTo>
                  <a:pt x="443" y="1255"/>
                </a:lnTo>
                <a:lnTo>
                  <a:pt x="418" y="1264"/>
                </a:lnTo>
                <a:lnTo>
                  <a:pt x="395" y="1276"/>
                </a:lnTo>
                <a:lnTo>
                  <a:pt x="375" y="1289"/>
                </a:lnTo>
                <a:lnTo>
                  <a:pt x="359" y="1305"/>
                </a:lnTo>
                <a:lnTo>
                  <a:pt x="344" y="1322"/>
                </a:lnTo>
                <a:lnTo>
                  <a:pt x="332" y="1340"/>
                </a:lnTo>
                <a:lnTo>
                  <a:pt x="315" y="1374"/>
                </a:lnTo>
                <a:lnTo>
                  <a:pt x="303" y="1405"/>
                </a:lnTo>
                <a:lnTo>
                  <a:pt x="295" y="1443"/>
                </a:lnTo>
                <a:lnTo>
                  <a:pt x="206" y="1443"/>
                </a:lnTo>
                <a:lnTo>
                  <a:pt x="206" y="1158"/>
                </a:lnTo>
                <a:lnTo>
                  <a:pt x="913" y="1158"/>
                </a:lnTo>
                <a:lnTo>
                  <a:pt x="913" y="1182"/>
                </a:lnTo>
                <a:lnTo>
                  <a:pt x="912" y="1195"/>
                </a:lnTo>
                <a:lnTo>
                  <a:pt x="907" y="1226"/>
                </a:lnTo>
                <a:lnTo>
                  <a:pt x="897" y="1271"/>
                </a:lnTo>
                <a:lnTo>
                  <a:pt x="881" y="1325"/>
                </a:lnTo>
                <a:lnTo>
                  <a:pt x="859" y="1379"/>
                </a:lnTo>
                <a:lnTo>
                  <a:pt x="835" y="1428"/>
                </a:lnTo>
                <a:lnTo>
                  <a:pt x="810" y="1474"/>
                </a:lnTo>
                <a:lnTo>
                  <a:pt x="784" y="1516"/>
                </a:lnTo>
                <a:lnTo>
                  <a:pt x="757" y="1554"/>
                </a:lnTo>
                <a:lnTo>
                  <a:pt x="730" y="1590"/>
                </a:lnTo>
                <a:lnTo>
                  <a:pt x="673" y="1658"/>
                </a:lnTo>
                <a:lnTo>
                  <a:pt x="620" y="1723"/>
                </a:lnTo>
                <a:lnTo>
                  <a:pt x="596" y="1756"/>
                </a:lnTo>
                <a:lnTo>
                  <a:pt x="572" y="1790"/>
                </a:lnTo>
                <a:lnTo>
                  <a:pt x="551" y="1825"/>
                </a:lnTo>
                <a:lnTo>
                  <a:pt x="533" y="1864"/>
                </a:lnTo>
                <a:lnTo>
                  <a:pt x="516" y="1904"/>
                </a:lnTo>
                <a:lnTo>
                  <a:pt x="503" y="1948"/>
                </a:lnTo>
                <a:lnTo>
                  <a:pt x="624" y="1948"/>
                </a:lnTo>
                <a:lnTo>
                  <a:pt x="651" y="1946"/>
                </a:lnTo>
                <a:lnTo>
                  <a:pt x="680" y="1939"/>
                </a:lnTo>
                <a:lnTo>
                  <a:pt x="707" y="1925"/>
                </a:lnTo>
                <a:lnTo>
                  <a:pt x="720" y="1917"/>
                </a:lnTo>
                <a:lnTo>
                  <a:pt x="733" y="1907"/>
                </a:lnTo>
                <a:lnTo>
                  <a:pt x="744" y="1894"/>
                </a:lnTo>
                <a:lnTo>
                  <a:pt x="756" y="1881"/>
                </a:lnTo>
                <a:lnTo>
                  <a:pt x="767" y="1865"/>
                </a:lnTo>
                <a:lnTo>
                  <a:pt x="777" y="1847"/>
                </a:lnTo>
                <a:lnTo>
                  <a:pt x="786" y="1827"/>
                </a:lnTo>
                <a:lnTo>
                  <a:pt x="793" y="1805"/>
                </a:lnTo>
                <a:lnTo>
                  <a:pt x="799" y="1781"/>
                </a:lnTo>
                <a:lnTo>
                  <a:pt x="805" y="1754"/>
                </a:lnTo>
                <a:lnTo>
                  <a:pt x="897" y="1754"/>
                </a:lnTo>
                <a:lnTo>
                  <a:pt x="897" y="2039"/>
                </a:lnTo>
                <a:lnTo>
                  <a:pt x="173" y="2039"/>
                </a:lnTo>
                <a:lnTo>
                  <a:pt x="173" y="1998"/>
                </a:lnTo>
                <a:close/>
              </a:path>
            </a:pathLst>
          </a:custGeom>
          <a:solidFill>
            <a:srgbClr val="0000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sz="1600">
              <a:solidFill>
                <a:srgbClr val="000000"/>
              </a:solidFill>
            </a:endParaRPr>
          </a:p>
        </p:txBody>
      </p:sp>
      <p:sp>
        <p:nvSpPr>
          <p:cNvPr id="3" name="Text Placeholder 2"/>
          <p:cNvSpPr>
            <a:spLocks noGrp="1"/>
          </p:cNvSpPr>
          <p:nvPr>
            <p:ph type="body" sz="quarter" idx="10"/>
          </p:nvPr>
        </p:nvSpPr>
        <p:spPr>
          <a:xfrm>
            <a:off x="468000" y="5940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7" name="Text Placeholder 2"/>
          <p:cNvSpPr>
            <a:spLocks noGrp="1"/>
          </p:cNvSpPr>
          <p:nvPr>
            <p:ph type="body" sz="quarter" idx="11"/>
          </p:nvPr>
        </p:nvSpPr>
        <p:spPr>
          <a:xfrm>
            <a:off x="468000" y="6192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8" name="Text Placeholder 2"/>
          <p:cNvSpPr>
            <a:spLocks noGrp="1"/>
          </p:cNvSpPr>
          <p:nvPr>
            <p:ph type="body" sz="quarter" idx="12"/>
          </p:nvPr>
        </p:nvSpPr>
        <p:spPr>
          <a:xfrm>
            <a:off x="468000" y="6444000"/>
            <a:ext cx="3024682" cy="208952"/>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4" name="Title 3"/>
          <p:cNvSpPr>
            <a:spLocks noGrp="1"/>
          </p:cNvSpPr>
          <p:nvPr>
            <p:ph type="title"/>
          </p:nvPr>
        </p:nvSpPr>
        <p:spPr/>
        <p:txBody>
          <a:bodyPr/>
          <a:lstStyle/>
          <a:p>
            <a:r>
              <a:rPr lang="en-US"/>
              <a:t>Click to edit Master title style</a:t>
            </a:r>
          </a:p>
        </p:txBody>
      </p:sp>
      <p:pic>
        <p:nvPicPr>
          <p:cNvPr id="9" name="Picture 49" descr="Microscopy"/>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0" y="1350965"/>
            <a:ext cx="9144000" cy="4351337"/>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bwMode="gray">
          <a:xfrm>
            <a:off x="-865458" y="1773238"/>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1" name="TextBox 10"/>
          <p:cNvSpPr txBox="1"/>
          <p:nvPr userDrawn="1"/>
        </p:nvSpPr>
        <p:spPr bwMode="gray">
          <a:xfrm>
            <a:off x="-956830" y="1554163"/>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2" name="Straight Connector 11"/>
          <p:cNvCxnSpPr/>
          <p:nvPr userDrawn="1"/>
        </p:nvCxnSpPr>
        <p:spPr bwMode="gray">
          <a:xfrm flipH="1">
            <a:off x="-288540" y="17732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bwMode="gray">
          <a:xfrm flipH="1">
            <a:off x="-288540" y="15573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userDrawn="1"/>
        </p:nvSpPr>
        <p:spPr bwMode="gray">
          <a:xfrm>
            <a:off x="-865458" y="6093281"/>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5" name="TextBox 14"/>
          <p:cNvSpPr txBox="1"/>
          <p:nvPr userDrawn="1"/>
        </p:nvSpPr>
        <p:spPr bwMode="gray">
          <a:xfrm>
            <a:off x="-956829" y="6524625"/>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6" name="Straight Connector 15"/>
          <p:cNvCxnSpPr/>
          <p:nvPr userDrawn="1"/>
        </p:nvCxnSpPr>
        <p:spPr bwMode="gray">
          <a:xfrm flipH="1">
            <a:off x="-288540" y="6522107"/>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gray">
          <a:xfrm flipH="1">
            <a:off x="-288540" y="6306344"/>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nvGrpSpPr>
          <p:cNvPr id="25" name="Group 24"/>
          <p:cNvGrpSpPr/>
          <p:nvPr userDrawn="1"/>
        </p:nvGrpSpPr>
        <p:grpSpPr>
          <a:xfrm rot="5400000">
            <a:off x="-43126" y="-645663"/>
            <a:ext cx="807434" cy="215444"/>
            <a:chOff x="-1248737" y="516171"/>
            <a:chExt cx="807434" cy="215444"/>
          </a:xfrm>
        </p:grpSpPr>
        <p:sp>
          <p:nvSpPr>
            <p:cNvPr id="26" name="TextBox 25"/>
            <p:cNvSpPr txBox="1"/>
            <p:nvPr userDrawn="1"/>
          </p:nvSpPr>
          <p:spPr bwMode="gray">
            <a:xfrm>
              <a:off x="-1248737" y="516171"/>
              <a:ext cx="766557"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Lef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27" name="Straight Connector 26"/>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28" name="Group 27"/>
          <p:cNvGrpSpPr/>
          <p:nvPr userDrawn="1"/>
        </p:nvGrpSpPr>
        <p:grpSpPr>
          <a:xfrm rot="5400000">
            <a:off x="8185327" y="-625720"/>
            <a:ext cx="767548" cy="215444"/>
            <a:chOff x="-1285606" y="516176"/>
            <a:chExt cx="844303" cy="215444"/>
          </a:xfrm>
        </p:grpSpPr>
        <p:sp>
          <p:nvSpPr>
            <p:cNvPr id="29" name="TextBox 28"/>
            <p:cNvSpPr txBox="1"/>
            <p:nvPr userDrawn="1"/>
          </p:nvSpPr>
          <p:spPr bwMode="gray">
            <a:xfrm>
              <a:off x="-1285606" y="516176"/>
              <a:ext cx="840295"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Righ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30" name="Straight Connector 29"/>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94121206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 Training">
    <p:spTree>
      <p:nvGrpSpPr>
        <p:cNvPr id="1" name=""/>
        <p:cNvGrpSpPr/>
        <p:nvPr/>
      </p:nvGrpSpPr>
      <p:grpSpPr>
        <a:xfrm>
          <a:off x="0" y="0"/>
          <a:ext cx="0" cy="0"/>
          <a:chOff x="0" y="0"/>
          <a:chExt cx="0" cy="0"/>
        </a:xfrm>
      </p:grpSpPr>
      <p:sp>
        <p:nvSpPr>
          <p:cNvPr id="3251215" name="Freeform 15"/>
          <p:cNvSpPr>
            <a:spLocks noEditPoints="1"/>
          </p:cNvSpPr>
          <p:nvPr>
            <p:custDataLst>
              <p:tags r:id="rId2"/>
            </p:custDataLst>
          </p:nvPr>
        </p:nvSpPr>
        <p:spPr bwMode="auto">
          <a:xfrm>
            <a:off x="8216900" y="379414"/>
            <a:ext cx="463550" cy="488951"/>
          </a:xfrm>
          <a:custGeom>
            <a:avLst/>
            <a:gdLst>
              <a:gd name="T0" fmla="*/ 743 w 4092"/>
              <a:gd name="T1" fmla="*/ 3836 h 4104"/>
              <a:gd name="T2" fmla="*/ 1652 w 4092"/>
              <a:gd name="T3" fmla="*/ 3680 h 4104"/>
              <a:gd name="T4" fmla="*/ 2573 w 4092"/>
              <a:gd name="T5" fmla="*/ 3692 h 4104"/>
              <a:gd name="T6" fmla="*/ 3476 w 4092"/>
              <a:gd name="T7" fmla="*/ 3873 h 4104"/>
              <a:gd name="T8" fmla="*/ 0 w 4092"/>
              <a:gd name="T9" fmla="*/ 0 h 4104"/>
              <a:gd name="T10" fmla="*/ 3802 w 4092"/>
              <a:gd name="T11" fmla="*/ 1443 h 4104"/>
              <a:gd name="T12" fmla="*/ 3712 w 4092"/>
              <a:gd name="T13" fmla="*/ 1281 h 4104"/>
              <a:gd name="T14" fmla="*/ 3509 w 4092"/>
              <a:gd name="T15" fmla="*/ 1254 h 4104"/>
              <a:gd name="T16" fmla="*/ 3662 w 4092"/>
              <a:gd name="T17" fmla="*/ 1523 h 4104"/>
              <a:gd name="T18" fmla="*/ 3865 w 4092"/>
              <a:gd name="T19" fmla="*/ 1799 h 4104"/>
              <a:gd name="T20" fmla="*/ 3900 w 4092"/>
              <a:gd name="T21" fmla="*/ 2004 h 4104"/>
              <a:gd name="T22" fmla="*/ 3313 w 4092"/>
              <a:gd name="T23" fmla="*/ 1825 h 4104"/>
              <a:gd name="T24" fmla="*/ 3412 w 4092"/>
              <a:gd name="T25" fmla="*/ 1939 h 4104"/>
              <a:gd name="T26" fmla="*/ 3572 w 4092"/>
              <a:gd name="T27" fmla="*/ 1876 h 4104"/>
              <a:gd name="T28" fmla="*/ 3353 w 4092"/>
              <a:gd name="T29" fmla="*/ 1570 h 4104"/>
              <a:gd name="T30" fmla="*/ 3203 w 4092"/>
              <a:gd name="T31" fmla="*/ 1305 h 4104"/>
              <a:gd name="T32" fmla="*/ 2422 w 4092"/>
              <a:gd name="T33" fmla="*/ 1158 h 4104"/>
              <a:gd name="T34" fmla="*/ 2958 w 4092"/>
              <a:gd name="T35" fmla="*/ 1319 h 4104"/>
              <a:gd name="T36" fmla="*/ 2839 w 4092"/>
              <a:gd name="T37" fmla="*/ 1250 h 4104"/>
              <a:gd name="T38" fmla="*/ 2783 w 4092"/>
              <a:gd name="T39" fmla="*/ 1403 h 4104"/>
              <a:gd name="T40" fmla="*/ 2986 w 4092"/>
              <a:gd name="T41" fmla="*/ 1654 h 4104"/>
              <a:gd name="T42" fmla="*/ 3113 w 4092"/>
              <a:gd name="T43" fmla="*/ 1932 h 4104"/>
              <a:gd name="T44" fmla="*/ 2408 w 4092"/>
              <a:gd name="T45" fmla="*/ 1754 h 4104"/>
              <a:gd name="T46" fmla="*/ 2577 w 4092"/>
              <a:gd name="T47" fmla="*/ 1912 h 4104"/>
              <a:gd name="T48" fmla="*/ 2802 w 4092"/>
              <a:gd name="T49" fmla="*/ 1948 h 4104"/>
              <a:gd name="T50" fmla="*/ 2677 w 4092"/>
              <a:gd name="T51" fmla="*/ 1714 h 4104"/>
              <a:gd name="T52" fmla="*/ 2446 w 4092"/>
              <a:gd name="T53" fmla="*/ 1400 h 4104"/>
              <a:gd name="T54" fmla="*/ 1842 w 4092"/>
              <a:gd name="T55" fmla="*/ 1948 h 4104"/>
              <a:gd name="T56" fmla="*/ 1927 w 4092"/>
              <a:gd name="T57" fmla="*/ 1911 h 4104"/>
              <a:gd name="T58" fmla="*/ 1913 w 4092"/>
              <a:gd name="T59" fmla="*/ 1271 h 4104"/>
              <a:gd name="T60" fmla="*/ 2306 w 4092"/>
              <a:gd name="T61" fmla="*/ 1158 h 4104"/>
              <a:gd name="T62" fmla="*/ 2224 w 4092"/>
              <a:gd name="T63" fmla="*/ 1287 h 4104"/>
              <a:gd name="T64" fmla="*/ 2224 w 4092"/>
              <a:gd name="T65" fmla="*/ 1912 h 4104"/>
              <a:gd name="T66" fmla="*/ 2306 w 4092"/>
              <a:gd name="T67" fmla="*/ 2039 h 4104"/>
              <a:gd name="T68" fmla="*/ 1057 w 4092"/>
              <a:gd name="T69" fmla="*/ 1935 h 4104"/>
              <a:gd name="T70" fmla="*/ 1085 w 4092"/>
              <a:gd name="T71" fmla="*/ 1299 h 4104"/>
              <a:gd name="T72" fmla="*/ 1026 w 4092"/>
              <a:gd name="T73" fmla="*/ 1250 h 4104"/>
              <a:gd name="T74" fmla="*/ 1620 w 4092"/>
              <a:gd name="T75" fmla="*/ 1356 h 4104"/>
              <a:gd name="T76" fmla="*/ 1530 w 4092"/>
              <a:gd name="T77" fmla="*/ 1259 h 4104"/>
              <a:gd name="T78" fmla="*/ 1432 w 4092"/>
              <a:gd name="T79" fmla="*/ 1548 h 4104"/>
              <a:gd name="T80" fmla="*/ 1477 w 4092"/>
              <a:gd name="T81" fmla="*/ 1445 h 4104"/>
              <a:gd name="T82" fmla="*/ 1465 w 4092"/>
              <a:gd name="T83" fmla="*/ 1681 h 4104"/>
              <a:gd name="T84" fmla="*/ 1369 w 4092"/>
              <a:gd name="T85" fmla="*/ 1948 h 4104"/>
              <a:gd name="T86" fmla="*/ 1589 w 4092"/>
              <a:gd name="T87" fmla="*/ 1894 h 4104"/>
              <a:gd name="T88" fmla="*/ 1648 w 4092"/>
              <a:gd name="T89" fmla="*/ 1754 h 4104"/>
              <a:gd name="T90" fmla="*/ 180 w 4092"/>
              <a:gd name="T91" fmla="*/ 1948 h 4104"/>
              <a:gd name="T92" fmla="*/ 309 w 4092"/>
              <a:gd name="T93" fmla="*/ 1667 h 4104"/>
              <a:gd name="T94" fmla="*/ 538 w 4092"/>
              <a:gd name="T95" fmla="*/ 1368 h 4104"/>
              <a:gd name="T96" fmla="*/ 443 w 4092"/>
              <a:gd name="T97" fmla="*/ 1255 h 4104"/>
              <a:gd name="T98" fmla="*/ 315 w 4092"/>
              <a:gd name="T99" fmla="*/ 1374 h 4104"/>
              <a:gd name="T100" fmla="*/ 912 w 4092"/>
              <a:gd name="T101" fmla="*/ 1195 h 4104"/>
              <a:gd name="T102" fmla="*/ 784 w 4092"/>
              <a:gd name="T103" fmla="*/ 1516 h 4104"/>
              <a:gd name="T104" fmla="*/ 551 w 4092"/>
              <a:gd name="T105" fmla="*/ 1825 h 4104"/>
              <a:gd name="T106" fmla="*/ 707 w 4092"/>
              <a:gd name="T107" fmla="*/ 1925 h 4104"/>
              <a:gd name="T108" fmla="*/ 786 w 4092"/>
              <a:gd name="T109" fmla="*/ 1827 h 4104"/>
              <a:gd name="T110" fmla="*/ 173 w 4092"/>
              <a:gd name="T111" fmla="*/ 1998 h 4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92" h="4104">
                <a:moveTo>
                  <a:pt x="0" y="4104"/>
                </a:moveTo>
                <a:lnTo>
                  <a:pt x="121" y="4051"/>
                </a:lnTo>
                <a:lnTo>
                  <a:pt x="243" y="4001"/>
                </a:lnTo>
                <a:lnTo>
                  <a:pt x="366" y="3955"/>
                </a:lnTo>
                <a:lnTo>
                  <a:pt x="491" y="3912"/>
                </a:lnTo>
                <a:lnTo>
                  <a:pt x="617" y="3873"/>
                </a:lnTo>
                <a:lnTo>
                  <a:pt x="743" y="3836"/>
                </a:lnTo>
                <a:lnTo>
                  <a:pt x="871" y="3804"/>
                </a:lnTo>
                <a:lnTo>
                  <a:pt x="1000" y="3775"/>
                </a:lnTo>
                <a:lnTo>
                  <a:pt x="1129" y="3749"/>
                </a:lnTo>
                <a:lnTo>
                  <a:pt x="1259" y="3727"/>
                </a:lnTo>
                <a:lnTo>
                  <a:pt x="1389" y="3707"/>
                </a:lnTo>
                <a:lnTo>
                  <a:pt x="1521" y="3692"/>
                </a:lnTo>
                <a:lnTo>
                  <a:pt x="1652" y="3680"/>
                </a:lnTo>
                <a:lnTo>
                  <a:pt x="1783" y="3671"/>
                </a:lnTo>
                <a:lnTo>
                  <a:pt x="1915" y="3666"/>
                </a:lnTo>
                <a:lnTo>
                  <a:pt x="2047" y="3664"/>
                </a:lnTo>
                <a:lnTo>
                  <a:pt x="2178" y="3666"/>
                </a:lnTo>
                <a:lnTo>
                  <a:pt x="2311" y="3671"/>
                </a:lnTo>
                <a:lnTo>
                  <a:pt x="2442" y="3680"/>
                </a:lnTo>
                <a:lnTo>
                  <a:pt x="2573" y="3692"/>
                </a:lnTo>
                <a:lnTo>
                  <a:pt x="2704" y="3707"/>
                </a:lnTo>
                <a:lnTo>
                  <a:pt x="2835" y="3727"/>
                </a:lnTo>
                <a:lnTo>
                  <a:pt x="2964" y="3749"/>
                </a:lnTo>
                <a:lnTo>
                  <a:pt x="3093" y="3775"/>
                </a:lnTo>
                <a:lnTo>
                  <a:pt x="3222" y="3804"/>
                </a:lnTo>
                <a:lnTo>
                  <a:pt x="3350" y="3836"/>
                </a:lnTo>
                <a:lnTo>
                  <a:pt x="3476" y="3873"/>
                </a:lnTo>
                <a:lnTo>
                  <a:pt x="3602" y="3912"/>
                </a:lnTo>
                <a:lnTo>
                  <a:pt x="3726" y="3955"/>
                </a:lnTo>
                <a:lnTo>
                  <a:pt x="3850" y="4001"/>
                </a:lnTo>
                <a:lnTo>
                  <a:pt x="3972" y="4051"/>
                </a:lnTo>
                <a:lnTo>
                  <a:pt x="4092" y="4104"/>
                </a:lnTo>
                <a:lnTo>
                  <a:pt x="4092" y="0"/>
                </a:lnTo>
                <a:lnTo>
                  <a:pt x="0" y="0"/>
                </a:lnTo>
                <a:lnTo>
                  <a:pt x="0" y="4104"/>
                </a:lnTo>
                <a:close/>
                <a:moveTo>
                  <a:pt x="3198" y="1210"/>
                </a:moveTo>
                <a:lnTo>
                  <a:pt x="3205" y="1184"/>
                </a:lnTo>
                <a:lnTo>
                  <a:pt x="3214" y="1158"/>
                </a:lnTo>
                <a:lnTo>
                  <a:pt x="3891" y="1158"/>
                </a:lnTo>
                <a:lnTo>
                  <a:pt x="3891" y="1443"/>
                </a:lnTo>
                <a:lnTo>
                  <a:pt x="3802" y="1443"/>
                </a:lnTo>
                <a:lnTo>
                  <a:pt x="3788" y="1394"/>
                </a:lnTo>
                <a:lnTo>
                  <a:pt x="3770" y="1352"/>
                </a:lnTo>
                <a:lnTo>
                  <a:pt x="3761" y="1334"/>
                </a:lnTo>
                <a:lnTo>
                  <a:pt x="3749" y="1319"/>
                </a:lnTo>
                <a:lnTo>
                  <a:pt x="3738" y="1304"/>
                </a:lnTo>
                <a:lnTo>
                  <a:pt x="3725" y="1292"/>
                </a:lnTo>
                <a:lnTo>
                  <a:pt x="3712" y="1281"/>
                </a:lnTo>
                <a:lnTo>
                  <a:pt x="3698" y="1272"/>
                </a:lnTo>
                <a:lnTo>
                  <a:pt x="3682" y="1264"/>
                </a:lnTo>
                <a:lnTo>
                  <a:pt x="3667" y="1258"/>
                </a:lnTo>
                <a:lnTo>
                  <a:pt x="3631" y="1250"/>
                </a:lnTo>
                <a:lnTo>
                  <a:pt x="3592" y="1248"/>
                </a:lnTo>
                <a:lnTo>
                  <a:pt x="3509" y="1248"/>
                </a:lnTo>
                <a:lnTo>
                  <a:pt x="3509" y="1254"/>
                </a:lnTo>
                <a:lnTo>
                  <a:pt x="3517" y="1281"/>
                </a:lnTo>
                <a:lnTo>
                  <a:pt x="3528" y="1311"/>
                </a:lnTo>
                <a:lnTo>
                  <a:pt x="3548" y="1353"/>
                </a:lnTo>
                <a:lnTo>
                  <a:pt x="3575" y="1403"/>
                </a:lnTo>
                <a:lnTo>
                  <a:pt x="3613" y="1459"/>
                </a:lnTo>
                <a:lnTo>
                  <a:pt x="3635" y="1491"/>
                </a:lnTo>
                <a:lnTo>
                  <a:pt x="3662" y="1523"/>
                </a:lnTo>
                <a:lnTo>
                  <a:pt x="3691" y="1556"/>
                </a:lnTo>
                <a:lnTo>
                  <a:pt x="3724" y="1590"/>
                </a:lnTo>
                <a:lnTo>
                  <a:pt x="3749" y="1618"/>
                </a:lnTo>
                <a:lnTo>
                  <a:pt x="3778" y="1654"/>
                </a:lnTo>
                <a:lnTo>
                  <a:pt x="3808" y="1698"/>
                </a:lnTo>
                <a:lnTo>
                  <a:pt x="3838" y="1747"/>
                </a:lnTo>
                <a:lnTo>
                  <a:pt x="3865" y="1799"/>
                </a:lnTo>
                <a:lnTo>
                  <a:pt x="3887" y="1852"/>
                </a:lnTo>
                <a:lnTo>
                  <a:pt x="3895" y="1879"/>
                </a:lnTo>
                <a:lnTo>
                  <a:pt x="3901" y="1906"/>
                </a:lnTo>
                <a:lnTo>
                  <a:pt x="3904" y="1932"/>
                </a:lnTo>
                <a:lnTo>
                  <a:pt x="3906" y="1957"/>
                </a:lnTo>
                <a:lnTo>
                  <a:pt x="3905" y="1983"/>
                </a:lnTo>
                <a:lnTo>
                  <a:pt x="3900" y="2004"/>
                </a:lnTo>
                <a:lnTo>
                  <a:pt x="3893" y="2022"/>
                </a:lnTo>
                <a:lnTo>
                  <a:pt x="3883" y="2039"/>
                </a:lnTo>
                <a:lnTo>
                  <a:pt x="3199" y="2039"/>
                </a:lnTo>
                <a:lnTo>
                  <a:pt x="3199" y="1754"/>
                </a:lnTo>
                <a:lnTo>
                  <a:pt x="3293" y="1754"/>
                </a:lnTo>
                <a:lnTo>
                  <a:pt x="3302" y="1791"/>
                </a:lnTo>
                <a:lnTo>
                  <a:pt x="3313" y="1825"/>
                </a:lnTo>
                <a:lnTo>
                  <a:pt x="3328" y="1858"/>
                </a:lnTo>
                <a:lnTo>
                  <a:pt x="3346" y="1887"/>
                </a:lnTo>
                <a:lnTo>
                  <a:pt x="3356" y="1900"/>
                </a:lnTo>
                <a:lnTo>
                  <a:pt x="3369" y="1912"/>
                </a:lnTo>
                <a:lnTo>
                  <a:pt x="3381" y="1922"/>
                </a:lnTo>
                <a:lnTo>
                  <a:pt x="3396" y="1932"/>
                </a:lnTo>
                <a:lnTo>
                  <a:pt x="3412" y="1939"/>
                </a:lnTo>
                <a:lnTo>
                  <a:pt x="3430" y="1944"/>
                </a:lnTo>
                <a:lnTo>
                  <a:pt x="3450" y="1947"/>
                </a:lnTo>
                <a:lnTo>
                  <a:pt x="3472" y="1948"/>
                </a:lnTo>
                <a:lnTo>
                  <a:pt x="3594" y="1948"/>
                </a:lnTo>
                <a:lnTo>
                  <a:pt x="3594" y="1941"/>
                </a:lnTo>
                <a:lnTo>
                  <a:pt x="3586" y="1918"/>
                </a:lnTo>
                <a:lnTo>
                  <a:pt x="3572" y="1876"/>
                </a:lnTo>
                <a:lnTo>
                  <a:pt x="3554" y="1841"/>
                </a:lnTo>
                <a:lnTo>
                  <a:pt x="3529" y="1800"/>
                </a:lnTo>
                <a:lnTo>
                  <a:pt x="3499" y="1758"/>
                </a:lnTo>
                <a:lnTo>
                  <a:pt x="3469" y="1714"/>
                </a:lnTo>
                <a:lnTo>
                  <a:pt x="3412" y="1641"/>
                </a:lnTo>
                <a:lnTo>
                  <a:pt x="3383" y="1603"/>
                </a:lnTo>
                <a:lnTo>
                  <a:pt x="3353" y="1570"/>
                </a:lnTo>
                <a:lnTo>
                  <a:pt x="3324" y="1533"/>
                </a:lnTo>
                <a:lnTo>
                  <a:pt x="3288" y="1485"/>
                </a:lnTo>
                <a:lnTo>
                  <a:pt x="3254" y="1430"/>
                </a:lnTo>
                <a:lnTo>
                  <a:pt x="3238" y="1400"/>
                </a:lnTo>
                <a:lnTo>
                  <a:pt x="3224" y="1370"/>
                </a:lnTo>
                <a:lnTo>
                  <a:pt x="3212" y="1337"/>
                </a:lnTo>
                <a:lnTo>
                  <a:pt x="3203" y="1305"/>
                </a:lnTo>
                <a:lnTo>
                  <a:pt x="3197" y="1273"/>
                </a:lnTo>
                <a:lnTo>
                  <a:pt x="3195" y="1240"/>
                </a:lnTo>
                <a:lnTo>
                  <a:pt x="3198" y="1210"/>
                </a:lnTo>
                <a:close/>
                <a:moveTo>
                  <a:pt x="2404" y="1225"/>
                </a:moveTo>
                <a:lnTo>
                  <a:pt x="2406" y="1210"/>
                </a:lnTo>
                <a:lnTo>
                  <a:pt x="2413" y="1184"/>
                </a:lnTo>
                <a:lnTo>
                  <a:pt x="2422" y="1158"/>
                </a:lnTo>
                <a:lnTo>
                  <a:pt x="3099" y="1158"/>
                </a:lnTo>
                <a:lnTo>
                  <a:pt x="3099" y="1443"/>
                </a:lnTo>
                <a:lnTo>
                  <a:pt x="3010" y="1443"/>
                </a:lnTo>
                <a:lnTo>
                  <a:pt x="2996" y="1394"/>
                </a:lnTo>
                <a:lnTo>
                  <a:pt x="2978" y="1352"/>
                </a:lnTo>
                <a:lnTo>
                  <a:pt x="2968" y="1334"/>
                </a:lnTo>
                <a:lnTo>
                  <a:pt x="2958" y="1319"/>
                </a:lnTo>
                <a:lnTo>
                  <a:pt x="2945" y="1304"/>
                </a:lnTo>
                <a:lnTo>
                  <a:pt x="2933" y="1292"/>
                </a:lnTo>
                <a:lnTo>
                  <a:pt x="2920" y="1281"/>
                </a:lnTo>
                <a:lnTo>
                  <a:pt x="2906" y="1272"/>
                </a:lnTo>
                <a:lnTo>
                  <a:pt x="2890" y="1264"/>
                </a:lnTo>
                <a:lnTo>
                  <a:pt x="2875" y="1258"/>
                </a:lnTo>
                <a:lnTo>
                  <a:pt x="2839" y="1250"/>
                </a:lnTo>
                <a:lnTo>
                  <a:pt x="2800" y="1248"/>
                </a:lnTo>
                <a:lnTo>
                  <a:pt x="2717" y="1248"/>
                </a:lnTo>
                <a:lnTo>
                  <a:pt x="2717" y="1254"/>
                </a:lnTo>
                <a:lnTo>
                  <a:pt x="2725" y="1281"/>
                </a:lnTo>
                <a:lnTo>
                  <a:pt x="2737" y="1311"/>
                </a:lnTo>
                <a:lnTo>
                  <a:pt x="2756" y="1353"/>
                </a:lnTo>
                <a:lnTo>
                  <a:pt x="2783" y="1403"/>
                </a:lnTo>
                <a:lnTo>
                  <a:pt x="2820" y="1459"/>
                </a:lnTo>
                <a:lnTo>
                  <a:pt x="2844" y="1491"/>
                </a:lnTo>
                <a:lnTo>
                  <a:pt x="2870" y="1523"/>
                </a:lnTo>
                <a:lnTo>
                  <a:pt x="2900" y="1556"/>
                </a:lnTo>
                <a:lnTo>
                  <a:pt x="2932" y="1590"/>
                </a:lnTo>
                <a:lnTo>
                  <a:pt x="2957" y="1618"/>
                </a:lnTo>
                <a:lnTo>
                  <a:pt x="2986" y="1654"/>
                </a:lnTo>
                <a:lnTo>
                  <a:pt x="3016" y="1698"/>
                </a:lnTo>
                <a:lnTo>
                  <a:pt x="3046" y="1747"/>
                </a:lnTo>
                <a:lnTo>
                  <a:pt x="3073" y="1799"/>
                </a:lnTo>
                <a:lnTo>
                  <a:pt x="3095" y="1852"/>
                </a:lnTo>
                <a:lnTo>
                  <a:pt x="3103" y="1879"/>
                </a:lnTo>
                <a:lnTo>
                  <a:pt x="3109" y="1906"/>
                </a:lnTo>
                <a:lnTo>
                  <a:pt x="3113" y="1932"/>
                </a:lnTo>
                <a:lnTo>
                  <a:pt x="3114" y="1957"/>
                </a:lnTo>
                <a:lnTo>
                  <a:pt x="3113" y="1983"/>
                </a:lnTo>
                <a:lnTo>
                  <a:pt x="3108" y="2004"/>
                </a:lnTo>
                <a:lnTo>
                  <a:pt x="3101" y="2022"/>
                </a:lnTo>
                <a:lnTo>
                  <a:pt x="3090" y="2039"/>
                </a:lnTo>
                <a:lnTo>
                  <a:pt x="2408" y="2039"/>
                </a:lnTo>
                <a:lnTo>
                  <a:pt x="2408" y="1754"/>
                </a:lnTo>
                <a:lnTo>
                  <a:pt x="2500" y="1754"/>
                </a:lnTo>
                <a:lnTo>
                  <a:pt x="2510" y="1791"/>
                </a:lnTo>
                <a:lnTo>
                  <a:pt x="2521" y="1825"/>
                </a:lnTo>
                <a:lnTo>
                  <a:pt x="2536" y="1858"/>
                </a:lnTo>
                <a:lnTo>
                  <a:pt x="2554" y="1887"/>
                </a:lnTo>
                <a:lnTo>
                  <a:pt x="2564" y="1900"/>
                </a:lnTo>
                <a:lnTo>
                  <a:pt x="2577" y="1912"/>
                </a:lnTo>
                <a:lnTo>
                  <a:pt x="2590" y="1922"/>
                </a:lnTo>
                <a:lnTo>
                  <a:pt x="2605" y="1932"/>
                </a:lnTo>
                <a:lnTo>
                  <a:pt x="2620" y="1939"/>
                </a:lnTo>
                <a:lnTo>
                  <a:pt x="2639" y="1944"/>
                </a:lnTo>
                <a:lnTo>
                  <a:pt x="2659" y="1947"/>
                </a:lnTo>
                <a:lnTo>
                  <a:pt x="2681" y="1948"/>
                </a:lnTo>
                <a:lnTo>
                  <a:pt x="2802" y="1948"/>
                </a:lnTo>
                <a:lnTo>
                  <a:pt x="2802" y="1941"/>
                </a:lnTo>
                <a:lnTo>
                  <a:pt x="2794" y="1918"/>
                </a:lnTo>
                <a:lnTo>
                  <a:pt x="2781" y="1876"/>
                </a:lnTo>
                <a:lnTo>
                  <a:pt x="2762" y="1841"/>
                </a:lnTo>
                <a:lnTo>
                  <a:pt x="2737" y="1800"/>
                </a:lnTo>
                <a:lnTo>
                  <a:pt x="2708" y="1758"/>
                </a:lnTo>
                <a:lnTo>
                  <a:pt x="2677" y="1714"/>
                </a:lnTo>
                <a:lnTo>
                  <a:pt x="2620" y="1641"/>
                </a:lnTo>
                <a:lnTo>
                  <a:pt x="2589" y="1603"/>
                </a:lnTo>
                <a:lnTo>
                  <a:pt x="2561" y="1570"/>
                </a:lnTo>
                <a:lnTo>
                  <a:pt x="2531" y="1533"/>
                </a:lnTo>
                <a:lnTo>
                  <a:pt x="2496" y="1485"/>
                </a:lnTo>
                <a:lnTo>
                  <a:pt x="2462" y="1430"/>
                </a:lnTo>
                <a:lnTo>
                  <a:pt x="2446" y="1400"/>
                </a:lnTo>
                <a:lnTo>
                  <a:pt x="2433" y="1370"/>
                </a:lnTo>
                <a:lnTo>
                  <a:pt x="2420" y="1337"/>
                </a:lnTo>
                <a:lnTo>
                  <a:pt x="2411" y="1305"/>
                </a:lnTo>
                <a:lnTo>
                  <a:pt x="2406" y="1273"/>
                </a:lnTo>
                <a:lnTo>
                  <a:pt x="2402" y="1240"/>
                </a:lnTo>
                <a:lnTo>
                  <a:pt x="2404" y="1225"/>
                </a:lnTo>
                <a:close/>
                <a:moveTo>
                  <a:pt x="1842" y="1948"/>
                </a:moveTo>
                <a:lnTo>
                  <a:pt x="1876" y="1948"/>
                </a:lnTo>
                <a:lnTo>
                  <a:pt x="1884" y="1947"/>
                </a:lnTo>
                <a:lnTo>
                  <a:pt x="1894" y="1943"/>
                </a:lnTo>
                <a:lnTo>
                  <a:pt x="1903" y="1937"/>
                </a:lnTo>
                <a:lnTo>
                  <a:pt x="1913" y="1930"/>
                </a:lnTo>
                <a:lnTo>
                  <a:pt x="1921" y="1920"/>
                </a:lnTo>
                <a:lnTo>
                  <a:pt x="1927" y="1911"/>
                </a:lnTo>
                <a:lnTo>
                  <a:pt x="1931" y="1901"/>
                </a:lnTo>
                <a:lnTo>
                  <a:pt x="1932" y="1892"/>
                </a:lnTo>
                <a:lnTo>
                  <a:pt x="1932" y="1308"/>
                </a:lnTo>
                <a:lnTo>
                  <a:pt x="1931" y="1299"/>
                </a:lnTo>
                <a:lnTo>
                  <a:pt x="1927" y="1289"/>
                </a:lnTo>
                <a:lnTo>
                  <a:pt x="1921" y="1280"/>
                </a:lnTo>
                <a:lnTo>
                  <a:pt x="1913" y="1271"/>
                </a:lnTo>
                <a:lnTo>
                  <a:pt x="1903" y="1262"/>
                </a:lnTo>
                <a:lnTo>
                  <a:pt x="1893" y="1255"/>
                </a:lnTo>
                <a:lnTo>
                  <a:pt x="1882" y="1251"/>
                </a:lnTo>
                <a:lnTo>
                  <a:pt x="1872" y="1250"/>
                </a:lnTo>
                <a:lnTo>
                  <a:pt x="1842" y="1250"/>
                </a:lnTo>
                <a:lnTo>
                  <a:pt x="1842" y="1158"/>
                </a:lnTo>
                <a:lnTo>
                  <a:pt x="2306" y="1158"/>
                </a:lnTo>
                <a:lnTo>
                  <a:pt x="2306" y="1250"/>
                </a:lnTo>
                <a:lnTo>
                  <a:pt x="2275" y="1250"/>
                </a:lnTo>
                <a:lnTo>
                  <a:pt x="2263" y="1252"/>
                </a:lnTo>
                <a:lnTo>
                  <a:pt x="2251" y="1257"/>
                </a:lnTo>
                <a:lnTo>
                  <a:pt x="2241" y="1265"/>
                </a:lnTo>
                <a:lnTo>
                  <a:pt x="2232" y="1276"/>
                </a:lnTo>
                <a:lnTo>
                  <a:pt x="2224" y="1287"/>
                </a:lnTo>
                <a:lnTo>
                  <a:pt x="2219" y="1299"/>
                </a:lnTo>
                <a:lnTo>
                  <a:pt x="2216" y="1309"/>
                </a:lnTo>
                <a:lnTo>
                  <a:pt x="2214" y="1319"/>
                </a:lnTo>
                <a:lnTo>
                  <a:pt x="2214" y="1881"/>
                </a:lnTo>
                <a:lnTo>
                  <a:pt x="2215" y="1890"/>
                </a:lnTo>
                <a:lnTo>
                  <a:pt x="2219" y="1900"/>
                </a:lnTo>
                <a:lnTo>
                  <a:pt x="2224" y="1912"/>
                </a:lnTo>
                <a:lnTo>
                  <a:pt x="2230" y="1923"/>
                </a:lnTo>
                <a:lnTo>
                  <a:pt x="2239" y="1933"/>
                </a:lnTo>
                <a:lnTo>
                  <a:pt x="2249" y="1941"/>
                </a:lnTo>
                <a:lnTo>
                  <a:pt x="2260" y="1946"/>
                </a:lnTo>
                <a:lnTo>
                  <a:pt x="2271" y="1948"/>
                </a:lnTo>
                <a:lnTo>
                  <a:pt x="2306" y="1948"/>
                </a:lnTo>
                <a:lnTo>
                  <a:pt x="2306" y="2039"/>
                </a:lnTo>
                <a:lnTo>
                  <a:pt x="1842" y="2039"/>
                </a:lnTo>
                <a:lnTo>
                  <a:pt x="1842" y="1948"/>
                </a:lnTo>
                <a:close/>
                <a:moveTo>
                  <a:pt x="995" y="1946"/>
                </a:moveTo>
                <a:lnTo>
                  <a:pt x="1030" y="1946"/>
                </a:lnTo>
                <a:lnTo>
                  <a:pt x="1038" y="1944"/>
                </a:lnTo>
                <a:lnTo>
                  <a:pt x="1047" y="1941"/>
                </a:lnTo>
                <a:lnTo>
                  <a:pt x="1057" y="1935"/>
                </a:lnTo>
                <a:lnTo>
                  <a:pt x="1066" y="1927"/>
                </a:lnTo>
                <a:lnTo>
                  <a:pt x="1075" y="1918"/>
                </a:lnTo>
                <a:lnTo>
                  <a:pt x="1081" y="1909"/>
                </a:lnTo>
                <a:lnTo>
                  <a:pt x="1085" y="1899"/>
                </a:lnTo>
                <a:lnTo>
                  <a:pt x="1086" y="1889"/>
                </a:lnTo>
                <a:lnTo>
                  <a:pt x="1086" y="1308"/>
                </a:lnTo>
                <a:lnTo>
                  <a:pt x="1085" y="1299"/>
                </a:lnTo>
                <a:lnTo>
                  <a:pt x="1081" y="1289"/>
                </a:lnTo>
                <a:lnTo>
                  <a:pt x="1075" y="1280"/>
                </a:lnTo>
                <a:lnTo>
                  <a:pt x="1066" y="1271"/>
                </a:lnTo>
                <a:lnTo>
                  <a:pt x="1057" y="1262"/>
                </a:lnTo>
                <a:lnTo>
                  <a:pt x="1046" y="1256"/>
                </a:lnTo>
                <a:lnTo>
                  <a:pt x="1036" y="1251"/>
                </a:lnTo>
                <a:lnTo>
                  <a:pt x="1026" y="1250"/>
                </a:lnTo>
                <a:lnTo>
                  <a:pt x="995" y="1250"/>
                </a:lnTo>
                <a:lnTo>
                  <a:pt x="995" y="1158"/>
                </a:lnTo>
                <a:lnTo>
                  <a:pt x="1742" y="1158"/>
                </a:lnTo>
                <a:lnTo>
                  <a:pt x="1742" y="1443"/>
                </a:lnTo>
                <a:lnTo>
                  <a:pt x="1648" y="1443"/>
                </a:lnTo>
                <a:lnTo>
                  <a:pt x="1635" y="1397"/>
                </a:lnTo>
                <a:lnTo>
                  <a:pt x="1620" y="1356"/>
                </a:lnTo>
                <a:lnTo>
                  <a:pt x="1602" y="1323"/>
                </a:lnTo>
                <a:lnTo>
                  <a:pt x="1592" y="1308"/>
                </a:lnTo>
                <a:lnTo>
                  <a:pt x="1581" y="1296"/>
                </a:lnTo>
                <a:lnTo>
                  <a:pt x="1570" y="1284"/>
                </a:lnTo>
                <a:lnTo>
                  <a:pt x="1557" y="1275"/>
                </a:lnTo>
                <a:lnTo>
                  <a:pt x="1544" y="1267"/>
                </a:lnTo>
                <a:lnTo>
                  <a:pt x="1530" y="1259"/>
                </a:lnTo>
                <a:lnTo>
                  <a:pt x="1514" y="1254"/>
                </a:lnTo>
                <a:lnTo>
                  <a:pt x="1498" y="1251"/>
                </a:lnTo>
                <a:lnTo>
                  <a:pt x="1461" y="1248"/>
                </a:lnTo>
                <a:lnTo>
                  <a:pt x="1369" y="1248"/>
                </a:lnTo>
                <a:lnTo>
                  <a:pt x="1369" y="1553"/>
                </a:lnTo>
                <a:lnTo>
                  <a:pt x="1416" y="1553"/>
                </a:lnTo>
                <a:lnTo>
                  <a:pt x="1432" y="1548"/>
                </a:lnTo>
                <a:lnTo>
                  <a:pt x="1441" y="1542"/>
                </a:lnTo>
                <a:lnTo>
                  <a:pt x="1452" y="1533"/>
                </a:lnTo>
                <a:lnTo>
                  <a:pt x="1461" y="1524"/>
                </a:lnTo>
                <a:lnTo>
                  <a:pt x="1470" y="1513"/>
                </a:lnTo>
                <a:lnTo>
                  <a:pt x="1475" y="1500"/>
                </a:lnTo>
                <a:lnTo>
                  <a:pt x="1477" y="1485"/>
                </a:lnTo>
                <a:lnTo>
                  <a:pt x="1477" y="1445"/>
                </a:lnTo>
                <a:lnTo>
                  <a:pt x="1568" y="1445"/>
                </a:lnTo>
                <a:lnTo>
                  <a:pt x="1568" y="1752"/>
                </a:lnTo>
                <a:lnTo>
                  <a:pt x="1477" y="1752"/>
                </a:lnTo>
                <a:lnTo>
                  <a:pt x="1477" y="1714"/>
                </a:lnTo>
                <a:lnTo>
                  <a:pt x="1476" y="1704"/>
                </a:lnTo>
                <a:lnTo>
                  <a:pt x="1472" y="1693"/>
                </a:lnTo>
                <a:lnTo>
                  <a:pt x="1465" y="1681"/>
                </a:lnTo>
                <a:lnTo>
                  <a:pt x="1457" y="1671"/>
                </a:lnTo>
                <a:lnTo>
                  <a:pt x="1447" y="1661"/>
                </a:lnTo>
                <a:lnTo>
                  <a:pt x="1433" y="1652"/>
                </a:lnTo>
                <a:lnTo>
                  <a:pt x="1419" y="1646"/>
                </a:lnTo>
                <a:lnTo>
                  <a:pt x="1401" y="1644"/>
                </a:lnTo>
                <a:lnTo>
                  <a:pt x="1369" y="1644"/>
                </a:lnTo>
                <a:lnTo>
                  <a:pt x="1369" y="1948"/>
                </a:lnTo>
                <a:lnTo>
                  <a:pt x="1471" y="1948"/>
                </a:lnTo>
                <a:lnTo>
                  <a:pt x="1497" y="1946"/>
                </a:lnTo>
                <a:lnTo>
                  <a:pt x="1524" y="1939"/>
                </a:lnTo>
                <a:lnTo>
                  <a:pt x="1551" y="1925"/>
                </a:lnTo>
                <a:lnTo>
                  <a:pt x="1564" y="1917"/>
                </a:lnTo>
                <a:lnTo>
                  <a:pt x="1577" y="1907"/>
                </a:lnTo>
                <a:lnTo>
                  <a:pt x="1589" y="1894"/>
                </a:lnTo>
                <a:lnTo>
                  <a:pt x="1600" y="1881"/>
                </a:lnTo>
                <a:lnTo>
                  <a:pt x="1611" y="1865"/>
                </a:lnTo>
                <a:lnTo>
                  <a:pt x="1621" y="1847"/>
                </a:lnTo>
                <a:lnTo>
                  <a:pt x="1629" y="1827"/>
                </a:lnTo>
                <a:lnTo>
                  <a:pt x="1637" y="1805"/>
                </a:lnTo>
                <a:lnTo>
                  <a:pt x="1644" y="1781"/>
                </a:lnTo>
                <a:lnTo>
                  <a:pt x="1648" y="1754"/>
                </a:lnTo>
                <a:lnTo>
                  <a:pt x="1742" y="1754"/>
                </a:lnTo>
                <a:lnTo>
                  <a:pt x="1742" y="2039"/>
                </a:lnTo>
                <a:lnTo>
                  <a:pt x="995" y="2039"/>
                </a:lnTo>
                <a:lnTo>
                  <a:pt x="995" y="1946"/>
                </a:lnTo>
                <a:close/>
                <a:moveTo>
                  <a:pt x="173" y="1998"/>
                </a:moveTo>
                <a:lnTo>
                  <a:pt x="174" y="1983"/>
                </a:lnTo>
                <a:lnTo>
                  <a:pt x="180" y="1948"/>
                </a:lnTo>
                <a:lnTo>
                  <a:pt x="192" y="1901"/>
                </a:lnTo>
                <a:lnTo>
                  <a:pt x="201" y="1874"/>
                </a:lnTo>
                <a:lnTo>
                  <a:pt x="213" y="1846"/>
                </a:lnTo>
                <a:lnTo>
                  <a:pt x="235" y="1796"/>
                </a:lnTo>
                <a:lnTo>
                  <a:pt x="267" y="1734"/>
                </a:lnTo>
                <a:lnTo>
                  <a:pt x="287" y="1700"/>
                </a:lnTo>
                <a:lnTo>
                  <a:pt x="309" y="1667"/>
                </a:lnTo>
                <a:lnTo>
                  <a:pt x="334" y="1635"/>
                </a:lnTo>
                <a:lnTo>
                  <a:pt x="360" y="1605"/>
                </a:lnTo>
                <a:lnTo>
                  <a:pt x="392" y="1572"/>
                </a:lnTo>
                <a:lnTo>
                  <a:pt x="420" y="1540"/>
                </a:lnTo>
                <a:lnTo>
                  <a:pt x="469" y="1477"/>
                </a:lnTo>
                <a:lnTo>
                  <a:pt x="508" y="1420"/>
                </a:lnTo>
                <a:lnTo>
                  <a:pt x="538" y="1368"/>
                </a:lnTo>
                <a:lnTo>
                  <a:pt x="559" y="1324"/>
                </a:lnTo>
                <a:lnTo>
                  <a:pt x="574" y="1289"/>
                </a:lnTo>
                <a:lnTo>
                  <a:pt x="588" y="1254"/>
                </a:lnTo>
                <a:lnTo>
                  <a:pt x="588" y="1248"/>
                </a:lnTo>
                <a:lnTo>
                  <a:pt x="506" y="1248"/>
                </a:lnTo>
                <a:lnTo>
                  <a:pt x="472" y="1250"/>
                </a:lnTo>
                <a:lnTo>
                  <a:pt x="443" y="1255"/>
                </a:lnTo>
                <a:lnTo>
                  <a:pt x="418" y="1264"/>
                </a:lnTo>
                <a:lnTo>
                  <a:pt x="395" y="1276"/>
                </a:lnTo>
                <a:lnTo>
                  <a:pt x="375" y="1289"/>
                </a:lnTo>
                <a:lnTo>
                  <a:pt x="359" y="1305"/>
                </a:lnTo>
                <a:lnTo>
                  <a:pt x="344" y="1322"/>
                </a:lnTo>
                <a:lnTo>
                  <a:pt x="332" y="1340"/>
                </a:lnTo>
                <a:lnTo>
                  <a:pt x="315" y="1374"/>
                </a:lnTo>
                <a:lnTo>
                  <a:pt x="303" y="1405"/>
                </a:lnTo>
                <a:lnTo>
                  <a:pt x="295" y="1443"/>
                </a:lnTo>
                <a:lnTo>
                  <a:pt x="206" y="1443"/>
                </a:lnTo>
                <a:lnTo>
                  <a:pt x="206" y="1158"/>
                </a:lnTo>
                <a:lnTo>
                  <a:pt x="913" y="1158"/>
                </a:lnTo>
                <a:lnTo>
                  <a:pt x="913" y="1182"/>
                </a:lnTo>
                <a:lnTo>
                  <a:pt x="912" y="1195"/>
                </a:lnTo>
                <a:lnTo>
                  <a:pt x="907" y="1226"/>
                </a:lnTo>
                <a:lnTo>
                  <a:pt x="897" y="1271"/>
                </a:lnTo>
                <a:lnTo>
                  <a:pt x="881" y="1325"/>
                </a:lnTo>
                <a:lnTo>
                  <a:pt x="859" y="1379"/>
                </a:lnTo>
                <a:lnTo>
                  <a:pt x="835" y="1428"/>
                </a:lnTo>
                <a:lnTo>
                  <a:pt x="810" y="1474"/>
                </a:lnTo>
                <a:lnTo>
                  <a:pt x="784" y="1516"/>
                </a:lnTo>
                <a:lnTo>
                  <a:pt x="757" y="1554"/>
                </a:lnTo>
                <a:lnTo>
                  <a:pt x="730" y="1590"/>
                </a:lnTo>
                <a:lnTo>
                  <a:pt x="673" y="1658"/>
                </a:lnTo>
                <a:lnTo>
                  <a:pt x="620" y="1723"/>
                </a:lnTo>
                <a:lnTo>
                  <a:pt x="596" y="1756"/>
                </a:lnTo>
                <a:lnTo>
                  <a:pt x="572" y="1790"/>
                </a:lnTo>
                <a:lnTo>
                  <a:pt x="551" y="1825"/>
                </a:lnTo>
                <a:lnTo>
                  <a:pt x="533" y="1864"/>
                </a:lnTo>
                <a:lnTo>
                  <a:pt x="516" y="1904"/>
                </a:lnTo>
                <a:lnTo>
                  <a:pt x="503" y="1948"/>
                </a:lnTo>
                <a:lnTo>
                  <a:pt x="624" y="1948"/>
                </a:lnTo>
                <a:lnTo>
                  <a:pt x="651" y="1946"/>
                </a:lnTo>
                <a:lnTo>
                  <a:pt x="680" y="1939"/>
                </a:lnTo>
                <a:lnTo>
                  <a:pt x="707" y="1925"/>
                </a:lnTo>
                <a:lnTo>
                  <a:pt x="720" y="1917"/>
                </a:lnTo>
                <a:lnTo>
                  <a:pt x="733" y="1907"/>
                </a:lnTo>
                <a:lnTo>
                  <a:pt x="744" y="1894"/>
                </a:lnTo>
                <a:lnTo>
                  <a:pt x="756" y="1881"/>
                </a:lnTo>
                <a:lnTo>
                  <a:pt x="767" y="1865"/>
                </a:lnTo>
                <a:lnTo>
                  <a:pt x="777" y="1847"/>
                </a:lnTo>
                <a:lnTo>
                  <a:pt x="786" y="1827"/>
                </a:lnTo>
                <a:lnTo>
                  <a:pt x="793" y="1805"/>
                </a:lnTo>
                <a:lnTo>
                  <a:pt x="799" y="1781"/>
                </a:lnTo>
                <a:lnTo>
                  <a:pt x="805" y="1754"/>
                </a:lnTo>
                <a:lnTo>
                  <a:pt x="897" y="1754"/>
                </a:lnTo>
                <a:lnTo>
                  <a:pt x="897" y="2039"/>
                </a:lnTo>
                <a:lnTo>
                  <a:pt x="173" y="2039"/>
                </a:lnTo>
                <a:lnTo>
                  <a:pt x="173" y="1998"/>
                </a:lnTo>
                <a:close/>
              </a:path>
            </a:pathLst>
          </a:custGeom>
          <a:solidFill>
            <a:srgbClr val="0000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sz="1600">
              <a:solidFill>
                <a:srgbClr val="000000"/>
              </a:solidFill>
            </a:endParaRPr>
          </a:p>
        </p:txBody>
      </p:sp>
      <p:sp>
        <p:nvSpPr>
          <p:cNvPr id="3" name="Text Placeholder 2"/>
          <p:cNvSpPr>
            <a:spLocks noGrp="1"/>
          </p:cNvSpPr>
          <p:nvPr>
            <p:ph type="body" sz="quarter" idx="10"/>
          </p:nvPr>
        </p:nvSpPr>
        <p:spPr>
          <a:xfrm>
            <a:off x="468000" y="5940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7" name="Text Placeholder 2"/>
          <p:cNvSpPr>
            <a:spLocks noGrp="1"/>
          </p:cNvSpPr>
          <p:nvPr>
            <p:ph type="body" sz="quarter" idx="11"/>
          </p:nvPr>
        </p:nvSpPr>
        <p:spPr>
          <a:xfrm>
            <a:off x="468000" y="6192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8" name="Text Placeholder 2"/>
          <p:cNvSpPr>
            <a:spLocks noGrp="1"/>
          </p:cNvSpPr>
          <p:nvPr>
            <p:ph type="body" sz="quarter" idx="12"/>
          </p:nvPr>
        </p:nvSpPr>
        <p:spPr>
          <a:xfrm>
            <a:off x="468000" y="6444000"/>
            <a:ext cx="3024682" cy="208952"/>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4" name="Title 3"/>
          <p:cNvSpPr>
            <a:spLocks noGrp="1"/>
          </p:cNvSpPr>
          <p:nvPr>
            <p:ph type="title"/>
          </p:nvPr>
        </p:nvSpPr>
        <p:spPr/>
        <p:txBody>
          <a:bodyPr/>
          <a:lstStyle/>
          <a:p>
            <a:r>
              <a:rPr lang="en-US"/>
              <a:t>Click to edit Master title style</a:t>
            </a:r>
          </a:p>
        </p:txBody>
      </p:sp>
      <p:pic>
        <p:nvPicPr>
          <p:cNvPr id="1026" name="Picture 2" descr="C:\Users\m1fka1\Documents\01_Projects\Trainingskatalog\Templates\New Pictures_17.12.2012\IMG_0049_sw.jpg"/>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t="10682" r="563" b="18335"/>
          <a:stretch/>
        </p:blipFill>
        <p:spPr bwMode="auto">
          <a:xfrm>
            <a:off x="0" y="1350965"/>
            <a:ext cx="9144000" cy="4351337"/>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userDrawn="1"/>
        </p:nvSpPr>
        <p:spPr bwMode="gray">
          <a:xfrm>
            <a:off x="-865458" y="1773238"/>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0" name="TextBox 9"/>
          <p:cNvSpPr txBox="1"/>
          <p:nvPr userDrawn="1"/>
        </p:nvSpPr>
        <p:spPr bwMode="gray">
          <a:xfrm>
            <a:off x="-956829" y="1554163"/>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1" name="Straight Connector 10"/>
          <p:cNvCxnSpPr/>
          <p:nvPr userDrawn="1"/>
        </p:nvCxnSpPr>
        <p:spPr bwMode="gray">
          <a:xfrm flipH="1">
            <a:off x="-288540" y="17732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bwMode="gray">
          <a:xfrm flipH="1">
            <a:off x="-288540" y="15573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userDrawn="1"/>
        </p:nvSpPr>
        <p:spPr bwMode="gray">
          <a:xfrm>
            <a:off x="-865458" y="6093281"/>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4" name="TextBox 13"/>
          <p:cNvSpPr txBox="1"/>
          <p:nvPr userDrawn="1"/>
        </p:nvSpPr>
        <p:spPr bwMode="gray">
          <a:xfrm>
            <a:off x="-956829" y="6524625"/>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5" name="Straight Connector 14"/>
          <p:cNvCxnSpPr/>
          <p:nvPr userDrawn="1"/>
        </p:nvCxnSpPr>
        <p:spPr bwMode="gray">
          <a:xfrm flipH="1">
            <a:off x="-288540" y="6522107"/>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gray">
          <a:xfrm flipH="1">
            <a:off x="-288540" y="6308725"/>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nvGrpSpPr>
          <p:cNvPr id="17" name="Group 16"/>
          <p:cNvGrpSpPr/>
          <p:nvPr userDrawn="1"/>
        </p:nvGrpSpPr>
        <p:grpSpPr>
          <a:xfrm rot="5400000">
            <a:off x="-43126" y="-645663"/>
            <a:ext cx="807434" cy="215444"/>
            <a:chOff x="-1248737" y="516171"/>
            <a:chExt cx="807434" cy="215444"/>
          </a:xfrm>
        </p:grpSpPr>
        <p:sp>
          <p:nvSpPr>
            <p:cNvPr id="18" name="TextBox 17"/>
            <p:cNvSpPr txBox="1"/>
            <p:nvPr userDrawn="1"/>
          </p:nvSpPr>
          <p:spPr bwMode="gray">
            <a:xfrm>
              <a:off x="-1248737" y="516171"/>
              <a:ext cx="766557"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Lef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9" name="Straight Connector 18"/>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20" name="Group 19"/>
          <p:cNvGrpSpPr/>
          <p:nvPr userDrawn="1"/>
        </p:nvGrpSpPr>
        <p:grpSpPr>
          <a:xfrm rot="5400000">
            <a:off x="8185327" y="-625720"/>
            <a:ext cx="767548" cy="215444"/>
            <a:chOff x="-1285606" y="516176"/>
            <a:chExt cx="844303" cy="215444"/>
          </a:xfrm>
        </p:grpSpPr>
        <p:sp>
          <p:nvSpPr>
            <p:cNvPr id="21" name="TextBox 20"/>
            <p:cNvSpPr txBox="1"/>
            <p:nvPr userDrawn="1"/>
          </p:nvSpPr>
          <p:spPr bwMode="gray">
            <a:xfrm>
              <a:off x="-1285606" y="516176"/>
              <a:ext cx="840295"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Righ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22" name="Straight Connector 21"/>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4335250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 Vision">
    <p:spTree>
      <p:nvGrpSpPr>
        <p:cNvPr id="1" name=""/>
        <p:cNvGrpSpPr/>
        <p:nvPr/>
      </p:nvGrpSpPr>
      <p:grpSpPr>
        <a:xfrm>
          <a:off x="0" y="0"/>
          <a:ext cx="0" cy="0"/>
          <a:chOff x="0" y="0"/>
          <a:chExt cx="0" cy="0"/>
        </a:xfrm>
      </p:grpSpPr>
      <p:sp>
        <p:nvSpPr>
          <p:cNvPr id="3251215" name="Freeform 15"/>
          <p:cNvSpPr>
            <a:spLocks noEditPoints="1"/>
          </p:cNvSpPr>
          <p:nvPr>
            <p:custDataLst>
              <p:tags r:id="rId2"/>
            </p:custDataLst>
          </p:nvPr>
        </p:nvSpPr>
        <p:spPr bwMode="auto">
          <a:xfrm>
            <a:off x="8216900" y="379414"/>
            <a:ext cx="463550" cy="488951"/>
          </a:xfrm>
          <a:custGeom>
            <a:avLst/>
            <a:gdLst>
              <a:gd name="T0" fmla="*/ 743 w 4092"/>
              <a:gd name="T1" fmla="*/ 3836 h 4104"/>
              <a:gd name="T2" fmla="*/ 1652 w 4092"/>
              <a:gd name="T3" fmla="*/ 3680 h 4104"/>
              <a:gd name="T4" fmla="*/ 2573 w 4092"/>
              <a:gd name="T5" fmla="*/ 3692 h 4104"/>
              <a:gd name="T6" fmla="*/ 3476 w 4092"/>
              <a:gd name="T7" fmla="*/ 3873 h 4104"/>
              <a:gd name="T8" fmla="*/ 0 w 4092"/>
              <a:gd name="T9" fmla="*/ 0 h 4104"/>
              <a:gd name="T10" fmla="*/ 3802 w 4092"/>
              <a:gd name="T11" fmla="*/ 1443 h 4104"/>
              <a:gd name="T12" fmla="*/ 3712 w 4092"/>
              <a:gd name="T13" fmla="*/ 1281 h 4104"/>
              <a:gd name="T14" fmla="*/ 3509 w 4092"/>
              <a:gd name="T15" fmla="*/ 1254 h 4104"/>
              <a:gd name="T16" fmla="*/ 3662 w 4092"/>
              <a:gd name="T17" fmla="*/ 1523 h 4104"/>
              <a:gd name="T18" fmla="*/ 3865 w 4092"/>
              <a:gd name="T19" fmla="*/ 1799 h 4104"/>
              <a:gd name="T20" fmla="*/ 3900 w 4092"/>
              <a:gd name="T21" fmla="*/ 2004 h 4104"/>
              <a:gd name="T22" fmla="*/ 3313 w 4092"/>
              <a:gd name="T23" fmla="*/ 1825 h 4104"/>
              <a:gd name="T24" fmla="*/ 3412 w 4092"/>
              <a:gd name="T25" fmla="*/ 1939 h 4104"/>
              <a:gd name="T26" fmla="*/ 3572 w 4092"/>
              <a:gd name="T27" fmla="*/ 1876 h 4104"/>
              <a:gd name="T28" fmla="*/ 3353 w 4092"/>
              <a:gd name="T29" fmla="*/ 1570 h 4104"/>
              <a:gd name="T30" fmla="*/ 3203 w 4092"/>
              <a:gd name="T31" fmla="*/ 1305 h 4104"/>
              <a:gd name="T32" fmla="*/ 2422 w 4092"/>
              <a:gd name="T33" fmla="*/ 1158 h 4104"/>
              <a:gd name="T34" fmla="*/ 2958 w 4092"/>
              <a:gd name="T35" fmla="*/ 1319 h 4104"/>
              <a:gd name="T36" fmla="*/ 2839 w 4092"/>
              <a:gd name="T37" fmla="*/ 1250 h 4104"/>
              <a:gd name="T38" fmla="*/ 2783 w 4092"/>
              <a:gd name="T39" fmla="*/ 1403 h 4104"/>
              <a:gd name="T40" fmla="*/ 2986 w 4092"/>
              <a:gd name="T41" fmla="*/ 1654 h 4104"/>
              <a:gd name="T42" fmla="*/ 3113 w 4092"/>
              <a:gd name="T43" fmla="*/ 1932 h 4104"/>
              <a:gd name="T44" fmla="*/ 2408 w 4092"/>
              <a:gd name="T45" fmla="*/ 1754 h 4104"/>
              <a:gd name="T46" fmla="*/ 2577 w 4092"/>
              <a:gd name="T47" fmla="*/ 1912 h 4104"/>
              <a:gd name="T48" fmla="*/ 2802 w 4092"/>
              <a:gd name="T49" fmla="*/ 1948 h 4104"/>
              <a:gd name="T50" fmla="*/ 2677 w 4092"/>
              <a:gd name="T51" fmla="*/ 1714 h 4104"/>
              <a:gd name="T52" fmla="*/ 2446 w 4092"/>
              <a:gd name="T53" fmla="*/ 1400 h 4104"/>
              <a:gd name="T54" fmla="*/ 1842 w 4092"/>
              <a:gd name="T55" fmla="*/ 1948 h 4104"/>
              <a:gd name="T56" fmla="*/ 1927 w 4092"/>
              <a:gd name="T57" fmla="*/ 1911 h 4104"/>
              <a:gd name="T58" fmla="*/ 1913 w 4092"/>
              <a:gd name="T59" fmla="*/ 1271 h 4104"/>
              <a:gd name="T60" fmla="*/ 2306 w 4092"/>
              <a:gd name="T61" fmla="*/ 1158 h 4104"/>
              <a:gd name="T62" fmla="*/ 2224 w 4092"/>
              <a:gd name="T63" fmla="*/ 1287 h 4104"/>
              <a:gd name="T64" fmla="*/ 2224 w 4092"/>
              <a:gd name="T65" fmla="*/ 1912 h 4104"/>
              <a:gd name="T66" fmla="*/ 2306 w 4092"/>
              <a:gd name="T67" fmla="*/ 2039 h 4104"/>
              <a:gd name="T68" fmla="*/ 1057 w 4092"/>
              <a:gd name="T69" fmla="*/ 1935 h 4104"/>
              <a:gd name="T70" fmla="*/ 1085 w 4092"/>
              <a:gd name="T71" fmla="*/ 1299 h 4104"/>
              <a:gd name="T72" fmla="*/ 1026 w 4092"/>
              <a:gd name="T73" fmla="*/ 1250 h 4104"/>
              <a:gd name="T74" fmla="*/ 1620 w 4092"/>
              <a:gd name="T75" fmla="*/ 1356 h 4104"/>
              <a:gd name="T76" fmla="*/ 1530 w 4092"/>
              <a:gd name="T77" fmla="*/ 1259 h 4104"/>
              <a:gd name="T78" fmla="*/ 1432 w 4092"/>
              <a:gd name="T79" fmla="*/ 1548 h 4104"/>
              <a:gd name="T80" fmla="*/ 1477 w 4092"/>
              <a:gd name="T81" fmla="*/ 1445 h 4104"/>
              <a:gd name="T82" fmla="*/ 1465 w 4092"/>
              <a:gd name="T83" fmla="*/ 1681 h 4104"/>
              <a:gd name="T84" fmla="*/ 1369 w 4092"/>
              <a:gd name="T85" fmla="*/ 1948 h 4104"/>
              <a:gd name="T86" fmla="*/ 1589 w 4092"/>
              <a:gd name="T87" fmla="*/ 1894 h 4104"/>
              <a:gd name="T88" fmla="*/ 1648 w 4092"/>
              <a:gd name="T89" fmla="*/ 1754 h 4104"/>
              <a:gd name="T90" fmla="*/ 180 w 4092"/>
              <a:gd name="T91" fmla="*/ 1948 h 4104"/>
              <a:gd name="T92" fmla="*/ 309 w 4092"/>
              <a:gd name="T93" fmla="*/ 1667 h 4104"/>
              <a:gd name="T94" fmla="*/ 538 w 4092"/>
              <a:gd name="T95" fmla="*/ 1368 h 4104"/>
              <a:gd name="T96" fmla="*/ 443 w 4092"/>
              <a:gd name="T97" fmla="*/ 1255 h 4104"/>
              <a:gd name="T98" fmla="*/ 315 w 4092"/>
              <a:gd name="T99" fmla="*/ 1374 h 4104"/>
              <a:gd name="T100" fmla="*/ 912 w 4092"/>
              <a:gd name="T101" fmla="*/ 1195 h 4104"/>
              <a:gd name="T102" fmla="*/ 784 w 4092"/>
              <a:gd name="T103" fmla="*/ 1516 h 4104"/>
              <a:gd name="T104" fmla="*/ 551 w 4092"/>
              <a:gd name="T105" fmla="*/ 1825 h 4104"/>
              <a:gd name="T106" fmla="*/ 707 w 4092"/>
              <a:gd name="T107" fmla="*/ 1925 h 4104"/>
              <a:gd name="T108" fmla="*/ 786 w 4092"/>
              <a:gd name="T109" fmla="*/ 1827 h 4104"/>
              <a:gd name="T110" fmla="*/ 173 w 4092"/>
              <a:gd name="T111" fmla="*/ 1998 h 4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92" h="4104">
                <a:moveTo>
                  <a:pt x="0" y="4104"/>
                </a:moveTo>
                <a:lnTo>
                  <a:pt x="121" y="4051"/>
                </a:lnTo>
                <a:lnTo>
                  <a:pt x="243" y="4001"/>
                </a:lnTo>
                <a:lnTo>
                  <a:pt x="366" y="3955"/>
                </a:lnTo>
                <a:lnTo>
                  <a:pt x="491" y="3912"/>
                </a:lnTo>
                <a:lnTo>
                  <a:pt x="617" y="3873"/>
                </a:lnTo>
                <a:lnTo>
                  <a:pt x="743" y="3836"/>
                </a:lnTo>
                <a:lnTo>
                  <a:pt x="871" y="3804"/>
                </a:lnTo>
                <a:lnTo>
                  <a:pt x="1000" y="3775"/>
                </a:lnTo>
                <a:lnTo>
                  <a:pt x="1129" y="3749"/>
                </a:lnTo>
                <a:lnTo>
                  <a:pt x="1259" y="3727"/>
                </a:lnTo>
                <a:lnTo>
                  <a:pt x="1389" y="3707"/>
                </a:lnTo>
                <a:lnTo>
                  <a:pt x="1521" y="3692"/>
                </a:lnTo>
                <a:lnTo>
                  <a:pt x="1652" y="3680"/>
                </a:lnTo>
                <a:lnTo>
                  <a:pt x="1783" y="3671"/>
                </a:lnTo>
                <a:lnTo>
                  <a:pt x="1915" y="3666"/>
                </a:lnTo>
                <a:lnTo>
                  <a:pt x="2047" y="3664"/>
                </a:lnTo>
                <a:lnTo>
                  <a:pt x="2178" y="3666"/>
                </a:lnTo>
                <a:lnTo>
                  <a:pt x="2311" y="3671"/>
                </a:lnTo>
                <a:lnTo>
                  <a:pt x="2442" y="3680"/>
                </a:lnTo>
                <a:lnTo>
                  <a:pt x="2573" y="3692"/>
                </a:lnTo>
                <a:lnTo>
                  <a:pt x="2704" y="3707"/>
                </a:lnTo>
                <a:lnTo>
                  <a:pt x="2835" y="3727"/>
                </a:lnTo>
                <a:lnTo>
                  <a:pt x="2964" y="3749"/>
                </a:lnTo>
                <a:lnTo>
                  <a:pt x="3093" y="3775"/>
                </a:lnTo>
                <a:lnTo>
                  <a:pt x="3222" y="3804"/>
                </a:lnTo>
                <a:lnTo>
                  <a:pt x="3350" y="3836"/>
                </a:lnTo>
                <a:lnTo>
                  <a:pt x="3476" y="3873"/>
                </a:lnTo>
                <a:lnTo>
                  <a:pt x="3602" y="3912"/>
                </a:lnTo>
                <a:lnTo>
                  <a:pt x="3726" y="3955"/>
                </a:lnTo>
                <a:lnTo>
                  <a:pt x="3850" y="4001"/>
                </a:lnTo>
                <a:lnTo>
                  <a:pt x="3972" y="4051"/>
                </a:lnTo>
                <a:lnTo>
                  <a:pt x="4092" y="4104"/>
                </a:lnTo>
                <a:lnTo>
                  <a:pt x="4092" y="0"/>
                </a:lnTo>
                <a:lnTo>
                  <a:pt x="0" y="0"/>
                </a:lnTo>
                <a:lnTo>
                  <a:pt x="0" y="4104"/>
                </a:lnTo>
                <a:close/>
                <a:moveTo>
                  <a:pt x="3198" y="1210"/>
                </a:moveTo>
                <a:lnTo>
                  <a:pt x="3205" y="1184"/>
                </a:lnTo>
                <a:lnTo>
                  <a:pt x="3214" y="1158"/>
                </a:lnTo>
                <a:lnTo>
                  <a:pt x="3891" y="1158"/>
                </a:lnTo>
                <a:lnTo>
                  <a:pt x="3891" y="1443"/>
                </a:lnTo>
                <a:lnTo>
                  <a:pt x="3802" y="1443"/>
                </a:lnTo>
                <a:lnTo>
                  <a:pt x="3788" y="1394"/>
                </a:lnTo>
                <a:lnTo>
                  <a:pt x="3770" y="1352"/>
                </a:lnTo>
                <a:lnTo>
                  <a:pt x="3761" y="1334"/>
                </a:lnTo>
                <a:lnTo>
                  <a:pt x="3749" y="1319"/>
                </a:lnTo>
                <a:lnTo>
                  <a:pt x="3738" y="1304"/>
                </a:lnTo>
                <a:lnTo>
                  <a:pt x="3725" y="1292"/>
                </a:lnTo>
                <a:lnTo>
                  <a:pt x="3712" y="1281"/>
                </a:lnTo>
                <a:lnTo>
                  <a:pt x="3698" y="1272"/>
                </a:lnTo>
                <a:lnTo>
                  <a:pt x="3682" y="1264"/>
                </a:lnTo>
                <a:lnTo>
                  <a:pt x="3667" y="1258"/>
                </a:lnTo>
                <a:lnTo>
                  <a:pt x="3631" y="1250"/>
                </a:lnTo>
                <a:lnTo>
                  <a:pt x="3592" y="1248"/>
                </a:lnTo>
                <a:lnTo>
                  <a:pt x="3509" y="1248"/>
                </a:lnTo>
                <a:lnTo>
                  <a:pt x="3509" y="1254"/>
                </a:lnTo>
                <a:lnTo>
                  <a:pt x="3517" y="1281"/>
                </a:lnTo>
                <a:lnTo>
                  <a:pt x="3528" y="1311"/>
                </a:lnTo>
                <a:lnTo>
                  <a:pt x="3548" y="1353"/>
                </a:lnTo>
                <a:lnTo>
                  <a:pt x="3575" y="1403"/>
                </a:lnTo>
                <a:lnTo>
                  <a:pt x="3613" y="1459"/>
                </a:lnTo>
                <a:lnTo>
                  <a:pt x="3635" y="1491"/>
                </a:lnTo>
                <a:lnTo>
                  <a:pt x="3662" y="1523"/>
                </a:lnTo>
                <a:lnTo>
                  <a:pt x="3691" y="1556"/>
                </a:lnTo>
                <a:lnTo>
                  <a:pt x="3724" y="1590"/>
                </a:lnTo>
                <a:lnTo>
                  <a:pt x="3749" y="1618"/>
                </a:lnTo>
                <a:lnTo>
                  <a:pt x="3778" y="1654"/>
                </a:lnTo>
                <a:lnTo>
                  <a:pt x="3808" y="1698"/>
                </a:lnTo>
                <a:lnTo>
                  <a:pt x="3838" y="1747"/>
                </a:lnTo>
                <a:lnTo>
                  <a:pt x="3865" y="1799"/>
                </a:lnTo>
                <a:lnTo>
                  <a:pt x="3887" y="1852"/>
                </a:lnTo>
                <a:lnTo>
                  <a:pt x="3895" y="1879"/>
                </a:lnTo>
                <a:lnTo>
                  <a:pt x="3901" y="1906"/>
                </a:lnTo>
                <a:lnTo>
                  <a:pt x="3904" y="1932"/>
                </a:lnTo>
                <a:lnTo>
                  <a:pt x="3906" y="1957"/>
                </a:lnTo>
                <a:lnTo>
                  <a:pt x="3905" y="1983"/>
                </a:lnTo>
                <a:lnTo>
                  <a:pt x="3900" y="2004"/>
                </a:lnTo>
                <a:lnTo>
                  <a:pt x="3893" y="2022"/>
                </a:lnTo>
                <a:lnTo>
                  <a:pt x="3883" y="2039"/>
                </a:lnTo>
                <a:lnTo>
                  <a:pt x="3199" y="2039"/>
                </a:lnTo>
                <a:lnTo>
                  <a:pt x="3199" y="1754"/>
                </a:lnTo>
                <a:lnTo>
                  <a:pt x="3293" y="1754"/>
                </a:lnTo>
                <a:lnTo>
                  <a:pt x="3302" y="1791"/>
                </a:lnTo>
                <a:lnTo>
                  <a:pt x="3313" y="1825"/>
                </a:lnTo>
                <a:lnTo>
                  <a:pt x="3328" y="1858"/>
                </a:lnTo>
                <a:lnTo>
                  <a:pt x="3346" y="1887"/>
                </a:lnTo>
                <a:lnTo>
                  <a:pt x="3356" y="1900"/>
                </a:lnTo>
                <a:lnTo>
                  <a:pt x="3369" y="1912"/>
                </a:lnTo>
                <a:lnTo>
                  <a:pt x="3381" y="1922"/>
                </a:lnTo>
                <a:lnTo>
                  <a:pt x="3396" y="1932"/>
                </a:lnTo>
                <a:lnTo>
                  <a:pt x="3412" y="1939"/>
                </a:lnTo>
                <a:lnTo>
                  <a:pt x="3430" y="1944"/>
                </a:lnTo>
                <a:lnTo>
                  <a:pt x="3450" y="1947"/>
                </a:lnTo>
                <a:lnTo>
                  <a:pt x="3472" y="1948"/>
                </a:lnTo>
                <a:lnTo>
                  <a:pt x="3594" y="1948"/>
                </a:lnTo>
                <a:lnTo>
                  <a:pt x="3594" y="1941"/>
                </a:lnTo>
                <a:lnTo>
                  <a:pt x="3586" y="1918"/>
                </a:lnTo>
                <a:lnTo>
                  <a:pt x="3572" y="1876"/>
                </a:lnTo>
                <a:lnTo>
                  <a:pt x="3554" y="1841"/>
                </a:lnTo>
                <a:lnTo>
                  <a:pt x="3529" y="1800"/>
                </a:lnTo>
                <a:lnTo>
                  <a:pt x="3499" y="1758"/>
                </a:lnTo>
                <a:lnTo>
                  <a:pt x="3469" y="1714"/>
                </a:lnTo>
                <a:lnTo>
                  <a:pt x="3412" y="1641"/>
                </a:lnTo>
                <a:lnTo>
                  <a:pt x="3383" y="1603"/>
                </a:lnTo>
                <a:lnTo>
                  <a:pt x="3353" y="1570"/>
                </a:lnTo>
                <a:lnTo>
                  <a:pt x="3324" y="1533"/>
                </a:lnTo>
                <a:lnTo>
                  <a:pt x="3288" y="1485"/>
                </a:lnTo>
                <a:lnTo>
                  <a:pt x="3254" y="1430"/>
                </a:lnTo>
                <a:lnTo>
                  <a:pt x="3238" y="1400"/>
                </a:lnTo>
                <a:lnTo>
                  <a:pt x="3224" y="1370"/>
                </a:lnTo>
                <a:lnTo>
                  <a:pt x="3212" y="1337"/>
                </a:lnTo>
                <a:lnTo>
                  <a:pt x="3203" y="1305"/>
                </a:lnTo>
                <a:lnTo>
                  <a:pt x="3197" y="1273"/>
                </a:lnTo>
                <a:lnTo>
                  <a:pt x="3195" y="1240"/>
                </a:lnTo>
                <a:lnTo>
                  <a:pt x="3198" y="1210"/>
                </a:lnTo>
                <a:close/>
                <a:moveTo>
                  <a:pt x="2404" y="1225"/>
                </a:moveTo>
                <a:lnTo>
                  <a:pt x="2406" y="1210"/>
                </a:lnTo>
                <a:lnTo>
                  <a:pt x="2413" y="1184"/>
                </a:lnTo>
                <a:lnTo>
                  <a:pt x="2422" y="1158"/>
                </a:lnTo>
                <a:lnTo>
                  <a:pt x="3099" y="1158"/>
                </a:lnTo>
                <a:lnTo>
                  <a:pt x="3099" y="1443"/>
                </a:lnTo>
                <a:lnTo>
                  <a:pt x="3010" y="1443"/>
                </a:lnTo>
                <a:lnTo>
                  <a:pt x="2996" y="1394"/>
                </a:lnTo>
                <a:lnTo>
                  <a:pt x="2978" y="1352"/>
                </a:lnTo>
                <a:lnTo>
                  <a:pt x="2968" y="1334"/>
                </a:lnTo>
                <a:lnTo>
                  <a:pt x="2958" y="1319"/>
                </a:lnTo>
                <a:lnTo>
                  <a:pt x="2945" y="1304"/>
                </a:lnTo>
                <a:lnTo>
                  <a:pt x="2933" y="1292"/>
                </a:lnTo>
                <a:lnTo>
                  <a:pt x="2920" y="1281"/>
                </a:lnTo>
                <a:lnTo>
                  <a:pt x="2906" y="1272"/>
                </a:lnTo>
                <a:lnTo>
                  <a:pt x="2890" y="1264"/>
                </a:lnTo>
                <a:lnTo>
                  <a:pt x="2875" y="1258"/>
                </a:lnTo>
                <a:lnTo>
                  <a:pt x="2839" y="1250"/>
                </a:lnTo>
                <a:lnTo>
                  <a:pt x="2800" y="1248"/>
                </a:lnTo>
                <a:lnTo>
                  <a:pt x="2717" y="1248"/>
                </a:lnTo>
                <a:lnTo>
                  <a:pt x="2717" y="1254"/>
                </a:lnTo>
                <a:lnTo>
                  <a:pt x="2725" y="1281"/>
                </a:lnTo>
                <a:lnTo>
                  <a:pt x="2737" y="1311"/>
                </a:lnTo>
                <a:lnTo>
                  <a:pt x="2756" y="1353"/>
                </a:lnTo>
                <a:lnTo>
                  <a:pt x="2783" y="1403"/>
                </a:lnTo>
                <a:lnTo>
                  <a:pt x="2820" y="1459"/>
                </a:lnTo>
                <a:lnTo>
                  <a:pt x="2844" y="1491"/>
                </a:lnTo>
                <a:lnTo>
                  <a:pt x="2870" y="1523"/>
                </a:lnTo>
                <a:lnTo>
                  <a:pt x="2900" y="1556"/>
                </a:lnTo>
                <a:lnTo>
                  <a:pt x="2932" y="1590"/>
                </a:lnTo>
                <a:lnTo>
                  <a:pt x="2957" y="1618"/>
                </a:lnTo>
                <a:lnTo>
                  <a:pt x="2986" y="1654"/>
                </a:lnTo>
                <a:lnTo>
                  <a:pt x="3016" y="1698"/>
                </a:lnTo>
                <a:lnTo>
                  <a:pt x="3046" y="1747"/>
                </a:lnTo>
                <a:lnTo>
                  <a:pt x="3073" y="1799"/>
                </a:lnTo>
                <a:lnTo>
                  <a:pt x="3095" y="1852"/>
                </a:lnTo>
                <a:lnTo>
                  <a:pt x="3103" y="1879"/>
                </a:lnTo>
                <a:lnTo>
                  <a:pt x="3109" y="1906"/>
                </a:lnTo>
                <a:lnTo>
                  <a:pt x="3113" y="1932"/>
                </a:lnTo>
                <a:lnTo>
                  <a:pt x="3114" y="1957"/>
                </a:lnTo>
                <a:lnTo>
                  <a:pt x="3113" y="1983"/>
                </a:lnTo>
                <a:lnTo>
                  <a:pt x="3108" y="2004"/>
                </a:lnTo>
                <a:lnTo>
                  <a:pt x="3101" y="2022"/>
                </a:lnTo>
                <a:lnTo>
                  <a:pt x="3090" y="2039"/>
                </a:lnTo>
                <a:lnTo>
                  <a:pt x="2408" y="2039"/>
                </a:lnTo>
                <a:lnTo>
                  <a:pt x="2408" y="1754"/>
                </a:lnTo>
                <a:lnTo>
                  <a:pt x="2500" y="1754"/>
                </a:lnTo>
                <a:lnTo>
                  <a:pt x="2510" y="1791"/>
                </a:lnTo>
                <a:lnTo>
                  <a:pt x="2521" y="1825"/>
                </a:lnTo>
                <a:lnTo>
                  <a:pt x="2536" y="1858"/>
                </a:lnTo>
                <a:lnTo>
                  <a:pt x="2554" y="1887"/>
                </a:lnTo>
                <a:lnTo>
                  <a:pt x="2564" y="1900"/>
                </a:lnTo>
                <a:lnTo>
                  <a:pt x="2577" y="1912"/>
                </a:lnTo>
                <a:lnTo>
                  <a:pt x="2590" y="1922"/>
                </a:lnTo>
                <a:lnTo>
                  <a:pt x="2605" y="1932"/>
                </a:lnTo>
                <a:lnTo>
                  <a:pt x="2620" y="1939"/>
                </a:lnTo>
                <a:lnTo>
                  <a:pt x="2639" y="1944"/>
                </a:lnTo>
                <a:lnTo>
                  <a:pt x="2659" y="1947"/>
                </a:lnTo>
                <a:lnTo>
                  <a:pt x="2681" y="1948"/>
                </a:lnTo>
                <a:lnTo>
                  <a:pt x="2802" y="1948"/>
                </a:lnTo>
                <a:lnTo>
                  <a:pt x="2802" y="1941"/>
                </a:lnTo>
                <a:lnTo>
                  <a:pt x="2794" y="1918"/>
                </a:lnTo>
                <a:lnTo>
                  <a:pt x="2781" y="1876"/>
                </a:lnTo>
                <a:lnTo>
                  <a:pt x="2762" y="1841"/>
                </a:lnTo>
                <a:lnTo>
                  <a:pt x="2737" y="1800"/>
                </a:lnTo>
                <a:lnTo>
                  <a:pt x="2708" y="1758"/>
                </a:lnTo>
                <a:lnTo>
                  <a:pt x="2677" y="1714"/>
                </a:lnTo>
                <a:lnTo>
                  <a:pt x="2620" y="1641"/>
                </a:lnTo>
                <a:lnTo>
                  <a:pt x="2589" y="1603"/>
                </a:lnTo>
                <a:lnTo>
                  <a:pt x="2561" y="1570"/>
                </a:lnTo>
                <a:lnTo>
                  <a:pt x="2531" y="1533"/>
                </a:lnTo>
                <a:lnTo>
                  <a:pt x="2496" y="1485"/>
                </a:lnTo>
                <a:lnTo>
                  <a:pt x="2462" y="1430"/>
                </a:lnTo>
                <a:lnTo>
                  <a:pt x="2446" y="1400"/>
                </a:lnTo>
                <a:lnTo>
                  <a:pt x="2433" y="1370"/>
                </a:lnTo>
                <a:lnTo>
                  <a:pt x="2420" y="1337"/>
                </a:lnTo>
                <a:lnTo>
                  <a:pt x="2411" y="1305"/>
                </a:lnTo>
                <a:lnTo>
                  <a:pt x="2406" y="1273"/>
                </a:lnTo>
                <a:lnTo>
                  <a:pt x="2402" y="1240"/>
                </a:lnTo>
                <a:lnTo>
                  <a:pt x="2404" y="1225"/>
                </a:lnTo>
                <a:close/>
                <a:moveTo>
                  <a:pt x="1842" y="1948"/>
                </a:moveTo>
                <a:lnTo>
                  <a:pt x="1876" y="1948"/>
                </a:lnTo>
                <a:lnTo>
                  <a:pt x="1884" y="1947"/>
                </a:lnTo>
                <a:lnTo>
                  <a:pt x="1894" y="1943"/>
                </a:lnTo>
                <a:lnTo>
                  <a:pt x="1903" y="1937"/>
                </a:lnTo>
                <a:lnTo>
                  <a:pt x="1913" y="1930"/>
                </a:lnTo>
                <a:lnTo>
                  <a:pt x="1921" y="1920"/>
                </a:lnTo>
                <a:lnTo>
                  <a:pt x="1927" y="1911"/>
                </a:lnTo>
                <a:lnTo>
                  <a:pt x="1931" y="1901"/>
                </a:lnTo>
                <a:lnTo>
                  <a:pt x="1932" y="1892"/>
                </a:lnTo>
                <a:lnTo>
                  <a:pt x="1932" y="1308"/>
                </a:lnTo>
                <a:lnTo>
                  <a:pt x="1931" y="1299"/>
                </a:lnTo>
                <a:lnTo>
                  <a:pt x="1927" y="1289"/>
                </a:lnTo>
                <a:lnTo>
                  <a:pt x="1921" y="1280"/>
                </a:lnTo>
                <a:lnTo>
                  <a:pt x="1913" y="1271"/>
                </a:lnTo>
                <a:lnTo>
                  <a:pt x="1903" y="1262"/>
                </a:lnTo>
                <a:lnTo>
                  <a:pt x="1893" y="1255"/>
                </a:lnTo>
                <a:lnTo>
                  <a:pt x="1882" y="1251"/>
                </a:lnTo>
                <a:lnTo>
                  <a:pt x="1872" y="1250"/>
                </a:lnTo>
                <a:lnTo>
                  <a:pt x="1842" y="1250"/>
                </a:lnTo>
                <a:lnTo>
                  <a:pt x="1842" y="1158"/>
                </a:lnTo>
                <a:lnTo>
                  <a:pt x="2306" y="1158"/>
                </a:lnTo>
                <a:lnTo>
                  <a:pt x="2306" y="1250"/>
                </a:lnTo>
                <a:lnTo>
                  <a:pt x="2275" y="1250"/>
                </a:lnTo>
                <a:lnTo>
                  <a:pt x="2263" y="1252"/>
                </a:lnTo>
                <a:lnTo>
                  <a:pt x="2251" y="1257"/>
                </a:lnTo>
                <a:lnTo>
                  <a:pt x="2241" y="1265"/>
                </a:lnTo>
                <a:lnTo>
                  <a:pt x="2232" y="1276"/>
                </a:lnTo>
                <a:lnTo>
                  <a:pt x="2224" y="1287"/>
                </a:lnTo>
                <a:lnTo>
                  <a:pt x="2219" y="1299"/>
                </a:lnTo>
                <a:lnTo>
                  <a:pt x="2216" y="1309"/>
                </a:lnTo>
                <a:lnTo>
                  <a:pt x="2214" y="1319"/>
                </a:lnTo>
                <a:lnTo>
                  <a:pt x="2214" y="1881"/>
                </a:lnTo>
                <a:lnTo>
                  <a:pt x="2215" y="1890"/>
                </a:lnTo>
                <a:lnTo>
                  <a:pt x="2219" y="1900"/>
                </a:lnTo>
                <a:lnTo>
                  <a:pt x="2224" y="1912"/>
                </a:lnTo>
                <a:lnTo>
                  <a:pt x="2230" y="1923"/>
                </a:lnTo>
                <a:lnTo>
                  <a:pt x="2239" y="1933"/>
                </a:lnTo>
                <a:lnTo>
                  <a:pt x="2249" y="1941"/>
                </a:lnTo>
                <a:lnTo>
                  <a:pt x="2260" y="1946"/>
                </a:lnTo>
                <a:lnTo>
                  <a:pt x="2271" y="1948"/>
                </a:lnTo>
                <a:lnTo>
                  <a:pt x="2306" y="1948"/>
                </a:lnTo>
                <a:lnTo>
                  <a:pt x="2306" y="2039"/>
                </a:lnTo>
                <a:lnTo>
                  <a:pt x="1842" y="2039"/>
                </a:lnTo>
                <a:lnTo>
                  <a:pt x="1842" y="1948"/>
                </a:lnTo>
                <a:close/>
                <a:moveTo>
                  <a:pt x="995" y="1946"/>
                </a:moveTo>
                <a:lnTo>
                  <a:pt x="1030" y="1946"/>
                </a:lnTo>
                <a:lnTo>
                  <a:pt x="1038" y="1944"/>
                </a:lnTo>
                <a:lnTo>
                  <a:pt x="1047" y="1941"/>
                </a:lnTo>
                <a:lnTo>
                  <a:pt x="1057" y="1935"/>
                </a:lnTo>
                <a:lnTo>
                  <a:pt x="1066" y="1927"/>
                </a:lnTo>
                <a:lnTo>
                  <a:pt x="1075" y="1918"/>
                </a:lnTo>
                <a:lnTo>
                  <a:pt x="1081" y="1909"/>
                </a:lnTo>
                <a:lnTo>
                  <a:pt x="1085" y="1899"/>
                </a:lnTo>
                <a:lnTo>
                  <a:pt x="1086" y="1889"/>
                </a:lnTo>
                <a:lnTo>
                  <a:pt x="1086" y="1308"/>
                </a:lnTo>
                <a:lnTo>
                  <a:pt x="1085" y="1299"/>
                </a:lnTo>
                <a:lnTo>
                  <a:pt x="1081" y="1289"/>
                </a:lnTo>
                <a:lnTo>
                  <a:pt x="1075" y="1280"/>
                </a:lnTo>
                <a:lnTo>
                  <a:pt x="1066" y="1271"/>
                </a:lnTo>
                <a:lnTo>
                  <a:pt x="1057" y="1262"/>
                </a:lnTo>
                <a:lnTo>
                  <a:pt x="1046" y="1256"/>
                </a:lnTo>
                <a:lnTo>
                  <a:pt x="1036" y="1251"/>
                </a:lnTo>
                <a:lnTo>
                  <a:pt x="1026" y="1250"/>
                </a:lnTo>
                <a:lnTo>
                  <a:pt x="995" y="1250"/>
                </a:lnTo>
                <a:lnTo>
                  <a:pt x="995" y="1158"/>
                </a:lnTo>
                <a:lnTo>
                  <a:pt x="1742" y="1158"/>
                </a:lnTo>
                <a:lnTo>
                  <a:pt x="1742" y="1443"/>
                </a:lnTo>
                <a:lnTo>
                  <a:pt x="1648" y="1443"/>
                </a:lnTo>
                <a:lnTo>
                  <a:pt x="1635" y="1397"/>
                </a:lnTo>
                <a:lnTo>
                  <a:pt x="1620" y="1356"/>
                </a:lnTo>
                <a:lnTo>
                  <a:pt x="1602" y="1323"/>
                </a:lnTo>
                <a:lnTo>
                  <a:pt x="1592" y="1308"/>
                </a:lnTo>
                <a:lnTo>
                  <a:pt x="1581" y="1296"/>
                </a:lnTo>
                <a:lnTo>
                  <a:pt x="1570" y="1284"/>
                </a:lnTo>
                <a:lnTo>
                  <a:pt x="1557" y="1275"/>
                </a:lnTo>
                <a:lnTo>
                  <a:pt x="1544" y="1267"/>
                </a:lnTo>
                <a:lnTo>
                  <a:pt x="1530" y="1259"/>
                </a:lnTo>
                <a:lnTo>
                  <a:pt x="1514" y="1254"/>
                </a:lnTo>
                <a:lnTo>
                  <a:pt x="1498" y="1251"/>
                </a:lnTo>
                <a:lnTo>
                  <a:pt x="1461" y="1248"/>
                </a:lnTo>
                <a:lnTo>
                  <a:pt x="1369" y="1248"/>
                </a:lnTo>
                <a:lnTo>
                  <a:pt x="1369" y="1553"/>
                </a:lnTo>
                <a:lnTo>
                  <a:pt x="1416" y="1553"/>
                </a:lnTo>
                <a:lnTo>
                  <a:pt x="1432" y="1548"/>
                </a:lnTo>
                <a:lnTo>
                  <a:pt x="1441" y="1542"/>
                </a:lnTo>
                <a:lnTo>
                  <a:pt x="1452" y="1533"/>
                </a:lnTo>
                <a:lnTo>
                  <a:pt x="1461" y="1524"/>
                </a:lnTo>
                <a:lnTo>
                  <a:pt x="1470" y="1513"/>
                </a:lnTo>
                <a:lnTo>
                  <a:pt x="1475" y="1500"/>
                </a:lnTo>
                <a:lnTo>
                  <a:pt x="1477" y="1485"/>
                </a:lnTo>
                <a:lnTo>
                  <a:pt x="1477" y="1445"/>
                </a:lnTo>
                <a:lnTo>
                  <a:pt x="1568" y="1445"/>
                </a:lnTo>
                <a:lnTo>
                  <a:pt x="1568" y="1752"/>
                </a:lnTo>
                <a:lnTo>
                  <a:pt x="1477" y="1752"/>
                </a:lnTo>
                <a:lnTo>
                  <a:pt x="1477" y="1714"/>
                </a:lnTo>
                <a:lnTo>
                  <a:pt x="1476" y="1704"/>
                </a:lnTo>
                <a:lnTo>
                  <a:pt x="1472" y="1693"/>
                </a:lnTo>
                <a:lnTo>
                  <a:pt x="1465" y="1681"/>
                </a:lnTo>
                <a:lnTo>
                  <a:pt x="1457" y="1671"/>
                </a:lnTo>
                <a:lnTo>
                  <a:pt x="1447" y="1661"/>
                </a:lnTo>
                <a:lnTo>
                  <a:pt x="1433" y="1652"/>
                </a:lnTo>
                <a:lnTo>
                  <a:pt x="1419" y="1646"/>
                </a:lnTo>
                <a:lnTo>
                  <a:pt x="1401" y="1644"/>
                </a:lnTo>
                <a:lnTo>
                  <a:pt x="1369" y="1644"/>
                </a:lnTo>
                <a:lnTo>
                  <a:pt x="1369" y="1948"/>
                </a:lnTo>
                <a:lnTo>
                  <a:pt x="1471" y="1948"/>
                </a:lnTo>
                <a:lnTo>
                  <a:pt x="1497" y="1946"/>
                </a:lnTo>
                <a:lnTo>
                  <a:pt x="1524" y="1939"/>
                </a:lnTo>
                <a:lnTo>
                  <a:pt x="1551" y="1925"/>
                </a:lnTo>
                <a:lnTo>
                  <a:pt x="1564" y="1917"/>
                </a:lnTo>
                <a:lnTo>
                  <a:pt x="1577" y="1907"/>
                </a:lnTo>
                <a:lnTo>
                  <a:pt x="1589" y="1894"/>
                </a:lnTo>
                <a:lnTo>
                  <a:pt x="1600" y="1881"/>
                </a:lnTo>
                <a:lnTo>
                  <a:pt x="1611" y="1865"/>
                </a:lnTo>
                <a:lnTo>
                  <a:pt x="1621" y="1847"/>
                </a:lnTo>
                <a:lnTo>
                  <a:pt x="1629" y="1827"/>
                </a:lnTo>
                <a:lnTo>
                  <a:pt x="1637" y="1805"/>
                </a:lnTo>
                <a:lnTo>
                  <a:pt x="1644" y="1781"/>
                </a:lnTo>
                <a:lnTo>
                  <a:pt x="1648" y="1754"/>
                </a:lnTo>
                <a:lnTo>
                  <a:pt x="1742" y="1754"/>
                </a:lnTo>
                <a:lnTo>
                  <a:pt x="1742" y="2039"/>
                </a:lnTo>
                <a:lnTo>
                  <a:pt x="995" y="2039"/>
                </a:lnTo>
                <a:lnTo>
                  <a:pt x="995" y="1946"/>
                </a:lnTo>
                <a:close/>
                <a:moveTo>
                  <a:pt x="173" y="1998"/>
                </a:moveTo>
                <a:lnTo>
                  <a:pt x="174" y="1983"/>
                </a:lnTo>
                <a:lnTo>
                  <a:pt x="180" y="1948"/>
                </a:lnTo>
                <a:lnTo>
                  <a:pt x="192" y="1901"/>
                </a:lnTo>
                <a:lnTo>
                  <a:pt x="201" y="1874"/>
                </a:lnTo>
                <a:lnTo>
                  <a:pt x="213" y="1846"/>
                </a:lnTo>
                <a:lnTo>
                  <a:pt x="235" y="1796"/>
                </a:lnTo>
                <a:lnTo>
                  <a:pt x="267" y="1734"/>
                </a:lnTo>
                <a:lnTo>
                  <a:pt x="287" y="1700"/>
                </a:lnTo>
                <a:lnTo>
                  <a:pt x="309" y="1667"/>
                </a:lnTo>
                <a:lnTo>
                  <a:pt x="334" y="1635"/>
                </a:lnTo>
                <a:lnTo>
                  <a:pt x="360" y="1605"/>
                </a:lnTo>
                <a:lnTo>
                  <a:pt x="392" y="1572"/>
                </a:lnTo>
                <a:lnTo>
                  <a:pt x="420" y="1540"/>
                </a:lnTo>
                <a:lnTo>
                  <a:pt x="469" y="1477"/>
                </a:lnTo>
                <a:lnTo>
                  <a:pt x="508" y="1420"/>
                </a:lnTo>
                <a:lnTo>
                  <a:pt x="538" y="1368"/>
                </a:lnTo>
                <a:lnTo>
                  <a:pt x="559" y="1324"/>
                </a:lnTo>
                <a:lnTo>
                  <a:pt x="574" y="1289"/>
                </a:lnTo>
                <a:lnTo>
                  <a:pt x="588" y="1254"/>
                </a:lnTo>
                <a:lnTo>
                  <a:pt x="588" y="1248"/>
                </a:lnTo>
                <a:lnTo>
                  <a:pt x="506" y="1248"/>
                </a:lnTo>
                <a:lnTo>
                  <a:pt x="472" y="1250"/>
                </a:lnTo>
                <a:lnTo>
                  <a:pt x="443" y="1255"/>
                </a:lnTo>
                <a:lnTo>
                  <a:pt x="418" y="1264"/>
                </a:lnTo>
                <a:lnTo>
                  <a:pt x="395" y="1276"/>
                </a:lnTo>
                <a:lnTo>
                  <a:pt x="375" y="1289"/>
                </a:lnTo>
                <a:lnTo>
                  <a:pt x="359" y="1305"/>
                </a:lnTo>
                <a:lnTo>
                  <a:pt x="344" y="1322"/>
                </a:lnTo>
                <a:lnTo>
                  <a:pt x="332" y="1340"/>
                </a:lnTo>
                <a:lnTo>
                  <a:pt x="315" y="1374"/>
                </a:lnTo>
                <a:lnTo>
                  <a:pt x="303" y="1405"/>
                </a:lnTo>
                <a:lnTo>
                  <a:pt x="295" y="1443"/>
                </a:lnTo>
                <a:lnTo>
                  <a:pt x="206" y="1443"/>
                </a:lnTo>
                <a:lnTo>
                  <a:pt x="206" y="1158"/>
                </a:lnTo>
                <a:lnTo>
                  <a:pt x="913" y="1158"/>
                </a:lnTo>
                <a:lnTo>
                  <a:pt x="913" y="1182"/>
                </a:lnTo>
                <a:lnTo>
                  <a:pt x="912" y="1195"/>
                </a:lnTo>
                <a:lnTo>
                  <a:pt x="907" y="1226"/>
                </a:lnTo>
                <a:lnTo>
                  <a:pt x="897" y="1271"/>
                </a:lnTo>
                <a:lnTo>
                  <a:pt x="881" y="1325"/>
                </a:lnTo>
                <a:lnTo>
                  <a:pt x="859" y="1379"/>
                </a:lnTo>
                <a:lnTo>
                  <a:pt x="835" y="1428"/>
                </a:lnTo>
                <a:lnTo>
                  <a:pt x="810" y="1474"/>
                </a:lnTo>
                <a:lnTo>
                  <a:pt x="784" y="1516"/>
                </a:lnTo>
                <a:lnTo>
                  <a:pt x="757" y="1554"/>
                </a:lnTo>
                <a:lnTo>
                  <a:pt x="730" y="1590"/>
                </a:lnTo>
                <a:lnTo>
                  <a:pt x="673" y="1658"/>
                </a:lnTo>
                <a:lnTo>
                  <a:pt x="620" y="1723"/>
                </a:lnTo>
                <a:lnTo>
                  <a:pt x="596" y="1756"/>
                </a:lnTo>
                <a:lnTo>
                  <a:pt x="572" y="1790"/>
                </a:lnTo>
                <a:lnTo>
                  <a:pt x="551" y="1825"/>
                </a:lnTo>
                <a:lnTo>
                  <a:pt x="533" y="1864"/>
                </a:lnTo>
                <a:lnTo>
                  <a:pt x="516" y="1904"/>
                </a:lnTo>
                <a:lnTo>
                  <a:pt x="503" y="1948"/>
                </a:lnTo>
                <a:lnTo>
                  <a:pt x="624" y="1948"/>
                </a:lnTo>
                <a:lnTo>
                  <a:pt x="651" y="1946"/>
                </a:lnTo>
                <a:lnTo>
                  <a:pt x="680" y="1939"/>
                </a:lnTo>
                <a:lnTo>
                  <a:pt x="707" y="1925"/>
                </a:lnTo>
                <a:lnTo>
                  <a:pt x="720" y="1917"/>
                </a:lnTo>
                <a:lnTo>
                  <a:pt x="733" y="1907"/>
                </a:lnTo>
                <a:lnTo>
                  <a:pt x="744" y="1894"/>
                </a:lnTo>
                <a:lnTo>
                  <a:pt x="756" y="1881"/>
                </a:lnTo>
                <a:lnTo>
                  <a:pt x="767" y="1865"/>
                </a:lnTo>
                <a:lnTo>
                  <a:pt x="777" y="1847"/>
                </a:lnTo>
                <a:lnTo>
                  <a:pt x="786" y="1827"/>
                </a:lnTo>
                <a:lnTo>
                  <a:pt x="793" y="1805"/>
                </a:lnTo>
                <a:lnTo>
                  <a:pt x="799" y="1781"/>
                </a:lnTo>
                <a:lnTo>
                  <a:pt x="805" y="1754"/>
                </a:lnTo>
                <a:lnTo>
                  <a:pt x="897" y="1754"/>
                </a:lnTo>
                <a:lnTo>
                  <a:pt x="897" y="2039"/>
                </a:lnTo>
                <a:lnTo>
                  <a:pt x="173" y="2039"/>
                </a:lnTo>
                <a:lnTo>
                  <a:pt x="173" y="1998"/>
                </a:lnTo>
                <a:close/>
              </a:path>
            </a:pathLst>
          </a:custGeom>
          <a:solidFill>
            <a:srgbClr val="0000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sz="1600">
              <a:solidFill>
                <a:srgbClr val="000000"/>
              </a:solidFill>
            </a:endParaRPr>
          </a:p>
        </p:txBody>
      </p:sp>
      <p:sp>
        <p:nvSpPr>
          <p:cNvPr id="3" name="Text Placeholder 2"/>
          <p:cNvSpPr>
            <a:spLocks noGrp="1"/>
          </p:cNvSpPr>
          <p:nvPr>
            <p:ph type="body" sz="quarter" idx="10"/>
          </p:nvPr>
        </p:nvSpPr>
        <p:spPr>
          <a:xfrm>
            <a:off x="468000" y="5940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7" name="Text Placeholder 2"/>
          <p:cNvSpPr>
            <a:spLocks noGrp="1"/>
          </p:cNvSpPr>
          <p:nvPr>
            <p:ph type="body" sz="quarter" idx="11"/>
          </p:nvPr>
        </p:nvSpPr>
        <p:spPr>
          <a:xfrm>
            <a:off x="468000" y="6192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8" name="Text Placeholder 2"/>
          <p:cNvSpPr>
            <a:spLocks noGrp="1"/>
          </p:cNvSpPr>
          <p:nvPr>
            <p:ph type="body" sz="quarter" idx="12"/>
          </p:nvPr>
        </p:nvSpPr>
        <p:spPr>
          <a:xfrm>
            <a:off x="468000" y="6444000"/>
            <a:ext cx="3024682" cy="208952"/>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4" name="Title 3"/>
          <p:cNvSpPr>
            <a:spLocks noGrp="1"/>
          </p:cNvSpPr>
          <p:nvPr>
            <p:ph type="title"/>
          </p:nvPr>
        </p:nvSpPr>
        <p:spPr/>
        <p:txBody>
          <a:bodyPr/>
          <a:lstStyle/>
          <a:p>
            <a:r>
              <a:rPr lang="en-US"/>
              <a:t>Click to edit Master title style</a:t>
            </a:r>
          </a:p>
        </p:txBody>
      </p:sp>
      <p:pic>
        <p:nvPicPr>
          <p:cNvPr id="11" name="Picture 52" descr="Bild1"/>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0" y="1350965"/>
            <a:ext cx="9144000" cy="435133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TextBox 8"/>
          <p:cNvSpPr txBox="1"/>
          <p:nvPr userDrawn="1"/>
        </p:nvSpPr>
        <p:spPr bwMode="gray">
          <a:xfrm>
            <a:off x="-865458" y="1773238"/>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0" name="TextBox 9"/>
          <p:cNvSpPr txBox="1"/>
          <p:nvPr userDrawn="1"/>
        </p:nvSpPr>
        <p:spPr bwMode="gray">
          <a:xfrm>
            <a:off x="-956829" y="1554163"/>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2" name="Straight Connector 11"/>
          <p:cNvCxnSpPr/>
          <p:nvPr userDrawn="1"/>
        </p:nvCxnSpPr>
        <p:spPr bwMode="gray">
          <a:xfrm flipH="1">
            <a:off x="-288540" y="17732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bwMode="gray">
          <a:xfrm flipH="1">
            <a:off x="-288540" y="15573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userDrawn="1"/>
        </p:nvSpPr>
        <p:spPr bwMode="gray">
          <a:xfrm>
            <a:off x="-865458" y="6093281"/>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5" name="TextBox 14"/>
          <p:cNvSpPr txBox="1"/>
          <p:nvPr userDrawn="1"/>
        </p:nvSpPr>
        <p:spPr bwMode="gray">
          <a:xfrm>
            <a:off x="-956829" y="6524625"/>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6" name="Straight Connector 15"/>
          <p:cNvCxnSpPr/>
          <p:nvPr userDrawn="1"/>
        </p:nvCxnSpPr>
        <p:spPr bwMode="gray">
          <a:xfrm flipH="1">
            <a:off x="-288540" y="6522107"/>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gray">
          <a:xfrm flipH="1">
            <a:off x="-288540" y="6308725"/>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nvGrpSpPr>
          <p:cNvPr id="18" name="Group 17"/>
          <p:cNvGrpSpPr/>
          <p:nvPr userDrawn="1"/>
        </p:nvGrpSpPr>
        <p:grpSpPr>
          <a:xfrm rot="5400000">
            <a:off x="-43126" y="-645663"/>
            <a:ext cx="807434" cy="215444"/>
            <a:chOff x="-1248737" y="516171"/>
            <a:chExt cx="807434" cy="215444"/>
          </a:xfrm>
        </p:grpSpPr>
        <p:sp>
          <p:nvSpPr>
            <p:cNvPr id="19" name="TextBox 18"/>
            <p:cNvSpPr txBox="1"/>
            <p:nvPr userDrawn="1"/>
          </p:nvSpPr>
          <p:spPr bwMode="gray">
            <a:xfrm>
              <a:off x="-1248737" y="516171"/>
              <a:ext cx="766557"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Lef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20" name="Straight Connector 19"/>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21" name="Group 20"/>
          <p:cNvGrpSpPr/>
          <p:nvPr userDrawn="1"/>
        </p:nvGrpSpPr>
        <p:grpSpPr>
          <a:xfrm rot="5400000">
            <a:off x="8185327" y="-625720"/>
            <a:ext cx="767548" cy="215444"/>
            <a:chOff x="-1285606" y="516176"/>
            <a:chExt cx="844303" cy="215444"/>
          </a:xfrm>
        </p:grpSpPr>
        <p:sp>
          <p:nvSpPr>
            <p:cNvPr id="22" name="TextBox 21"/>
            <p:cNvSpPr txBox="1"/>
            <p:nvPr userDrawn="1"/>
          </p:nvSpPr>
          <p:spPr bwMode="gray">
            <a:xfrm>
              <a:off x="-1285606" y="516176"/>
              <a:ext cx="840295"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Righ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23" name="Straight Connector 22"/>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36932287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 We make it visible.">
    <p:spTree>
      <p:nvGrpSpPr>
        <p:cNvPr id="1" name=""/>
        <p:cNvGrpSpPr/>
        <p:nvPr/>
      </p:nvGrpSpPr>
      <p:grpSpPr>
        <a:xfrm>
          <a:off x="0" y="0"/>
          <a:ext cx="0" cy="0"/>
          <a:chOff x="0" y="0"/>
          <a:chExt cx="0" cy="0"/>
        </a:xfrm>
      </p:grpSpPr>
      <p:sp>
        <p:nvSpPr>
          <p:cNvPr id="3251215" name="Freeform 15"/>
          <p:cNvSpPr>
            <a:spLocks noEditPoints="1"/>
          </p:cNvSpPr>
          <p:nvPr>
            <p:custDataLst>
              <p:tags r:id="rId2"/>
            </p:custDataLst>
          </p:nvPr>
        </p:nvSpPr>
        <p:spPr bwMode="auto">
          <a:xfrm>
            <a:off x="8216900" y="379414"/>
            <a:ext cx="463550" cy="488951"/>
          </a:xfrm>
          <a:custGeom>
            <a:avLst/>
            <a:gdLst>
              <a:gd name="T0" fmla="*/ 743 w 4092"/>
              <a:gd name="T1" fmla="*/ 3836 h 4104"/>
              <a:gd name="T2" fmla="*/ 1652 w 4092"/>
              <a:gd name="T3" fmla="*/ 3680 h 4104"/>
              <a:gd name="T4" fmla="*/ 2573 w 4092"/>
              <a:gd name="T5" fmla="*/ 3692 h 4104"/>
              <a:gd name="T6" fmla="*/ 3476 w 4092"/>
              <a:gd name="T7" fmla="*/ 3873 h 4104"/>
              <a:gd name="T8" fmla="*/ 0 w 4092"/>
              <a:gd name="T9" fmla="*/ 0 h 4104"/>
              <a:gd name="T10" fmla="*/ 3802 w 4092"/>
              <a:gd name="T11" fmla="*/ 1443 h 4104"/>
              <a:gd name="T12" fmla="*/ 3712 w 4092"/>
              <a:gd name="T13" fmla="*/ 1281 h 4104"/>
              <a:gd name="T14" fmla="*/ 3509 w 4092"/>
              <a:gd name="T15" fmla="*/ 1254 h 4104"/>
              <a:gd name="T16" fmla="*/ 3662 w 4092"/>
              <a:gd name="T17" fmla="*/ 1523 h 4104"/>
              <a:gd name="T18" fmla="*/ 3865 w 4092"/>
              <a:gd name="T19" fmla="*/ 1799 h 4104"/>
              <a:gd name="T20" fmla="*/ 3900 w 4092"/>
              <a:gd name="T21" fmla="*/ 2004 h 4104"/>
              <a:gd name="T22" fmla="*/ 3313 w 4092"/>
              <a:gd name="T23" fmla="*/ 1825 h 4104"/>
              <a:gd name="T24" fmla="*/ 3412 w 4092"/>
              <a:gd name="T25" fmla="*/ 1939 h 4104"/>
              <a:gd name="T26" fmla="*/ 3572 w 4092"/>
              <a:gd name="T27" fmla="*/ 1876 h 4104"/>
              <a:gd name="T28" fmla="*/ 3353 w 4092"/>
              <a:gd name="T29" fmla="*/ 1570 h 4104"/>
              <a:gd name="T30" fmla="*/ 3203 w 4092"/>
              <a:gd name="T31" fmla="*/ 1305 h 4104"/>
              <a:gd name="T32" fmla="*/ 2422 w 4092"/>
              <a:gd name="T33" fmla="*/ 1158 h 4104"/>
              <a:gd name="T34" fmla="*/ 2958 w 4092"/>
              <a:gd name="T35" fmla="*/ 1319 h 4104"/>
              <a:gd name="T36" fmla="*/ 2839 w 4092"/>
              <a:gd name="T37" fmla="*/ 1250 h 4104"/>
              <a:gd name="T38" fmla="*/ 2783 w 4092"/>
              <a:gd name="T39" fmla="*/ 1403 h 4104"/>
              <a:gd name="T40" fmla="*/ 2986 w 4092"/>
              <a:gd name="T41" fmla="*/ 1654 h 4104"/>
              <a:gd name="T42" fmla="*/ 3113 w 4092"/>
              <a:gd name="T43" fmla="*/ 1932 h 4104"/>
              <a:gd name="T44" fmla="*/ 2408 w 4092"/>
              <a:gd name="T45" fmla="*/ 1754 h 4104"/>
              <a:gd name="T46" fmla="*/ 2577 w 4092"/>
              <a:gd name="T47" fmla="*/ 1912 h 4104"/>
              <a:gd name="T48" fmla="*/ 2802 w 4092"/>
              <a:gd name="T49" fmla="*/ 1948 h 4104"/>
              <a:gd name="T50" fmla="*/ 2677 w 4092"/>
              <a:gd name="T51" fmla="*/ 1714 h 4104"/>
              <a:gd name="T52" fmla="*/ 2446 w 4092"/>
              <a:gd name="T53" fmla="*/ 1400 h 4104"/>
              <a:gd name="T54" fmla="*/ 1842 w 4092"/>
              <a:gd name="T55" fmla="*/ 1948 h 4104"/>
              <a:gd name="T56" fmla="*/ 1927 w 4092"/>
              <a:gd name="T57" fmla="*/ 1911 h 4104"/>
              <a:gd name="T58" fmla="*/ 1913 w 4092"/>
              <a:gd name="T59" fmla="*/ 1271 h 4104"/>
              <a:gd name="T60" fmla="*/ 2306 w 4092"/>
              <a:gd name="T61" fmla="*/ 1158 h 4104"/>
              <a:gd name="T62" fmla="*/ 2224 w 4092"/>
              <a:gd name="T63" fmla="*/ 1287 h 4104"/>
              <a:gd name="T64" fmla="*/ 2224 w 4092"/>
              <a:gd name="T65" fmla="*/ 1912 h 4104"/>
              <a:gd name="T66" fmla="*/ 2306 w 4092"/>
              <a:gd name="T67" fmla="*/ 2039 h 4104"/>
              <a:gd name="T68" fmla="*/ 1057 w 4092"/>
              <a:gd name="T69" fmla="*/ 1935 h 4104"/>
              <a:gd name="T70" fmla="*/ 1085 w 4092"/>
              <a:gd name="T71" fmla="*/ 1299 h 4104"/>
              <a:gd name="T72" fmla="*/ 1026 w 4092"/>
              <a:gd name="T73" fmla="*/ 1250 h 4104"/>
              <a:gd name="T74" fmla="*/ 1620 w 4092"/>
              <a:gd name="T75" fmla="*/ 1356 h 4104"/>
              <a:gd name="T76" fmla="*/ 1530 w 4092"/>
              <a:gd name="T77" fmla="*/ 1259 h 4104"/>
              <a:gd name="T78" fmla="*/ 1432 w 4092"/>
              <a:gd name="T79" fmla="*/ 1548 h 4104"/>
              <a:gd name="T80" fmla="*/ 1477 w 4092"/>
              <a:gd name="T81" fmla="*/ 1445 h 4104"/>
              <a:gd name="T82" fmla="*/ 1465 w 4092"/>
              <a:gd name="T83" fmla="*/ 1681 h 4104"/>
              <a:gd name="T84" fmla="*/ 1369 w 4092"/>
              <a:gd name="T85" fmla="*/ 1948 h 4104"/>
              <a:gd name="T86" fmla="*/ 1589 w 4092"/>
              <a:gd name="T87" fmla="*/ 1894 h 4104"/>
              <a:gd name="T88" fmla="*/ 1648 w 4092"/>
              <a:gd name="T89" fmla="*/ 1754 h 4104"/>
              <a:gd name="T90" fmla="*/ 180 w 4092"/>
              <a:gd name="T91" fmla="*/ 1948 h 4104"/>
              <a:gd name="T92" fmla="*/ 309 w 4092"/>
              <a:gd name="T93" fmla="*/ 1667 h 4104"/>
              <a:gd name="T94" fmla="*/ 538 w 4092"/>
              <a:gd name="T95" fmla="*/ 1368 h 4104"/>
              <a:gd name="T96" fmla="*/ 443 w 4092"/>
              <a:gd name="T97" fmla="*/ 1255 h 4104"/>
              <a:gd name="T98" fmla="*/ 315 w 4092"/>
              <a:gd name="T99" fmla="*/ 1374 h 4104"/>
              <a:gd name="T100" fmla="*/ 912 w 4092"/>
              <a:gd name="T101" fmla="*/ 1195 h 4104"/>
              <a:gd name="T102" fmla="*/ 784 w 4092"/>
              <a:gd name="T103" fmla="*/ 1516 h 4104"/>
              <a:gd name="T104" fmla="*/ 551 w 4092"/>
              <a:gd name="T105" fmla="*/ 1825 h 4104"/>
              <a:gd name="T106" fmla="*/ 707 w 4092"/>
              <a:gd name="T107" fmla="*/ 1925 h 4104"/>
              <a:gd name="T108" fmla="*/ 786 w 4092"/>
              <a:gd name="T109" fmla="*/ 1827 h 4104"/>
              <a:gd name="T110" fmla="*/ 173 w 4092"/>
              <a:gd name="T111" fmla="*/ 1998 h 4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92" h="4104">
                <a:moveTo>
                  <a:pt x="0" y="4104"/>
                </a:moveTo>
                <a:lnTo>
                  <a:pt x="121" y="4051"/>
                </a:lnTo>
                <a:lnTo>
                  <a:pt x="243" y="4001"/>
                </a:lnTo>
                <a:lnTo>
                  <a:pt x="366" y="3955"/>
                </a:lnTo>
                <a:lnTo>
                  <a:pt x="491" y="3912"/>
                </a:lnTo>
                <a:lnTo>
                  <a:pt x="617" y="3873"/>
                </a:lnTo>
                <a:lnTo>
                  <a:pt x="743" y="3836"/>
                </a:lnTo>
                <a:lnTo>
                  <a:pt x="871" y="3804"/>
                </a:lnTo>
                <a:lnTo>
                  <a:pt x="1000" y="3775"/>
                </a:lnTo>
                <a:lnTo>
                  <a:pt x="1129" y="3749"/>
                </a:lnTo>
                <a:lnTo>
                  <a:pt x="1259" y="3727"/>
                </a:lnTo>
                <a:lnTo>
                  <a:pt x="1389" y="3707"/>
                </a:lnTo>
                <a:lnTo>
                  <a:pt x="1521" y="3692"/>
                </a:lnTo>
                <a:lnTo>
                  <a:pt x="1652" y="3680"/>
                </a:lnTo>
                <a:lnTo>
                  <a:pt x="1783" y="3671"/>
                </a:lnTo>
                <a:lnTo>
                  <a:pt x="1915" y="3666"/>
                </a:lnTo>
                <a:lnTo>
                  <a:pt x="2047" y="3664"/>
                </a:lnTo>
                <a:lnTo>
                  <a:pt x="2178" y="3666"/>
                </a:lnTo>
                <a:lnTo>
                  <a:pt x="2311" y="3671"/>
                </a:lnTo>
                <a:lnTo>
                  <a:pt x="2442" y="3680"/>
                </a:lnTo>
                <a:lnTo>
                  <a:pt x="2573" y="3692"/>
                </a:lnTo>
                <a:lnTo>
                  <a:pt x="2704" y="3707"/>
                </a:lnTo>
                <a:lnTo>
                  <a:pt x="2835" y="3727"/>
                </a:lnTo>
                <a:lnTo>
                  <a:pt x="2964" y="3749"/>
                </a:lnTo>
                <a:lnTo>
                  <a:pt x="3093" y="3775"/>
                </a:lnTo>
                <a:lnTo>
                  <a:pt x="3222" y="3804"/>
                </a:lnTo>
                <a:lnTo>
                  <a:pt x="3350" y="3836"/>
                </a:lnTo>
                <a:lnTo>
                  <a:pt x="3476" y="3873"/>
                </a:lnTo>
                <a:lnTo>
                  <a:pt x="3602" y="3912"/>
                </a:lnTo>
                <a:lnTo>
                  <a:pt x="3726" y="3955"/>
                </a:lnTo>
                <a:lnTo>
                  <a:pt x="3850" y="4001"/>
                </a:lnTo>
                <a:lnTo>
                  <a:pt x="3972" y="4051"/>
                </a:lnTo>
                <a:lnTo>
                  <a:pt x="4092" y="4104"/>
                </a:lnTo>
                <a:lnTo>
                  <a:pt x="4092" y="0"/>
                </a:lnTo>
                <a:lnTo>
                  <a:pt x="0" y="0"/>
                </a:lnTo>
                <a:lnTo>
                  <a:pt x="0" y="4104"/>
                </a:lnTo>
                <a:close/>
                <a:moveTo>
                  <a:pt x="3198" y="1210"/>
                </a:moveTo>
                <a:lnTo>
                  <a:pt x="3205" y="1184"/>
                </a:lnTo>
                <a:lnTo>
                  <a:pt x="3214" y="1158"/>
                </a:lnTo>
                <a:lnTo>
                  <a:pt x="3891" y="1158"/>
                </a:lnTo>
                <a:lnTo>
                  <a:pt x="3891" y="1443"/>
                </a:lnTo>
                <a:lnTo>
                  <a:pt x="3802" y="1443"/>
                </a:lnTo>
                <a:lnTo>
                  <a:pt x="3788" y="1394"/>
                </a:lnTo>
                <a:lnTo>
                  <a:pt x="3770" y="1352"/>
                </a:lnTo>
                <a:lnTo>
                  <a:pt x="3761" y="1334"/>
                </a:lnTo>
                <a:lnTo>
                  <a:pt x="3749" y="1319"/>
                </a:lnTo>
                <a:lnTo>
                  <a:pt x="3738" y="1304"/>
                </a:lnTo>
                <a:lnTo>
                  <a:pt x="3725" y="1292"/>
                </a:lnTo>
                <a:lnTo>
                  <a:pt x="3712" y="1281"/>
                </a:lnTo>
                <a:lnTo>
                  <a:pt x="3698" y="1272"/>
                </a:lnTo>
                <a:lnTo>
                  <a:pt x="3682" y="1264"/>
                </a:lnTo>
                <a:lnTo>
                  <a:pt x="3667" y="1258"/>
                </a:lnTo>
                <a:lnTo>
                  <a:pt x="3631" y="1250"/>
                </a:lnTo>
                <a:lnTo>
                  <a:pt x="3592" y="1248"/>
                </a:lnTo>
                <a:lnTo>
                  <a:pt x="3509" y="1248"/>
                </a:lnTo>
                <a:lnTo>
                  <a:pt x="3509" y="1254"/>
                </a:lnTo>
                <a:lnTo>
                  <a:pt x="3517" y="1281"/>
                </a:lnTo>
                <a:lnTo>
                  <a:pt x="3528" y="1311"/>
                </a:lnTo>
                <a:lnTo>
                  <a:pt x="3548" y="1353"/>
                </a:lnTo>
                <a:lnTo>
                  <a:pt x="3575" y="1403"/>
                </a:lnTo>
                <a:lnTo>
                  <a:pt x="3613" y="1459"/>
                </a:lnTo>
                <a:lnTo>
                  <a:pt x="3635" y="1491"/>
                </a:lnTo>
                <a:lnTo>
                  <a:pt x="3662" y="1523"/>
                </a:lnTo>
                <a:lnTo>
                  <a:pt x="3691" y="1556"/>
                </a:lnTo>
                <a:lnTo>
                  <a:pt x="3724" y="1590"/>
                </a:lnTo>
                <a:lnTo>
                  <a:pt x="3749" y="1618"/>
                </a:lnTo>
                <a:lnTo>
                  <a:pt x="3778" y="1654"/>
                </a:lnTo>
                <a:lnTo>
                  <a:pt x="3808" y="1698"/>
                </a:lnTo>
                <a:lnTo>
                  <a:pt x="3838" y="1747"/>
                </a:lnTo>
                <a:lnTo>
                  <a:pt x="3865" y="1799"/>
                </a:lnTo>
                <a:lnTo>
                  <a:pt x="3887" y="1852"/>
                </a:lnTo>
                <a:lnTo>
                  <a:pt x="3895" y="1879"/>
                </a:lnTo>
                <a:lnTo>
                  <a:pt x="3901" y="1906"/>
                </a:lnTo>
                <a:lnTo>
                  <a:pt x="3904" y="1932"/>
                </a:lnTo>
                <a:lnTo>
                  <a:pt x="3906" y="1957"/>
                </a:lnTo>
                <a:lnTo>
                  <a:pt x="3905" y="1983"/>
                </a:lnTo>
                <a:lnTo>
                  <a:pt x="3900" y="2004"/>
                </a:lnTo>
                <a:lnTo>
                  <a:pt x="3893" y="2022"/>
                </a:lnTo>
                <a:lnTo>
                  <a:pt x="3883" y="2039"/>
                </a:lnTo>
                <a:lnTo>
                  <a:pt x="3199" y="2039"/>
                </a:lnTo>
                <a:lnTo>
                  <a:pt x="3199" y="1754"/>
                </a:lnTo>
                <a:lnTo>
                  <a:pt x="3293" y="1754"/>
                </a:lnTo>
                <a:lnTo>
                  <a:pt x="3302" y="1791"/>
                </a:lnTo>
                <a:lnTo>
                  <a:pt x="3313" y="1825"/>
                </a:lnTo>
                <a:lnTo>
                  <a:pt x="3328" y="1858"/>
                </a:lnTo>
                <a:lnTo>
                  <a:pt x="3346" y="1887"/>
                </a:lnTo>
                <a:lnTo>
                  <a:pt x="3356" y="1900"/>
                </a:lnTo>
                <a:lnTo>
                  <a:pt x="3369" y="1912"/>
                </a:lnTo>
                <a:lnTo>
                  <a:pt x="3381" y="1922"/>
                </a:lnTo>
                <a:lnTo>
                  <a:pt x="3396" y="1932"/>
                </a:lnTo>
                <a:lnTo>
                  <a:pt x="3412" y="1939"/>
                </a:lnTo>
                <a:lnTo>
                  <a:pt x="3430" y="1944"/>
                </a:lnTo>
                <a:lnTo>
                  <a:pt x="3450" y="1947"/>
                </a:lnTo>
                <a:lnTo>
                  <a:pt x="3472" y="1948"/>
                </a:lnTo>
                <a:lnTo>
                  <a:pt x="3594" y="1948"/>
                </a:lnTo>
                <a:lnTo>
                  <a:pt x="3594" y="1941"/>
                </a:lnTo>
                <a:lnTo>
                  <a:pt x="3586" y="1918"/>
                </a:lnTo>
                <a:lnTo>
                  <a:pt x="3572" y="1876"/>
                </a:lnTo>
                <a:lnTo>
                  <a:pt x="3554" y="1841"/>
                </a:lnTo>
                <a:lnTo>
                  <a:pt x="3529" y="1800"/>
                </a:lnTo>
                <a:lnTo>
                  <a:pt x="3499" y="1758"/>
                </a:lnTo>
                <a:lnTo>
                  <a:pt x="3469" y="1714"/>
                </a:lnTo>
                <a:lnTo>
                  <a:pt x="3412" y="1641"/>
                </a:lnTo>
                <a:lnTo>
                  <a:pt x="3383" y="1603"/>
                </a:lnTo>
                <a:lnTo>
                  <a:pt x="3353" y="1570"/>
                </a:lnTo>
                <a:lnTo>
                  <a:pt x="3324" y="1533"/>
                </a:lnTo>
                <a:lnTo>
                  <a:pt x="3288" y="1485"/>
                </a:lnTo>
                <a:lnTo>
                  <a:pt x="3254" y="1430"/>
                </a:lnTo>
                <a:lnTo>
                  <a:pt x="3238" y="1400"/>
                </a:lnTo>
                <a:lnTo>
                  <a:pt x="3224" y="1370"/>
                </a:lnTo>
                <a:lnTo>
                  <a:pt x="3212" y="1337"/>
                </a:lnTo>
                <a:lnTo>
                  <a:pt x="3203" y="1305"/>
                </a:lnTo>
                <a:lnTo>
                  <a:pt x="3197" y="1273"/>
                </a:lnTo>
                <a:lnTo>
                  <a:pt x="3195" y="1240"/>
                </a:lnTo>
                <a:lnTo>
                  <a:pt x="3198" y="1210"/>
                </a:lnTo>
                <a:close/>
                <a:moveTo>
                  <a:pt x="2404" y="1225"/>
                </a:moveTo>
                <a:lnTo>
                  <a:pt x="2406" y="1210"/>
                </a:lnTo>
                <a:lnTo>
                  <a:pt x="2413" y="1184"/>
                </a:lnTo>
                <a:lnTo>
                  <a:pt x="2422" y="1158"/>
                </a:lnTo>
                <a:lnTo>
                  <a:pt x="3099" y="1158"/>
                </a:lnTo>
                <a:lnTo>
                  <a:pt x="3099" y="1443"/>
                </a:lnTo>
                <a:lnTo>
                  <a:pt x="3010" y="1443"/>
                </a:lnTo>
                <a:lnTo>
                  <a:pt x="2996" y="1394"/>
                </a:lnTo>
                <a:lnTo>
                  <a:pt x="2978" y="1352"/>
                </a:lnTo>
                <a:lnTo>
                  <a:pt x="2968" y="1334"/>
                </a:lnTo>
                <a:lnTo>
                  <a:pt x="2958" y="1319"/>
                </a:lnTo>
                <a:lnTo>
                  <a:pt x="2945" y="1304"/>
                </a:lnTo>
                <a:lnTo>
                  <a:pt x="2933" y="1292"/>
                </a:lnTo>
                <a:lnTo>
                  <a:pt x="2920" y="1281"/>
                </a:lnTo>
                <a:lnTo>
                  <a:pt x="2906" y="1272"/>
                </a:lnTo>
                <a:lnTo>
                  <a:pt x="2890" y="1264"/>
                </a:lnTo>
                <a:lnTo>
                  <a:pt x="2875" y="1258"/>
                </a:lnTo>
                <a:lnTo>
                  <a:pt x="2839" y="1250"/>
                </a:lnTo>
                <a:lnTo>
                  <a:pt x="2800" y="1248"/>
                </a:lnTo>
                <a:lnTo>
                  <a:pt x="2717" y="1248"/>
                </a:lnTo>
                <a:lnTo>
                  <a:pt x="2717" y="1254"/>
                </a:lnTo>
                <a:lnTo>
                  <a:pt x="2725" y="1281"/>
                </a:lnTo>
                <a:lnTo>
                  <a:pt x="2737" y="1311"/>
                </a:lnTo>
                <a:lnTo>
                  <a:pt x="2756" y="1353"/>
                </a:lnTo>
                <a:lnTo>
                  <a:pt x="2783" y="1403"/>
                </a:lnTo>
                <a:lnTo>
                  <a:pt x="2820" y="1459"/>
                </a:lnTo>
                <a:lnTo>
                  <a:pt x="2844" y="1491"/>
                </a:lnTo>
                <a:lnTo>
                  <a:pt x="2870" y="1523"/>
                </a:lnTo>
                <a:lnTo>
                  <a:pt x="2900" y="1556"/>
                </a:lnTo>
                <a:lnTo>
                  <a:pt x="2932" y="1590"/>
                </a:lnTo>
                <a:lnTo>
                  <a:pt x="2957" y="1618"/>
                </a:lnTo>
                <a:lnTo>
                  <a:pt x="2986" y="1654"/>
                </a:lnTo>
                <a:lnTo>
                  <a:pt x="3016" y="1698"/>
                </a:lnTo>
                <a:lnTo>
                  <a:pt x="3046" y="1747"/>
                </a:lnTo>
                <a:lnTo>
                  <a:pt x="3073" y="1799"/>
                </a:lnTo>
                <a:lnTo>
                  <a:pt x="3095" y="1852"/>
                </a:lnTo>
                <a:lnTo>
                  <a:pt x="3103" y="1879"/>
                </a:lnTo>
                <a:lnTo>
                  <a:pt x="3109" y="1906"/>
                </a:lnTo>
                <a:lnTo>
                  <a:pt x="3113" y="1932"/>
                </a:lnTo>
                <a:lnTo>
                  <a:pt x="3114" y="1957"/>
                </a:lnTo>
                <a:lnTo>
                  <a:pt x="3113" y="1983"/>
                </a:lnTo>
                <a:lnTo>
                  <a:pt x="3108" y="2004"/>
                </a:lnTo>
                <a:lnTo>
                  <a:pt x="3101" y="2022"/>
                </a:lnTo>
                <a:lnTo>
                  <a:pt x="3090" y="2039"/>
                </a:lnTo>
                <a:lnTo>
                  <a:pt x="2408" y="2039"/>
                </a:lnTo>
                <a:lnTo>
                  <a:pt x="2408" y="1754"/>
                </a:lnTo>
                <a:lnTo>
                  <a:pt x="2500" y="1754"/>
                </a:lnTo>
                <a:lnTo>
                  <a:pt x="2510" y="1791"/>
                </a:lnTo>
                <a:lnTo>
                  <a:pt x="2521" y="1825"/>
                </a:lnTo>
                <a:lnTo>
                  <a:pt x="2536" y="1858"/>
                </a:lnTo>
                <a:lnTo>
                  <a:pt x="2554" y="1887"/>
                </a:lnTo>
                <a:lnTo>
                  <a:pt x="2564" y="1900"/>
                </a:lnTo>
                <a:lnTo>
                  <a:pt x="2577" y="1912"/>
                </a:lnTo>
                <a:lnTo>
                  <a:pt x="2590" y="1922"/>
                </a:lnTo>
                <a:lnTo>
                  <a:pt x="2605" y="1932"/>
                </a:lnTo>
                <a:lnTo>
                  <a:pt x="2620" y="1939"/>
                </a:lnTo>
                <a:lnTo>
                  <a:pt x="2639" y="1944"/>
                </a:lnTo>
                <a:lnTo>
                  <a:pt x="2659" y="1947"/>
                </a:lnTo>
                <a:lnTo>
                  <a:pt x="2681" y="1948"/>
                </a:lnTo>
                <a:lnTo>
                  <a:pt x="2802" y="1948"/>
                </a:lnTo>
                <a:lnTo>
                  <a:pt x="2802" y="1941"/>
                </a:lnTo>
                <a:lnTo>
                  <a:pt x="2794" y="1918"/>
                </a:lnTo>
                <a:lnTo>
                  <a:pt x="2781" y="1876"/>
                </a:lnTo>
                <a:lnTo>
                  <a:pt x="2762" y="1841"/>
                </a:lnTo>
                <a:lnTo>
                  <a:pt x="2737" y="1800"/>
                </a:lnTo>
                <a:lnTo>
                  <a:pt x="2708" y="1758"/>
                </a:lnTo>
                <a:lnTo>
                  <a:pt x="2677" y="1714"/>
                </a:lnTo>
                <a:lnTo>
                  <a:pt x="2620" y="1641"/>
                </a:lnTo>
                <a:lnTo>
                  <a:pt x="2589" y="1603"/>
                </a:lnTo>
                <a:lnTo>
                  <a:pt x="2561" y="1570"/>
                </a:lnTo>
                <a:lnTo>
                  <a:pt x="2531" y="1533"/>
                </a:lnTo>
                <a:lnTo>
                  <a:pt x="2496" y="1485"/>
                </a:lnTo>
                <a:lnTo>
                  <a:pt x="2462" y="1430"/>
                </a:lnTo>
                <a:lnTo>
                  <a:pt x="2446" y="1400"/>
                </a:lnTo>
                <a:lnTo>
                  <a:pt x="2433" y="1370"/>
                </a:lnTo>
                <a:lnTo>
                  <a:pt x="2420" y="1337"/>
                </a:lnTo>
                <a:lnTo>
                  <a:pt x="2411" y="1305"/>
                </a:lnTo>
                <a:lnTo>
                  <a:pt x="2406" y="1273"/>
                </a:lnTo>
                <a:lnTo>
                  <a:pt x="2402" y="1240"/>
                </a:lnTo>
                <a:lnTo>
                  <a:pt x="2404" y="1225"/>
                </a:lnTo>
                <a:close/>
                <a:moveTo>
                  <a:pt x="1842" y="1948"/>
                </a:moveTo>
                <a:lnTo>
                  <a:pt x="1876" y="1948"/>
                </a:lnTo>
                <a:lnTo>
                  <a:pt x="1884" y="1947"/>
                </a:lnTo>
                <a:lnTo>
                  <a:pt x="1894" y="1943"/>
                </a:lnTo>
                <a:lnTo>
                  <a:pt x="1903" y="1937"/>
                </a:lnTo>
                <a:lnTo>
                  <a:pt x="1913" y="1930"/>
                </a:lnTo>
                <a:lnTo>
                  <a:pt x="1921" y="1920"/>
                </a:lnTo>
                <a:lnTo>
                  <a:pt x="1927" y="1911"/>
                </a:lnTo>
                <a:lnTo>
                  <a:pt x="1931" y="1901"/>
                </a:lnTo>
                <a:lnTo>
                  <a:pt x="1932" y="1892"/>
                </a:lnTo>
                <a:lnTo>
                  <a:pt x="1932" y="1308"/>
                </a:lnTo>
                <a:lnTo>
                  <a:pt x="1931" y="1299"/>
                </a:lnTo>
                <a:lnTo>
                  <a:pt x="1927" y="1289"/>
                </a:lnTo>
                <a:lnTo>
                  <a:pt x="1921" y="1280"/>
                </a:lnTo>
                <a:lnTo>
                  <a:pt x="1913" y="1271"/>
                </a:lnTo>
                <a:lnTo>
                  <a:pt x="1903" y="1262"/>
                </a:lnTo>
                <a:lnTo>
                  <a:pt x="1893" y="1255"/>
                </a:lnTo>
                <a:lnTo>
                  <a:pt x="1882" y="1251"/>
                </a:lnTo>
                <a:lnTo>
                  <a:pt x="1872" y="1250"/>
                </a:lnTo>
                <a:lnTo>
                  <a:pt x="1842" y="1250"/>
                </a:lnTo>
                <a:lnTo>
                  <a:pt x="1842" y="1158"/>
                </a:lnTo>
                <a:lnTo>
                  <a:pt x="2306" y="1158"/>
                </a:lnTo>
                <a:lnTo>
                  <a:pt x="2306" y="1250"/>
                </a:lnTo>
                <a:lnTo>
                  <a:pt x="2275" y="1250"/>
                </a:lnTo>
                <a:lnTo>
                  <a:pt x="2263" y="1252"/>
                </a:lnTo>
                <a:lnTo>
                  <a:pt x="2251" y="1257"/>
                </a:lnTo>
                <a:lnTo>
                  <a:pt x="2241" y="1265"/>
                </a:lnTo>
                <a:lnTo>
                  <a:pt x="2232" y="1276"/>
                </a:lnTo>
                <a:lnTo>
                  <a:pt x="2224" y="1287"/>
                </a:lnTo>
                <a:lnTo>
                  <a:pt x="2219" y="1299"/>
                </a:lnTo>
                <a:lnTo>
                  <a:pt x="2216" y="1309"/>
                </a:lnTo>
                <a:lnTo>
                  <a:pt x="2214" y="1319"/>
                </a:lnTo>
                <a:lnTo>
                  <a:pt x="2214" y="1881"/>
                </a:lnTo>
                <a:lnTo>
                  <a:pt x="2215" y="1890"/>
                </a:lnTo>
                <a:lnTo>
                  <a:pt x="2219" y="1900"/>
                </a:lnTo>
                <a:lnTo>
                  <a:pt x="2224" y="1912"/>
                </a:lnTo>
                <a:lnTo>
                  <a:pt x="2230" y="1923"/>
                </a:lnTo>
                <a:lnTo>
                  <a:pt x="2239" y="1933"/>
                </a:lnTo>
                <a:lnTo>
                  <a:pt x="2249" y="1941"/>
                </a:lnTo>
                <a:lnTo>
                  <a:pt x="2260" y="1946"/>
                </a:lnTo>
                <a:lnTo>
                  <a:pt x="2271" y="1948"/>
                </a:lnTo>
                <a:lnTo>
                  <a:pt x="2306" y="1948"/>
                </a:lnTo>
                <a:lnTo>
                  <a:pt x="2306" y="2039"/>
                </a:lnTo>
                <a:lnTo>
                  <a:pt x="1842" y="2039"/>
                </a:lnTo>
                <a:lnTo>
                  <a:pt x="1842" y="1948"/>
                </a:lnTo>
                <a:close/>
                <a:moveTo>
                  <a:pt x="995" y="1946"/>
                </a:moveTo>
                <a:lnTo>
                  <a:pt x="1030" y="1946"/>
                </a:lnTo>
                <a:lnTo>
                  <a:pt x="1038" y="1944"/>
                </a:lnTo>
                <a:lnTo>
                  <a:pt x="1047" y="1941"/>
                </a:lnTo>
                <a:lnTo>
                  <a:pt x="1057" y="1935"/>
                </a:lnTo>
                <a:lnTo>
                  <a:pt x="1066" y="1927"/>
                </a:lnTo>
                <a:lnTo>
                  <a:pt x="1075" y="1918"/>
                </a:lnTo>
                <a:lnTo>
                  <a:pt x="1081" y="1909"/>
                </a:lnTo>
                <a:lnTo>
                  <a:pt x="1085" y="1899"/>
                </a:lnTo>
                <a:lnTo>
                  <a:pt x="1086" y="1889"/>
                </a:lnTo>
                <a:lnTo>
                  <a:pt x="1086" y="1308"/>
                </a:lnTo>
                <a:lnTo>
                  <a:pt x="1085" y="1299"/>
                </a:lnTo>
                <a:lnTo>
                  <a:pt x="1081" y="1289"/>
                </a:lnTo>
                <a:lnTo>
                  <a:pt x="1075" y="1280"/>
                </a:lnTo>
                <a:lnTo>
                  <a:pt x="1066" y="1271"/>
                </a:lnTo>
                <a:lnTo>
                  <a:pt x="1057" y="1262"/>
                </a:lnTo>
                <a:lnTo>
                  <a:pt x="1046" y="1256"/>
                </a:lnTo>
                <a:lnTo>
                  <a:pt x="1036" y="1251"/>
                </a:lnTo>
                <a:lnTo>
                  <a:pt x="1026" y="1250"/>
                </a:lnTo>
                <a:lnTo>
                  <a:pt x="995" y="1250"/>
                </a:lnTo>
                <a:lnTo>
                  <a:pt x="995" y="1158"/>
                </a:lnTo>
                <a:lnTo>
                  <a:pt x="1742" y="1158"/>
                </a:lnTo>
                <a:lnTo>
                  <a:pt x="1742" y="1443"/>
                </a:lnTo>
                <a:lnTo>
                  <a:pt x="1648" y="1443"/>
                </a:lnTo>
                <a:lnTo>
                  <a:pt x="1635" y="1397"/>
                </a:lnTo>
                <a:lnTo>
                  <a:pt x="1620" y="1356"/>
                </a:lnTo>
                <a:lnTo>
                  <a:pt x="1602" y="1323"/>
                </a:lnTo>
                <a:lnTo>
                  <a:pt x="1592" y="1308"/>
                </a:lnTo>
                <a:lnTo>
                  <a:pt x="1581" y="1296"/>
                </a:lnTo>
                <a:lnTo>
                  <a:pt x="1570" y="1284"/>
                </a:lnTo>
                <a:lnTo>
                  <a:pt x="1557" y="1275"/>
                </a:lnTo>
                <a:lnTo>
                  <a:pt x="1544" y="1267"/>
                </a:lnTo>
                <a:lnTo>
                  <a:pt x="1530" y="1259"/>
                </a:lnTo>
                <a:lnTo>
                  <a:pt x="1514" y="1254"/>
                </a:lnTo>
                <a:lnTo>
                  <a:pt x="1498" y="1251"/>
                </a:lnTo>
                <a:lnTo>
                  <a:pt x="1461" y="1248"/>
                </a:lnTo>
                <a:lnTo>
                  <a:pt x="1369" y="1248"/>
                </a:lnTo>
                <a:lnTo>
                  <a:pt x="1369" y="1553"/>
                </a:lnTo>
                <a:lnTo>
                  <a:pt x="1416" y="1553"/>
                </a:lnTo>
                <a:lnTo>
                  <a:pt x="1432" y="1548"/>
                </a:lnTo>
                <a:lnTo>
                  <a:pt x="1441" y="1542"/>
                </a:lnTo>
                <a:lnTo>
                  <a:pt x="1452" y="1533"/>
                </a:lnTo>
                <a:lnTo>
                  <a:pt x="1461" y="1524"/>
                </a:lnTo>
                <a:lnTo>
                  <a:pt x="1470" y="1513"/>
                </a:lnTo>
                <a:lnTo>
                  <a:pt x="1475" y="1500"/>
                </a:lnTo>
                <a:lnTo>
                  <a:pt x="1477" y="1485"/>
                </a:lnTo>
                <a:lnTo>
                  <a:pt x="1477" y="1445"/>
                </a:lnTo>
                <a:lnTo>
                  <a:pt x="1568" y="1445"/>
                </a:lnTo>
                <a:lnTo>
                  <a:pt x="1568" y="1752"/>
                </a:lnTo>
                <a:lnTo>
                  <a:pt x="1477" y="1752"/>
                </a:lnTo>
                <a:lnTo>
                  <a:pt x="1477" y="1714"/>
                </a:lnTo>
                <a:lnTo>
                  <a:pt x="1476" y="1704"/>
                </a:lnTo>
                <a:lnTo>
                  <a:pt x="1472" y="1693"/>
                </a:lnTo>
                <a:lnTo>
                  <a:pt x="1465" y="1681"/>
                </a:lnTo>
                <a:lnTo>
                  <a:pt x="1457" y="1671"/>
                </a:lnTo>
                <a:lnTo>
                  <a:pt x="1447" y="1661"/>
                </a:lnTo>
                <a:lnTo>
                  <a:pt x="1433" y="1652"/>
                </a:lnTo>
                <a:lnTo>
                  <a:pt x="1419" y="1646"/>
                </a:lnTo>
                <a:lnTo>
                  <a:pt x="1401" y="1644"/>
                </a:lnTo>
                <a:lnTo>
                  <a:pt x="1369" y="1644"/>
                </a:lnTo>
                <a:lnTo>
                  <a:pt x="1369" y="1948"/>
                </a:lnTo>
                <a:lnTo>
                  <a:pt x="1471" y="1948"/>
                </a:lnTo>
                <a:lnTo>
                  <a:pt x="1497" y="1946"/>
                </a:lnTo>
                <a:lnTo>
                  <a:pt x="1524" y="1939"/>
                </a:lnTo>
                <a:lnTo>
                  <a:pt x="1551" y="1925"/>
                </a:lnTo>
                <a:lnTo>
                  <a:pt x="1564" y="1917"/>
                </a:lnTo>
                <a:lnTo>
                  <a:pt x="1577" y="1907"/>
                </a:lnTo>
                <a:lnTo>
                  <a:pt x="1589" y="1894"/>
                </a:lnTo>
                <a:lnTo>
                  <a:pt x="1600" y="1881"/>
                </a:lnTo>
                <a:lnTo>
                  <a:pt x="1611" y="1865"/>
                </a:lnTo>
                <a:lnTo>
                  <a:pt x="1621" y="1847"/>
                </a:lnTo>
                <a:lnTo>
                  <a:pt x="1629" y="1827"/>
                </a:lnTo>
                <a:lnTo>
                  <a:pt x="1637" y="1805"/>
                </a:lnTo>
                <a:lnTo>
                  <a:pt x="1644" y="1781"/>
                </a:lnTo>
                <a:lnTo>
                  <a:pt x="1648" y="1754"/>
                </a:lnTo>
                <a:lnTo>
                  <a:pt x="1742" y="1754"/>
                </a:lnTo>
                <a:lnTo>
                  <a:pt x="1742" y="2039"/>
                </a:lnTo>
                <a:lnTo>
                  <a:pt x="995" y="2039"/>
                </a:lnTo>
                <a:lnTo>
                  <a:pt x="995" y="1946"/>
                </a:lnTo>
                <a:close/>
                <a:moveTo>
                  <a:pt x="173" y="1998"/>
                </a:moveTo>
                <a:lnTo>
                  <a:pt x="174" y="1983"/>
                </a:lnTo>
                <a:lnTo>
                  <a:pt x="180" y="1948"/>
                </a:lnTo>
                <a:lnTo>
                  <a:pt x="192" y="1901"/>
                </a:lnTo>
                <a:lnTo>
                  <a:pt x="201" y="1874"/>
                </a:lnTo>
                <a:lnTo>
                  <a:pt x="213" y="1846"/>
                </a:lnTo>
                <a:lnTo>
                  <a:pt x="235" y="1796"/>
                </a:lnTo>
                <a:lnTo>
                  <a:pt x="267" y="1734"/>
                </a:lnTo>
                <a:lnTo>
                  <a:pt x="287" y="1700"/>
                </a:lnTo>
                <a:lnTo>
                  <a:pt x="309" y="1667"/>
                </a:lnTo>
                <a:lnTo>
                  <a:pt x="334" y="1635"/>
                </a:lnTo>
                <a:lnTo>
                  <a:pt x="360" y="1605"/>
                </a:lnTo>
                <a:lnTo>
                  <a:pt x="392" y="1572"/>
                </a:lnTo>
                <a:lnTo>
                  <a:pt x="420" y="1540"/>
                </a:lnTo>
                <a:lnTo>
                  <a:pt x="469" y="1477"/>
                </a:lnTo>
                <a:lnTo>
                  <a:pt x="508" y="1420"/>
                </a:lnTo>
                <a:lnTo>
                  <a:pt x="538" y="1368"/>
                </a:lnTo>
                <a:lnTo>
                  <a:pt x="559" y="1324"/>
                </a:lnTo>
                <a:lnTo>
                  <a:pt x="574" y="1289"/>
                </a:lnTo>
                <a:lnTo>
                  <a:pt x="588" y="1254"/>
                </a:lnTo>
                <a:lnTo>
                  <a:pt x="588" y="1248"/>
                </a:lnTo>
                <a:lnTo>
                  <a:pt x="506" y="1248"/>
                </a:lnTo>
                <a:lnTo>
                  <a:pt x="472" y="1250"/>
                </a:lnTo>
                <a:lnTo>
                  <a:pt x="443" y="1255"/>
                </a:lnTo>
                <a:lnTo>
                  <a:pt x="418" y="1264"/>
                </a:lnTo>
                <a:lnTo>
                  <a:pt x="395" y="1276"/>
                </a:lnTo>
                <a:lnTo>
                  <a:pt x="375" y="1289"/>
                </a:lnTo>
                <a:lnTo>
                  <a:pt x="359" y="1305"/>
                </a:lnTo>
                <a:lnTo>
                  <a:pt x="344" y="1322"/>
                </a:lnTo>
                <a:lnTo>
                  <a:pt x="332" y="1340"/>
                </a:lnTo>
                <a:lnTo>
                  <a:pt x="315" y="1374"/>
                </a:lnTo>
                <a:lnTo>
                  <a:pt x="303" y="1405"/>
                </a:lnTo>
                <a:lnTo>
                  <a:pt x="295" y="1443"/>
                </a:lnTo>
                <a:lnTo>
                  <a:pt x="206" y="1443"/>
                </a:lnTo>
                <a:lnTo>
                  <a:pt x="206" y="1158"/>
                </a:lnTo>
                <a:lnTo>
                  <a:pt x="913" y="1158"/>
                </a:lnTo>
                <a:lnTo>
                  <a:pt x="913" y="1182"/>
                </a:lnTo>
                <a:lnTo>
                  <a:pt x="912" y="1195"/>
                </a:lnTo>
                <a:lnTo>
                  <a:pt x="907" y="1226"/>
                </a:lnTo>
                <a:lnTo>
                  <a:pt x="897" y="1271"/>
                </a:lnTo>
                <a:lnTo>
                  <a:pt x="881" y="1325"/>
                </a:lnTo>
                <a:lnTo>
                  <a:pt x="859" y="1379"/>
                </a:lnTo>
                <a:lnTo>
                  <a:pt x="835" y="1428"/>
                </a:lnTo>
                <a:lnTo>
                  <a:pt x="810" y="1474"/>
                </a:lnTo>
                <a:lnTo>
                  <a:pt x="784" y="1516"/>
                </a:lnTo>
                <a:lnTo>
                  <a:pt x="757" y="1554"/>
                </a:lnTo>
                <a:lnTo>
                  <a:pt x="730" y="1590"/>
                </a:lnTo>
                <a:lnTo>
                  <a:pt x="673" y="1658"/>
                </a:lnTo>
                <a:lnTo>
                  <a:pt x="620" y="1723"/>
                </a:lnTo>
                <a:lnTo>
                  <a:pt x="596" y="1756"/>
                </a:lnTo>
                <a:lnTo>
                  <a:pt x="572" y="1790"/>
                </a:lnTo>
                <a:lnTo>
                  <a:pt x="551" y="1825"/>
                </a:lnTo>
                <a:lnTo>
                  <a:pt x="533" y="1864"/>
                </a:lnTo>
                <a:lnTo>
                  <a:pt x="516" y="1904"/>
                </a:lnTo>
                <a:lnTo>
                  <a:pt x="503" y="1948"/>
                </a:lnTo>
                <a:lnTo>
                  <a:pt x="624" y="1948"/>
                </a:lnTo>
                <a:lnTo>
                  <a:pt x="651" y="1946"/>
                </a:lnTo>
                <a:lnTo>
                  <a:pt x="680" y="1939"/>
                </a:lnTo>
                <a:lnTo>
                  <a:pt x="707" y="1925"/>
                </a:lnTo>
                <a:lnTo>
                  <a:pt x="720" y="1917"/>
                </a:lnTo>
                <a:lnTo>
                  <a:pt x="733" y="1907"/>
                </a:lnTo>
                <a:lnTo>
                  <a:pt x="744" y="1894"/>
                </a:lnTo>
                <a:lnTo>
                  <a:pt x="756" y="1881"/>
                </a:lnTo>
                <a:lnTo>
                  <a:pt x="767" y="1865"/>
                </a:lnTo>
                <a:lnTo>
                  <a:pt x="777" y="1847"/>
                </a:lnTo>
                <a:lnTo>
                  <a:pt x="786" y="1827"/>
                </a:lnTo>
                <a:lnTo>
                  <a:pt x="793" y="1805"/>
                </a:lnTo>
                <a:lnTo>
                  <a:pt x="799" y="1781"/>
                </a:lnTo>
                <a:lnTo>
                  <a:pt x="805" y="1754"/>
                </a:lnTo>
                <a:lnTo>
                  <a:pt x="897" y="1754"/>
                </a:lnTo>
                <a:lnTo>
                  <a:pt x="897" y="2039"/>
                </a:lnTo>
                <a:lnTo>
                  <a:pt x="173" y="2039"/>
                </a:lnTo>
                <a:lnTo>
                  <a:pt x="173" y="1998"/>
                </a:lnTo>
                <a:close/>
              </a:path>
            </a:pathLst>
          </a:custGeom>
          <a:solidFill>
            <a:srgbClr val="0000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sz="1600">
              <a:solidFill>
                <a:srgbClr val="000000"/>
              </a:solidFill>
            </a:endParaRPr>
          </a:p>
        </p:txBody>
      </p:sp>
      <p:sp>
        <p:nvSpPr>
          <p:cNvPr id="3" name="Text Placeholder 2"/>
          <p:cNvSpPr>
            <a:spLocks noGrp="1"/>
          </p:cNvSpPr>
          <p:nvPr>
            <p:ph type="body" sz="quarter" idx="10"/>
          </p:nvPr>
        </p:nvSpPr>
        <p:spPr>
          <a:xfrm>
            <a:off x="468000" y="5940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7" name="Text Placeholder 2"/>
          <p:cNvSpPr>
            <a:spLocks noGrp="1"/>
          </p:cNvSpPr>
          <p:nvPr>
            <p:ph type="body" sz="quarter" idx="11"/>
          </p:nvPr>
        </p:nvSpPr>
        <p:spPr>
          <a:xfrm>
            <a:off x="468000" y="6192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8" name="Text Placeholder 2"/>
          <p:cNvSpPr>
            <a:spLocks noGrp="1"/>
          </p:cNvSpPr>
          <p:nvPr>
            <p:ph type="body" sz="quarter" idx="12"/>
          </p:nvPr>
        </p:nvSpPr>
        <p:spPr>
          <a:xfrm>
            <a:off x="468000" y="6444000"/>
            <a:ext cx="3024682" cy="208952"/>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4" name="Title 3"/>
          <p:cNvSpPr>
            <a:spLocks noGrp="1"/>
          </p:cNvSpPr>
          <p:nvPr>
            <p:ph type="title"/>
          </p:nvPr>
        </p:nvSpPr>
        <p:spPr/>
        <p:txBody>
          <a:bodyPr/>
          <a:lstStyle/>
          <a:p>
            <a:r>
              <a:rPr lang="en-US"/>
              <a:t>Click to edit Master title style</a:t>
            </a:r>
          </a:p>
        </p:txBody>
      </p:sp>
      <p:pic>
        <p:nvPicPr>
          <p:cNvPr id="9" name="Bild 2" descr="13_DSC_0298_foleys_Präse2.jpg"/>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rcRect/>
          <a:stretch>
            <a:fillRect/>
          </a:stretch>
        </p:blipFill>
        <p:spPr bwMode="auto">
          <a:xfrm>
            <a:off x="0" y="1350963"/>
            <a:ext cx="9144000" cy="4351337"/>
          </a:xfrm>
          <a:prstGeom prst="rect">
            <a:avLst/>
          </a:prstGeom>
          <a:noFill/>
          <a:ln w="9525">
            <a:noFill/>
            <a:miter lim="800000"/>
            <a:headEnd/>
            <a:tailEnd/>
          </a:ln>
        </p:spPr>
      </p:pic>
      <p:sp>
        <p:nvSpPr>
          <p:cNvPr id="10" name="TextBox 9"/>
          <p:cNvSpPr txBox="1"/>
          <p:nvPr userDrawn="1"/>
        </p:nvSpPr>
        <p:spPr bwMode="gray">
          <a:xfrm>
            <a:off x="-865458" y="1773238"/>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1" name="TextBox 10"/>
          <p:cNvSpPr txBox="1"/>
          <p:nvPr userDrawn="1"/>
        </p:nvSpPr>
        <p:spPr bwMode="gray">
          <a:xfrm>
            <a:off x="-956829" y="1554163"/>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2" name="Straight Connector 11"/>
          <p:cNvCxnSpPr/>
          <p:nvPr userDrawn="1"/>
        </p:nvCxnSpPr>
        <p:spPr bwMode="gray">
          <a:xfrm flipH="1">
            <a:off x="-288540" y="17732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bwMode="gray">
          <a:xfrm flipH="1">
            <a:off x="-288540" y="15573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userDrawn="1"/>
        </p:nvSpPr>
        <p:spPr bwMode="gray">
          <a:xfrm>
            <a:off x="-865458" y="6093281"/>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5" name="TextBox 14"/>
          <p:cNvSpPr txBox="1"/>
          <p:nvPr userDrawn="1"/>
        </p:nvSpPr>
        <p:spPr bwMode="gray">
          <a:xfrm>
            <a:off x="-956829" y="6524625"/>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6" name="Straight Connector 15"/>
          <p:cNvCxnSpPr/>
          <p:nvPr userDrawn="1"/>
        </p:nvCxnSpPr>
        <p:spPr bwMode="gray">
          <a:xfrm flipH="1">
            <a:off x="-288540" y="6522107"/>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gray">
          <a:xfrm flipH="1">
            <a:off x="-288540" y="6308725"/>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nvGrpSpPr>
          <p:cNvPr id="18" name="Group 17"/>
          <p:cNvGrpSpPr/>
          <p:nvPr userDrawn="1"/>
        </p:nvGrpSpPr>
        <p:grpSpPr>
          <a:xfrm rot="5400000">
            <a:off x="-43126" y="-645663"/>
            <a:ext cx="807434" cy="215444"/>
            <a:chOff x="-1248737" y="516171"/>
            <a:chExt cx="807434" cy="215444"/>
          </a:xfrm>
        </p:grpSpPr>
        <p:sp>
          <p:nvSpPr>
            <p:cNvPr id="19" name="TextBox 18"/>
            <p:cNvSpPr txBox="1"/>
            <p:nvPr userDrawn="1"/>
          </p:nvSpPr>
          <p:spPr bwMode="gray">
            <a:xfrm>
              <a:off x="-1248737" y="516171"/>
              <a:ext cx="766557"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Lef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20" name="Straight Connector 19"/>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21" name="Group 20"/>
          <p:cNvGrpSpPr/>
          <p:nvPr userDrawn="1"/>
        </p:nvGrpSpPr>
        <p:grpSpPr>
          <a:xfrm rot="5400000">
            <a:off x="8185327" y="-625720"/>
            <a:ext cx="767548" cy="215444"/>
            <a:chOff x="-1285606" y="516176"/>
            <a:chExt cx="844303" cy="215444"/>
          </a:xfrm>
        </p:grpSpPr>
        <p:sp>
          <p:nvSpPr>
            <p:cNvPr id="22" name="TextBox 21"/>
            <p:cNvSpPr txBox="1"/>
            <p:nvPr userDrawn="1"/>
          </p:nvSpPr>
          <p:spPr bwMode="gray">
            <a:xfrm>
              <a:off x="-1285606" y="516176"/>
              <a:ext cx="840295"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Righ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23" name="Straight Connector 22"/>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05395158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 Service">
    <p:spTree>
      <p:nvGrpSpPr>
        <p:cNvPr id="1" name=""/>
        <p:cNvGrpSpPr/>
        <p:nvPr/>
      </p:nvGrpSpPr>
      <p:grpSpPr>
        <a:xfrm>
          <a:off x="0" y="0"/>
          <a:ext cx="0" cy="0"/>
          <a:chOff x="0" y="0"/>
          <a:chExt cx="0" cy="0"/>
        </a:xfrm>
      </p:grpSpPr>
      <p:sp>
        <p:nvSpPr>
          <p:cNvPr id="3251215" name="Freeform 15"/>
          <p:cNvSpPr>
            <a:spLocks noEditPoints="1"/>
          </p:cNvSpPr>
          <p:nvPr>
            <p:custDataLst>
              <p:tags r:id="rId2"/>
            </p:custDataLst>
          </p:nvPr>
        </p:nvSpPr>
        <p:spPr bwMode="auto">
          <a:xfrm>
            <a:off x="8216900" y="379414"/>
            <a:ext cx="463550" cy="488951"/>
          </a:xfrm>
          <a:custGeom>
            <a:avLst/>
            <a:gdLst>
              <a:gd name="T0" fmla="*/ 743 w 4092"/>
              <a:gd name="T1" fmla="*/ 3836 h 4104"/>
              <a:gd name="T2" fmla="*/ 1652 w 4092"/>
              <a:gd name="T3" fmla="*/ 3680 h 4104"/>
              <a:gd name="T4" fmla="*/ 2573 w 4092"/>
              <a:gd name="T5" fmla="*/ 3692 h 4104"/>
              <a:gd name="T6" fmla="*/ 3476 w 4092"/>
              <a:gd name="T7" fmla="*/ 3873 h 4104"/>
              <a:gd name="T8" fmla="*/ 0 w 4092"/>
              <a:gd name="T9" fmla="*/ 0 h 4104"/>
              <a:gd name="T10" fmla="*/ 3802 w 4092"/>
              <a:gd name="T11" fmla="*/ 1443 h 4104"/>
              <a:gd name="T12" fmla="*/ 3712 w 4092"/>
              <a:gd name="T13" fmla="*/ 1281 h 4104"/>
              <a:gd name="T14" fmla="*/ 3509 w 4092"/>
              <a:gd name="T15" fmla="*/ 1254 h 4104"/>
              <a:gd name="T16" fmla="*/ 3662 w 4092"/>
              <a:gd name="T17" fmla="*/ 1523 h 4104"/>
              <a:gd name="T18" fmla="*/ 3865 w 4092"/>
              <a:gd name="T19" fmla="*/ 1799 h 4104"/>
              <a:gd name="T20" fmla="*/ 3900 w 4092"/>
              <a:gd name="T21" fmla="*/ 2004 h 4104"/>
              <a:gd name="T22" fmla="*/ 3313 w 4092"/>
              <a:gd name="T23" fmla="*/ 1825 h 4104"/>
              <a:gd name="T24" fmla="*/ 3412 w 4092"/>
              <a:gd name="T25" fmla="*/ 1939 h 4104"/>
              <a:gd name="T26" fmla="*/ 3572 w 4092"/>
              <a:gd name="T27" fmla="*/ 1876 h 4104"/>
              <a:gd name="T28" fmla="*/ 3353 w 4092"/>
              <a:gd name="T29" fmla="*/ 1570 h 4104"/>
              <a:gd name="T30" fmla="*/ 3203 w 4092"/>
              <a:gd name="T31" fmla="*/ 1305 h 4104"/>
              <a:gd name="T32" fmla="*/ 2422 w 4092"/>
              <a:gd name="T33" fmla="*/ 1158 h 4104"/>
              <a:gd name="T34" fmla="*/ 2958 w 4092"/>
              <a:gd name="T35" fmla="*/ 1319 h 4104"/>
              <a:gd name="T36" fmla="*/ 2839 w 4092"/>
              <a:gd name="T37" fmla="*/ 1250 h 4104"/>
              <a:gd name="T38" fmla="*/ 2783 w 4092"/>
              <a:gd name="T39" fmla="*/ 1403 h 4104"/>
              <a:gd name="T40" fmla="*/ 2986 w 4092"/>
              <a:gd name="T41" fmla="*/ 1654 h 4104"/>
              <a:gd name="T42" fmla="*/ 3113 w 4092"/>
              <a:gd name="T43" fmla="*/ 1932 h 4104"/>
              <a:gd name="T44" fmla="*/ 2408 w 4092"/>
              <a:gd name="T45" fmla="*/ 1754 h 4104"/>
              <a:gd name="T46" fmla="*/ 2577 w 4092"/>
              <a:gd name="T47" fmla="*/ 1912 h 4104"/>
              <a:gd name="T48" fmla="*/ 2802 w 4092"/>
              <a:gd name="T49" fmla="*/ 1948 h 4104"/>
              <a:gd name="T50" fmla="*/ 2677 w 4092"/>
              <a:gd name="T51" fmla="*/ 1714 h 4104"/>
              <a:gd name="T52" fmla="*/ 2446 w 4092"/>
              <a:gd name="T53" fmla="*/ 1400 h 4104"/>
              <a:gd name="T54" fmla="*/ 1842 w 4092"/>
              <a:gd name="T55" fmla="*/ 1948 h 4104"/>
              <a:gd name="T56" fmla="*/ 1927 w 4092"/>
              <a:gd name="T57" fmla="*/ 1911 h 4104"/>
              <a:gd name="T58" fmla="*/ 1913 w 4092"/>
              <a:gd name="T59" fmla="*/ 1271 h 4104"/>
              <a:gd name="T60" fmla="*/ 2306 w 4092"/>
              <a:gd name="T61" fmla="*/ 1158 h 4104"/>
              <a:gd name="T62" fmla="*/ 2224 w 4092"/>
              <a:gd name="T63" fmla="*/ 1287 h 4104"/>
              <a:gd name="T64" fmla="*/ 2224 w 4092"/>
              <a:gd name="T65" fmla="*/ 1912 h 4104"/>
              <a:gd name="T66" fmla="*/ 2306 w 4092"/>
              <a:gd name="T67" fmla="*/ 2039 h 4104"/>
              <a:gd name="T68" fmla="*/ 1057 w 4092"/>
              <a:gd name="T69" fmla="*/ 1935 h 4104"/>
              <a:gd name="T70" fmla="*/ 1085 w 4092"/>
              <a:gd name="T71" fmla="*/ 1299 h 4104"/>
              <a:gd name="T72" fmla="*/ 1026 w 4092"/>
              <a:gd name="T73" fmla="*/ 1250 h 4104"/>
              <a:gd name="T74" fmla="*/ 1620 w 4092"/>
              <a:gd name="T75" fmla="*/ 1356 h 4104"/>
              <a:gd name="T76" fmla="*/ 1530 w 4092"/>
              <a:gd name="T77" fmla="*/ 1259 h 4104"/>
              <a:gd name="T78" fmla="*/ 1432 w 4092"/>
              <a:gd name="T79" fmla="*/ 1548 h 4104"/>
              <a:gd name="T80" fmla="*/ 1477 w 4092"/>
              <a:gd name="T81" fmla="*/ 1445 h 4104"/>
              <a:gd name="T82" fmla="*/ 1465 w 4092"/>
              <a:gd name="T83" fmla="*/ 1681 h 4104"/>
              <a:gd name="T84" fmla="*/ 1369 w 4092"/>
              <a:gd name="T85" fmla="*/ 1948 h 4104"/>
              <a:gd name="T86" fmla="*/ 1589 w 4092"/>
              <a:gd name="T87" fmla="*/ 1894 h 4104"/>
              <a:gd name="T88" fmla="*/ 1648 w 4092"/>
              <a:gd name="T89" fmla="*/ 1754 h 4104"/>
              <a:gd name="T90" fmla="*/ 180 w 4092"/>
              <a:gd name="T91" fmla="*/ 1948 h 4104"/>
              <a:gd name="T92" fmla="*/ 309 w 4092"/>
              <a:gd name="T93" fmla="*/ 1667 h 4104"/>
              <a:gd name="T94" fmla="*/ 538 w 4092"/>
              <a:gd name="T95" fmla="*/ 1368 h 4104"/>
              <a:gd name="T96" fmla="*/ 443 w 4092"/>
              <a:gd name="T97" fmla="*/ 1255 h 4104"/>
              <a:gd name="T98" fmla="*/ 315 w 4092"/>
              <a:gd name="T99" fmla="*/ 1374 h 4104"/>
              <a:gd name="T100" fmla="*/ 912 w 4092"/>
              <a:gd name="T101" fmla="*/ 1195 h 4104"/>
              <a:gd name="T102" fmla="*/ 784 w 4092"/>
              <a:gd name="T103" fmla="*/ 1516 h 4104"/>
              <a:gd name="T104" fmla="*/ 551 w 4092"/>
              <a:gd name="T105" fmla="*/ 1825 h 4104"/>
              <a:gd name="T106" fmla="*/ 707 w 4092"/>
              <a:gd name="T107" fmla="*/ 1925 h 4104"/>
              <a:gd name="T108" fmla="*/ 786 w 4092"/>
              <a:gd name="T109" fmla="*/ 1827 h 4104"/>
              <a:gd name="T110" fmla="*/ 173 w 4092"/>
              <a:gd name="T111" fmla="*/ 1998 h 4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92" h="4104">
                <a:moveTo>
                  <a:pt x="0" y="4104"/>
                </a:moveTo>
                <a:lnTo>
                  <a:pt x="121" y="4051"/>
                </a:lnTo>
                <a:lnTo>
                  <a:pt x="243" y="4001"/>
                </a:lnTo>
                <a:lnTo>
                  <a:pt x="366" y="3955"/>
                </a:lnTo>
                <a:lnTo>
                  <a:pt x="491" y="3912"/>
                </a:lnTo>
                <a:lnTo>
                  <a:pt x="617" y="3873"/>
                </a:lnTo>
                <a:lnTo>
                  <a:pt x="743" y="3836"/>
                </a:lnTo>
                <a:lnTo>
                  <a:pt x="871" y="3804"/>
                </a:lnTo>
                <a:lnTo>
                  <a:pt x="1000" y="3775"/>
                </a:lnTo>
                <a:lnTo>
                  <a:pt x="1129" y="3749"/>
                </a:lnTo>
                <a:lnTo>
                  <a:pt x="1259" y="3727"/>
                </a:lnTo>
                <a:lnTo>
                  <a:pt x="1389" y="3707"/>
                </a:lnTo>
                <a:lnTo>
                  <a:pt x="1521" y="3692"/>
                </a:lnTo>
                <a:lnTo>
                  <a:pt x="1652" y="3680"/>
                </a:lnTo>
                <a:lnTo>
                  <a:pt x="1783" y="3671"/>
                </a:lnTo>
                <a:lnTo>
                  <a:pt x="1915" y="3666"/>
                </a:lnTo>
                <a:lnTo>
                  <a:pt x="2047" y="3664"/>
                </a:lnTo>
                <a:lnTo>
                  <a:pt x="2178" y="3666"/>
                </a:lnTo>
                <a:lnTo>
                  <a:pt x="2311" y="3671"/>
                </a:lnTo>
                <a:lnTo>
                  <a:pt x="2442" y="3680"/>
                </a:lnTo>
                <a:lnTo>
                  <a:pt x="2573" y="3692"/>
                </a:lnTo>
                <a:lnTo>
                  <a:pt x="2704" y="3707"/>
                </a:lnTo>
                <a:lnTo>
                  <a:pt x="2835" y="3727"/>
                </a:lnTo>
                <a:lnTo>
                  <a:pt x="2964" y="3749"/>
                </a:lnTo>
                <a:lnTo>
                  <a:pt x="3093" y="3775"/>
                </a:lnTo>
                <a:lnTo>
                  <a:pt x="3222" y="3804"/>
                </a:lnTo>
                <a:lnTo>
                  <a:pt x="3350" y="3836"/>
                </a:lnTo>
                <a:lnTo>
                  <a:pt x="3476" y="3873"/>
                </a:lnTo>
                <a:lnTo>
                  <a:pt x="3602" y="3912"/>
                </a:lnTo>
                <a:lnTo>
                  <a:pt x="3726" y="3955"/>
                </a:lnTo>
                <a:lnTo>
                  <a:pt x="3850" y="4001"/>
                </a:lnTo>
                <a:lnTo>
                  <a:pt x="3972" y="4051"/>
                </a:lnTo>
                <a:lnTo>
                  <a:pt x="4092" y="4104"/>
                </a:lnTo>
                <a:lnTo>
                  <a:pt x="4092" y="0"/>
                </a:lnTo>
                <a:lnTo>
                  <a:pt x="0" y="0"/>
                </a:lnTo>
                <a:lnTo>
                  <a:pt x="0" y="4104"/>
                </a:lnTo>
                <a:close/>
                <a:moveTo>
                  <a:pt x="3198" y="1210"/>
                </a:moveTo>
                <a:lnTo>
                  <a:pt x="3205" y="1184"/>
                </a:lnTo>
                <a:lnTo>
                  <a:pt x="3214" y="1158"/>
                </a:lnTo>
                <a:lnTo>
                  <a:pt x="3891" y="1158"/>
                </a:lnTo>
                <a:lnTo>
                  <a:pt x="3891" y="1443"/>
                </a:lnTo>
                <a:lnTo>
                  <a:pt x="3802" y="1443"/>
                </a:lnTo>
                <a:lnTo>
                  <a:pt x="3788" y="1394"/>
                </a:lnTo>
                <a:lnTo>
                  <a:pt x="3770" y="1352"/>
                </a:lnTo>
                <a:lnTo>
                  <a:pt x="3761" y="1334"/>
                </a:lnTo>
                <a:lnTo>
                  <a:pt x="3749" y="1319"/>
                </a:lnTo>
                <a:lnTo>
                  <a:pt x="3738" y="1304"/>
                </a:lnTo>
                <a:lnTo>
                  <a:pt x="3725" y="1292"/>
                </a:lnTo>
                <a:lnTo>
                  <a:pt x="3712" y="1281"/>
                </a:lnTo>
                <a:lnTo>
                  <a:pt x="3698" y="1272"/>
                </a:lnTo>
                <a:lnTo>
                  <a:pt x="3682" y="1264"/>
                </a:lnTo>
                <a:lnTo>
                  <a:pt x="3667" y="1258"/>
                </a:lnTo>
                <a:lnTo>
                  <a:pt x="3631" y="1250"/>
                </a:lnTo>
                <a:lnTo>
                  <a:pt x="3592" y="1248"/>
                </a:lnTo>
                <a:lnTo>
                  <a:pt x="3509" y="1248"/>
                </a:lnTo>
                <a:lnTo>
                  <a:pt x="3509" y="1254"/>
                </a:lnTo>
                <a:lnTo>
                  <a:pt x="3517" y="1281"/>
                </a:lnTo>
                <a:lnTo>
                  <a:pt x="3528" y="1311"/>
                </a:lnTo>
                <a:lnTo>
                  <a:pt x="3548" y="1353"/>
                </a:lnTo>
                <a:lnTo>
                  <a:pt x="3575" y="1403"/>
                </a:lnTo>
                <a:lnTo>
                  <a:pt x="3613" y="1459"/>
                </a:lnTo>
                <a:lnTo>
                  <a:pt x="3635" y="1491"/>
                </a:lnTo>
                <a:lnTo>
                  <a:pt x="3662" y="1523"/>
                </a:lnTo>
                <a:lnTo>
                  <a:pt x="3691" y="1556"/>
                </a:lnTo>
                <a:lnTo>
                  <a:pt x="3724" y="1590"/>
                </a:lnTo>
                <a:lnTo>
                  <a:pt x="3749" y="1618"/>
                </a:lnTo>
                <a:lnTo>
                  <a:pt x="3778" y="1654"/>
                </a:lnTo>
                <a:lnTo>
                  <a:pt x="3808" y="1698"/>
                </a:lnTo>
                <a:lnTo>
                  <a:pt x="3838" y="1747"/>
                </a:lnTo>
                <a:lnTo>
                  <a:pt x="3865" y="1799"/>
                </a:lnTo>
                <a:lnTo>
                  <a:pt x="3887" y="1852"/>
                </a:lnTo>
                <a:lnTo>
                  <a:pt x="3895" y="1879"/>
                </a:lnTo>
                <a:lnTo>
                  <a:pt x="3901" y="1906"/>
                </a:lnTo>
                <a:lnTo>
                  <a:pt x="3904" y="1932"/>
                </a:lnTo>
                <a:lnTo>
                  <a:pt x="3906" y="1957"/>
                </a:lnTo>
                <a:lnTo>
                  <a:pt x="3905" y="1983"/>
                </a:lnTo>
                <a:lnTo>
                  <a:pt x="3900" y="2004"/>
                </a:lnTo>
                <a:lnTo>
                  <a:pt x="3893" y="2022"/>
                </a:lnTo>
                <a:lnTo>
                  <a:pt x="3883" y="2039"/>
                </a:lnTo>
                <a:lnTo>
                  <a:pt x="3199" y="2039"/>
                </a:lnTo>
                <a:lnTo>
                  <a:pt x="3199" y="1754"/>
                </a:lnTo>
                <a:lnTo>
                  <a:pt x="3293" y="1754"/>
                </a:lnTo>
                <a:lnTo>
                  <a:pt x="3302" y="1791"/>
                </a:lnTo>
                <a:lnTo>
                  <a:pt x="3313" y="1825"/>
                </a:lnTo>
                <a:lnTo>
                  <a:pt x="3328" y="1858"/>
                </a:lnTo>
                <a:lnTo>
                  <a:pt x="3346" y="1887"/>
                </a:lnTo>
                <a:lnTo>
                  <a:pt x="3356" y="1900"/>
                </a:lnTo>
                <a:lnTo>
                  <a:pt x="3369" y="1912"/>
                </a:lnTo>
                <a:lnTo>
                  <a:pt x="3381" y="1922"/>
                </a:lnTo>
                <a:lnTo>
                  <a:pt x="3396" y="1932"/>
                </a:lnTo>
                <a:lnTo>
                  <a:pt x="3412" y="1939"/>
                </a:lnTo>
                <a:lnTo>
                  <a:pt x="3430" y="1944"/>
                </a:lnTo>
                <a:lnTo>
                  <a:pt x="3450" y="1947"/>
                </a:lnTo>
                <a:lnTo>
                  <a:pt x="3472" y="1948"/>
                </a:lnTo>
                <a:lnTo>
                  <a:pt x="3594" y="1948"/>
                </a:lnTo>
                <a:lnTo>
                  <a:pt x="3594" y="1941"/>
                </a:lnTo>
                <a:lnTo>
                  <a:pt x="3586" y="1918"/>
                </a:lnTo>
                <a:lnTo>
                  <a:pt x="3572" y="1876"/>
                </a:lnTo>
                <a:lnTo>
                  <a:pt x="3554" y="1841"/>
                </a:lnTo>
                <a:lnTo>
                  <a:pt x="3529" y="1800"/>
                </a:lnTo>
                <a:lnTo>
                  <a:pt x="3499" y="1758"/>
                </a:lnTo>
                <a:lnTo>
                  <a:pt x="3469" y="1714"/>
                </a:lnTo>
                <a:lnTo>
                  <a:pt x="3412" y="1641"/>
                </a:lnTo>
                <a:lnTo>
                  <a:pt x="3383" y="1603"/>
                </a:lnTo>
                <a:lnTo>
                  <a:pt x="3353" y="1570"/>
                </a:lnTo>
                <a:lnTo>
                  <a:pt x="3324" y="1533"/>
                </a:lnTo>
                <a:lnTo>
                  <a:pt x="3288" y="1485"/>
                </a:lnTo>
                <a:lnTo>
                  <a:pt x="3254" y="1430"/>
                </a:lnTo>
                <a:lnTo>
                  <a:pt x="3238" y="1400"/>
                </a:lnTo>
                <a:lnTo>
                  <a:pt x="3224" y="1370"/>
                </a:lnTo>
                <a:lnTo>
                  <a:pt x="3212" y="1337"/>
                </a:lnTo>
                <a:lnTo>
                  <a:pt x="3203" y="1305"/>
                </a:lnTo>
                <a:lnTo>
                  <a:pt x="3197" y="1273"/>
                </a:lnTo>
                <a:lnTo>
                  <a:pt x="3195" y="1240"/>
                </a:lnTo>
                <a:lnTo>
                  <a:pt x="3198" y="1210"/>
                </a:lnTo>
                <a:close/>
                <a:moveTo>
                  <a:pt x="2404" y="1225"/>
                </a:moveTo>
                <a:lnTo>
                  <a:pt x="2406" y="1210"/>
                </a:lnTo>
                <a:lnTo>
                  <a:pt x="2413" y="1184"/>
                </a:lnTo>
                <a:lnTo>
                  <a:pt x="2422" y="1158"/>
                </a:lnTo>
                <a:lnTo>
                  <a:pt x="3099" y="1158"/>
                </a:lnTo>
                <a:lnTo>
                  <a:pt x="3099" y="1443"/>
                </a:lnTo>
                <a:lnTo>
                  <a:pt x="3010" y="1443"/>
                </a:lnTo>
                <a:lnTo>
                  <a:pt x="2996" y="1394"/>
                </a:lnTo>
                <a:lnTo>
                  <a:pt x="2978" y="1352"/>
                </a:lnTo>
                <a:lnTo>
                  <a:pt x="2968" y="1334"/>
                </a:lnTo>
                <a:lnTo>
                  <a:pt x="2958" y="1319"/>
                </a:lnTo>
                <a:lnTo>
                  <a:pt x="2945" y="1304"/>
                </a:lnTo>
                <a:lnTo>
                  <a:pt x="2933" y="1292"/>
                </a:lnTo>
                <a:lnTo>
                  <a:pt x="2920" y="1281"/>
                </a:lnTo>
                <a:lnTo>
                  <a:pt x="2906" y="1272"/>
                </a:lnTo>
                <a:lnTo>
                  <a:pt x="2890" y="1264"/>
                </a:lnTo>
                <a:lnTo>
                  <a:pt x="2875" y="1258"/>
                </a:lnTo>
                <a:lnTo>
                  <a:pt x="2839" y="1250"/>
                </a:lnTo>
                <a:lnTo>
                  <a:pt x="2800" y="1248"/>
                </a:lnTo>
                <a:lnTo>
                  <a:pt x="2717" y="1248"/>
                </a:lnTo>
                <a:lnTo>
                  <a:pt x="2717" y="1254"/>
                </a:lnTo>
                <a:lnTo>
                  <a:pt x="2725" y="1281"/>
                </a:lnTo>
                <a:lnTo>
                  <a:pt x="2737" y="1311"/>
                </a:lnTo>
                <a:lnTo>
                  <a:pt x="2756" y="1353"/>
                </a:lnTo>
                <a:lnTo>
                  <a:pt x="2783" y="1403"/>
                </a:lnTo>
                <a:lnTo>
                  <a:pt x="2820" y="1459"/>
                </a:lnTo>
                <a:lnTo>
                  <a:pt x="2844" y="1491"/>
                </a:lnTo>
                <a:lnTo>
                  <a:pt x="2870" y="1523"/>
                </a:lnTo>
                <a:lnTo>
                  <a:pt x="2900" y="1556"/>
                </a:lnTo>
                <a:lnTo>
                  <a:pt x="2932" y="1590"/>
                </a:lnTo>
                <a:lnTo>
                  <a:pt x="2957" y="1618"/>
                </a:lnTo>
                <a:lnTo>
                  <a:pt x="2986" y="1654"/>
                </a:lnTo>
                <a:lnTo>
                  <a:pt x="3016" y="1698"/>
                </a:lnTo>
                <a:lnTo>
                  <a:pt x="3046" y="1747"/>
                </a:lnTo>
                <a:lnTo>
                  <a:pt x="3073" y="1799"/>
                </a:lnTo>
                <a:lnTo>
                  <a:pt x="3095" y="1852"/>
                </a:lnTo>
                <a:lnTo>
                  <a:pt x="3103" y="1879"/>
                </a:lnTo>
                <a:lnTo>
                  <a:pt x="3109" y="1906"/>
                </a:lnTo>
                <a:lnTo>
                  <a:pt x="3113" y="1932"/>
                </a:lnTo>
                <a:lnTo>
                  <a:pt x="3114" y="1957"/>
                </a:lnTo>
                <a:lnTo>
                  <a:pt x="3113" y="1983"/>
                </a:lnTo>
                <a:lnTo>
                  <a:pt x="3108" y="2004"/>
                </a:lnTo>
                <a:lnTo>
                  <a:pt x="3101" y="2022"/>
                </a:lnTo>
                <a:lnTo>
                  <a:pt x="3090" y="2039"/>
                </a:lnTo>
                <a:lnTo>
                  <a:pt x="2408" y="2039"/>
                </a:lnTo>
                <a:lnTo>
                  <a:pt x="2408" y="1754"/>
                </a:lnTo>
                <a:lnTo>
                  <a:pt x="2500" y="1754"/>
                </a:lnTo>
                <a:lnTo>
                  <a:pt x="2510" y="1791"/>
                </a:lnTo>
                <a:lnTo>
                  <a:pt x="2521" y="1825"/>
                </a:lnTo>
                <a:lnTo>
                  <a:pt x="2536" y="1858"/>
                </a:lnTo>
                <a:lnTo>
                  <a:pt x="2554" y="1887"/>
                </a:lnTo>
                <a:lnTo>
                  <a:pt x="2564" y="1900"/>
                </a:lnTo>
                <a:lnTo>
                  <a:pt x="2577" y="1912"/>
                </a:lnTo>
                <a:lnTo>
                  <a:pt x="2590" y="1922"/>
                </a:lnTo>
                <a:lnTo>
                  <a:pt x="2605" y="1932"/>
                </a:lnTo>
                <a:lnTo>
                  <a:pt x="2620" y="1939"/>
                </a:lnTo>
                <a:lnTo>
                  <a:pt x="2639" y="1944"/>
                </a:lnTo>
                <a:lnTo>
                  <a:pt x="2659" y="1947"/>
                </a:lnTo>
                <a:lnTo>
                  <a:pt x="2681" y="1948"/>
                </a:lnTo>
                <a:lnTo>
                  <a:pt x="2802" y="1948"/>
                </a:lnTo>
                <a:lnTo>
                  <a:pt x="2802" y="1941"/>
                </a:lnTo>
                <a:lnTo>
                  <a:pt x="2794" y="1918"/>
                </a:lnTo>
                <a:lnTo>
                  <a:pt x="2781" y="1876"/>
                </a:lnTo>
                <a:lnTo>
                  <a:pt x="2762" y="1841"/>
                </a:lnTo>
                <a:lnTo>
                  <a:pt x="2737" y="1800"/>
                </a:lnTo>
                <a:lnTo>
                  <a:pt x="2708" y="1758"/>
                </a:lnTo>
                <a:lnTo>
                  <a:pt x="2677" y="1714"/>
                </a:lnTo>
                <a:lnTo>
                  <a:pt x="2620" y="1641"/>
                </a:lnTo>
                <a:lnTo>
                  <a:pt x="2589" y="1603"/>
                </a:lnTo>
                <a:lnTo>
                  <a:pt x="2561" y="1570"/>
                </a:lnTo>
                <a:lnTo>
                  <a:pt x="2531" y="1533"/>
                </a:lnTo>
                <a:lnTo>
                  <a:pt x="2496" y="1485"/>
                </a:lnTo>
                <a:lnTo>
                  <a:pt x="2462" y="1430"/>
                </a:lnTo>
                <a:lnTo>
                  <a:pt x="2446" y="1400"/>
                </a:lnTo>
                <a:lnTo>
                  <a:pt x="2433" y="1370"/>
                </a:lnTo>
                <a:lnTo>
                  <a:pt x="2420" y="1337"/>
                </a:lnTo>
                <a:lnTo>
                  <a:pt x="2411" y="1305"/>
                </a:lnTo>
                <a:lnTo>
                  <a:pt x="2406" y="1273"/>
                </a:lnTo>
                <a:lnTo>
                  <a:pt x="2402" y="1240"/>
                </a:lnTo>
                <a:lnTo>
                  <a:pt x="2404" y="1225"/>
                </a:lnTo>
                <a:close/>
                <a:moveTo>
                  <a:pt x="1842" y="1948"/>
                </a:moveTo>
                <a:lnTo>
                  <a:pt x="1876" y="1948"/>
                </a:lnTo>
                <a:lnTo>
                  <a:pt x="1884" y="1947"/>
                </a:lnTo>
                <a:lnTo>
                  <a:pt x="1894" y="1943"/>
                </a:lnTo>
                <a:lnTo>
                  <a:pt x="1903" y="1937"/>
                </a:lnTo>
                <a:lnTo>
                  <a:pt x="1913" y="1930"/>
                </a:lnTo>
                <a:lnTo>
                  <a:pt x="1921" y="1920"/>
                </a:lnTo>
                <a:lnTo>
                  <a:pt x="1927" y="1911"/>
                </a:lnTo>
                <a:lnTo>
                  <a:pt x="1931" y="1901"/>
                </a:lnTo>
                <a:lnTo>
                  <a:pt x="1932" y="1892"/>
                </a:lnTo>
                <a:lnTo>
                  <a:pt x="1932" y="1308"/>
                </a:lnTo>
                <a:lnTo>
                  <a:pt x="1931" y="1299"/>
                </a:lnTo>
                <a:lnTo>
                  <a:pt x="1927" y="1289"/>
                </a:lnTo>
                <a:lnTo>
                  <a:pt x="1921" y="1280"/>
                </a:lnTo>
                <a:lnTo>
                  <a:pt x="1913" y="1271"/>
                </a:lnTo>
                <a:lnTo>
                  <a:pt x="1903" y="1262"/>
                </a:lnTo>
                <a:lnTo>
                  <a:pt x="1893" y="1255"/>
                </a:lnTo>
                <a:lnTo>
                  <a:pt x="1882" y="1251"/>
                </a:lnTo>
                <a:lnTo>
                  <a:pt x="1872" y="1250"/>
                </a:lnTo>
                <a:lnTo>
                  <a:pt x="1842" y="1250"/>
                </a:lnTo>
                <a:lnTo>
                  <a:pt x="1842" y="1158"/>
                </a:lnTo>
                <a:lnTo>
                  <a:pt x="2306" y="1158"/>
                </a:lnTo>
                <a:lnTo>
                  <a:pt x="2306" y="1250"/>
                </a:lnTo>
                <a:lnTo>
                  <a:pt x="2275" y="1250"/>
                </a:lnTo>
                <a:lnTo>
                  <a:pt x="2263" y="1252"/>
                </a:lnTo>
                <a:lnTo>
                  <a:pt x="2251" y="1257"/>
                </a:lnTo>
                <a:lnTo>
                  <a:pt x="2241" y="1265"/>
                </a:lnTo>
                <a:lnTo>
                  <a:pt x="2232" y="1276"/>
                </a:lnTo>
                <a:lnTo>
                  <a:pt x="2224" y="1287"/>
                </a:lnTo>
                <a:lnTo>
                  <a:pt x="2219" y="1299"/>
                </a:lnTo>
                <a:lnTo>
                  <a:pt x="2216" y="1309"/>
                </a:lnTo>
                <a:lnTo>
                  <a:pt x="2214" y="1319"/>
                </a:lnTo>
                <a:lnTo>
                  <a:pt x="2214" y="1881"/>
                </a:lnTo>
                <a:lnTo>
                  <a:pt x="2215" y="1890"/>
                </a:lnTo>
                <a:lnTo>
                  <a:pt x="2219" y="1900"/>
                </a:lnTo>
                <a:lnTo>
                  <a:pt x="2224" y="1912"/>
                </a:lnTo>
                <a:lnTo>
                  <a:pt x="2230" y="1923"/>
                </a:lnTo>
                <a:lnTo>
                  <a:pt x="2239" y="1933"/>
                </a:lnTo>
                <a:lnTo>
                  <a:pt x="2249" y="1941"/>
                </a:lnTo>
                <a:lnTo>
                  <a:pt x="2260" y="1946"/>
                </a:lnTo>
                <a:lnTo>
                  <a:pt x="2271" y="1948"/>
                </a:lnTo>
                <a:lnTo>
                  <a:pt x="2306" y="1948"/>
                </a:lnTo>
                <a:lnTo>
                  <a:pt x="2306" y="2039"/>
                </a:lnTo>
                <a:lnTo>
                  <a:pt x="1842" y="2039"/>
                </a:lnTo>
                <a:lnTo>
                  <a:pt x="1842" y="1948"/>
                </a:lnTo>
                <a:close/>
                <a:moveTo>
                  <a:pt x="995" y="1946"/>
                </a:moveTo>
                <a:lnTo>
                  <a:pt x="1030" y="1946"/>
                </a:lnTo>
                <a:lnTo>
                  <a:pt x="1038" y="1944"/>
                </a:lnTo>
                <a:lnTo>
                  <a:pt x="1047" y="1941"/>
                </a:lnTo>
                <a:lnTo>
                  <a:pt x="1057" y="1935"/>
                </a:lnTo>
                <a:lnTo>
                  <a:pt x="1066" y="1927"/>
                </a:lnTo>
                <a:lnTo>
                  <a:pt x="1075" y="1918"/>
                </a:lnTo>
                <a:lnTo>
                  <a:pt x="1081" y="1909"/>
                </a:lnTo>
                <a:lnTo>
                  <a:pt x="1085" y="1899"/>
                </a:lnTo>
                <a:lnTo>
                  <a:pt x="1086" y="1889"/>
                </a:lnTo>
                <a:lnTo>
                  <a:pt x="1086" y="1308"/>
                </a:lnTo>
                <a:lnTo>
                  <a:pt x="1085" y="1299"/>
                </a:lnTo>
                <a:lnTo>
                  <a:pt x="1081" y="1289"/>
                </a:lnTo>
                <a:lnTo>
                  <a:pt x="1075" y="1280"/>
                </a:lnTo>
                <a:lnTo>
                  <a:pt x="1066" y="1271"/>
                </a:lnTo>
                <a:lnTo>
                  <a:pt x="1057" y="1262"/>
                </a:lnTo>
                <a:lnTo>
                  <a:pt x="1046" y="1256"/>
                </a:lnTo>
                <a:lnTo>
                  <a:pt x="1036" y="1251"/>
                </a:lnTo>
                <a:lnTo>
                  <a:pt x="1026" y="1250"/>
                </a:lnTo>
                <a:lnTo>
                  <a:pt x="995" y="1250"/>
                </a:lnTo>
                <a:lnTo>
                  <a:pt x="995" y="1158"/>
                </a:lnTo>
                <a:lnTo>
                  <a:pt x="1742" y="1158"/>
                </a:lnTo>
                <a:lnTo>
                  <a:pt x="1742" y="1443"/>
                </a:lnTo>
                <a:lnTo>
                  <a:pt x="1648" y="1443"/>
                </a:lnTo>
                <a:lnTo>
                  <a:pt x="1635" y="1397"/>
                </a:lnTo>
                <a:lnTo>
                  <a:pt x="1620" y="1356"/>
                </a:lnTo>
                <a:lnTo>
                  <a:pt x="1602" y="1323"/>
                </a:lnTo>
                <a:lnTo>
                  <a:pt x="1592" y="1308"/>
                </a:lnTo>
                <a:lnTo>
                  <a:pt x="1581" y="1296"/>
                </a:lnTo>
                <a:lnTo>
                  <a:pt x="1570" y="1284"/>
                </a:lnTo>
                <a:lnTo>
                  <a:pt x="1557" y="1275"/>
                </a:lnTo>
                <a:lnTo>
                  <a:pt x="1544" y="1267"/>
                </a:lnTo>
                <a:lnTo>
                  <a:pt x="1530" y="1259"/>
                </a:lnTo>
                <a:lnTo>
                  <a:pt x="1514" y="1254"/>
                </a:lnTo>
                <a:lnTo>
                  <a:pt x="1498" y="1251"/>
                </a:lnTo>
                <a:lnTo>
                  <a:pt x="1461" y="1248"/>
                </a:lnTo>
                <a:lnTo>
                  <a:pt x="1369" y="1248"/>
                </a:lnTo>
                <a:lnTo>
                  <a:pt x="1369" y="1553"/>
                </a:lnTo>
                <a:lnTo>
                  <a:pt x="1416" y="1553"/>
                </a:lnTo>
                <a:lnTo>
                  <a:pt x="1432" y="1548"/>
                </a:lnTo>
                <a:lnTo>
                  <a:pt x="1441" y="1542"/>
                </a:lnTo>
                <a:lnTo>
                  <a:pt x="1452" y="1533"/>
                </a:lnTo>
                <a:lnTo>
                  <a:pt x="1461" y="1524"/>
                </a:lnTo>
                <a:lnTo>
                  <a:pt x="1470" y="1513"/>
                </a:lnTo>
                <a:lnTo>
                  <a:pt x="1475" y="1500"/>
                </a:lnTo>
                <a:lnTo>
                  <a:pt x="1477" y="1485"/>
                </a:lnTo>
                <a:lnTo>
                  <a:pt x="1477" y="1445"/>
                </a:lnTo>
                <a:lnTo>
                  <a:pt x="1568" y="1445"/>
                </a:lnTo>
                <a:lnTo>
                  <a:pt x="1568" y="1752"/>
                </a:lnTo>
                <a:lnTo>
                  <a:pt x="1477" y="1752"/>
                </a:lnTo>
                <a:lnTo>
                  <a:pt x="1477" y="1714"/>
                </a:lnTo>
                <a:lnTo>
                  <a:pt x="1476" y="1704"/>
                </a:lnTo>
                <a:lnTo>
                  <a:pt x="1472" y="1693"/>
                </a:lnTo>
                <a:lnTo>
                  <a:pt x="1465" y="1681"/>
                </a:lnTo>
                <a:lnTo>
                  <a:pt x="1457" y="1671"/>
                </a:lnTo>
                <a:lnTo>
                  <a:pt x="1447" y="1661"/>
                </a:lnTo>
                <a:lnTo>
                  <a:pt x="1433" y="1652"/>
                </a:lnTo>
                <a:lnTo>
                  <a:pt x="1419" y="1646"/>
                </a:lnTo>
                <a:lnTo>
                  <a:pt x="1401" y="1644"/>
                </a:lnTo>
                <a:lnTo>
                  <a:pt x="1369" y="1644"/>
                </a:lnTo>
                <a:lnTo>
                  <a:pt x="1369" y="1948"/>
                </a:lnTo>
                <a:lnTo>
                  <a:pt x="1471" y="1948"/>
                </a:lnTo>
                <a:lnTo>
                  <a:pt x="1497" y="1946"/>
                </a:lnTo>
                <a:lnTo>
                  <a:pt x="1524" y="1939"/>
                </a:lnTo>
                <a:lnTo>
                  <a:pt x="1551" y="1925"/>
                </a:lnTo>
                <a:lnTo>
                  <a:pt x="1564" y="1917"/>
                </a:lnTo>
                <a:lnTo>
                  <a:pt x="1577" y="1907"/>
                </a:lnTo>
                <a:lnTo>
                  <a:pt x="1589" y="1894"/>
                </a:lnTo>
                <a:lnTo>
                  <a:pt x="1600" y="1881"/>
                </a:lnTo>
                <a:lnTo>
                  <a:pt x="1611" y="1865"/>
                </a:lnTo>
                <a:lnTo>
                  <a:pt x="1621" y="1847"/>
                </a:lnTo>
                <a:lnTo>
                  <a:pt x="1629" y="1827"/>
                </a:lnTo>
                <a:lnTo>
                  <a:pt x="1637" y="1805"/>
                </a:lnTo>
                <a:lnTo>
                  <a:pt x="1644" y="1781"/>
                </a:lnTo>
                <a:lnTo>
                  <a:pt x="1648" y="1754"/>
                </a:lnTo>
                <a:lnTo>
                  <a:pt x="1742" y="1754"/>
                </a:lnTo>
                <a:lnTo>
                  <a:pt x="1742" y="2039"/>
                </a:lnTo>
                <a:lnTo>
                  <a:pt x="995" y="2039"/>
                </a:lnTo>
                <a:lnTo>
                  <a:pt x="995" y="1946"/>
                </a:lnTo>
                <a:close/>
                <a:moveTo>
                  <a:pt x="173" y="1998"/>
                </a:moveTo>
                <a:lnTo>
                  <a:pt x="174" y="1983"/>
                </a:lnTo>
                <a:lnTo>
                  <a:pt x="180" y="1948"/>
                </a:lnTo>
                <a:lnTo>
                  <a:pt x="192" y="1901"/>
                </a:lnTo>
                <a:lnTo>
                  <a:pt x="201" y="1874"/>
                </a:lnTo>
                <a:lnTo>
                  <a:pt x="213" y="1846"/>
                </a:lnTo>
                <a:lnTo>
                  <a:pt x="235" y="1796"/>
                </a:lnTo>
                <a:lnTo>
                  <a:pt x="267" y="1734"/>
                </a:lnTo>
                <a:lnTo>
                  <a:pt x="287" y="1700"/>
                </a:lnTo>
                <a:lnTo>
                  <a:pt x="309" y="1667"/>
                </a:lnTo>
                <a:lnTo>
                  <a:pt x="334" y="1635"/>
                </a:lnTo>
                <a:lnTo>
                  <a:pt x="360" y="1605"/>
                </a:lnTo>
                <a:lnTo>
                  <a:pt x="392" y="1572"/>
                </a:lnTo>
                <a:lnTo>
                  <a:pt x="420" y="1540"/>
                </a:lnTo>
                <a:lnTo>
                  <a:pt x="469" y="1477"/>
                </a:lnTo>
                <a:lnTo>
                  <a:pt x="508" y="1420"/>
                </a:lnTo>
                <a:lnTo>
                  <a:pt x="538" y="1368"/>
                </a:lnTo>
                <a:lnTo>
                  <a:pt x="559" y="1324"/>
                </a:lnTo>
                <a:lnTo>
                  <a:pt x="574" y="1289"/>
                </a:lnTo>
                <a:lnTo>
                  <a:pt x="588" y="1254"/>
                </a:lnTo>
                <a:lnTo>
                  <a:pt x="588" y="1248"/>
                </a:lnTo>
                <a:lnTo>
                  <a:pt x="506" y="1248"/>
                </a:lnTo>
                <a:lnTo>
                  <a:pt x="472" y="1250"/>
                </a:lnTo>
                <a:lnTo>
                  <a:pt x="443" y="1255"/>
                </a:lnTo>
                <a:lnTo>
                  <a:pt x="418" y="1264"/>
                </a:lnTo>
                <a:lnTo>
                  <a:pt x="395" y="1276"/>
                </a:lnTo>
                <a:lnTo>
                  <a:pt x="375" y="1289"/>
                </a:lnTo>
                <a:lnTo>
                  <a:pt x="359" y="1305"/>
                </a:lnTo>
                <a:lnTo>
                  <a:pt x="344" y="1322"/>
                </a:lnTo>
                <a:lnTo>
                  <a:pt x="332" y="1340"/>
                </a:lnTo>
                <a:lnTo>
                  <a:pt x="315" y="1374"/>
                </a:lnTo>
                <a:lnTo>
                  <a:pt x="303" y="1405"/>
                </a:lnTo>
                <a:lnTo>
                  <a:pt x="295" y="1443"/>
                </a:lnTo>
                <a:lnTo>
                  <a:pt x="206" y="1443"/>
                </a:lnTo>
                <a:lnTo>
                  <a:pt x="206" y="1158"/>
                </a:lnTo>
                <a:lnTo>
                  <a:pt x="913" y="1158"/>
                </a:lnTo>
                <a:lnTo>
                  <a:pt x="913" y="1182"/>
                </a:lnTo>
                <a:lnTo>
                  <a:pt x="912" y="1195"/>
                </a:lnTo>
                <a:lnTo>
                  <a:pt x="907" y="1226"/>
                </a:lnTo>
                <a:lnTo>
                  <a:pt x="897" y="1271"/>
                </a:lnTo>
                <a:lnTo>
                  <a:pt x="881" y="1325"/>
                </a:lnTo>
                <a:lnTo>
                  <a:pt x="859" y="1379"/>
                </a:lnTo>
                <a:lnTo>
                  <a:pt x="835" y="1428"/>
                </a:lnTo>
                <a:lnTo>
                  <a:pt x="810" y="1474"/>
                </a:lnTo>
                <a:lnTo>
                  <a:pt x="784" y="1516"/>
                </a:lnTo>
                <a:lnTo>
                  <a:pt x="757" y="1554"/>
                </a:lnTo>
                <a:lnTo>
                  <a:pt x="730" y="1590"/>
                </a:lnTo>
                <a:lnTo>
                  <a:pt x="673" y="1658"/>
                </a:lnTo>
                <a:lnTo>
                  <a:pt x="620" y="1723"/>
                </a:lnTo>
                <a:lnTo>
                  <a:pt x="596" y="1756"/>
                </a:lnTo>
                <a:lnTo>
                  <a:pt x="572" y="1790"/>
                </a:lnTo>
                <a:lnTo>
                  <a:pt x="551" y="1825"/>
                </a:lnTo>
                <a:lnTo>
                  <a:pt x="533" y="1864"/>
                </a:lnTo>
                <a:lnTo>
                  <a:pt x="516" y="1904"/>
                </a:lnTo>
                <a:lnTo>
                  <a:pt x="503" y="1948"/>
                </a:lnTo>
                <a:lnTo>
                  <a:pt x="624" y="1948"/>
                </a:lnTo>
                <a:lnTo>
                  <a:pt x="651" y="1946"/>
                </a:lnTo>
                <a:lnTo>
                  <a:pt x="680" y="1939"/>
                </a:lnTo>
                <a:lnTo>
                  <a:pt x="707" y="1925"/>
                </a:lnTo>
                <a:lnTo>
                  <a:pt x="720" y="1917"/>
                </a:lnTo>
                <a:lnTo>
                  <a:pt x="733" y="1907"/>
                </a:lnTo>
                <a:lnTo>
                  <a:pt x="744" y="1894"/>
                </a:lnTo>
                <a:lnTo>
                  <a:pt x="756" y="1881"/>
                </a:lnTo>
                <a:lnTo>
                  <a:pt x="767" y="1865"/>
                </a:lnTo>
                <a:lnTo>
                  <a:pt x="777" y="1847"/>
                </a:lnTo>
                <a:lnTo>
                  <a:pt x="786" y="1827"/>
                </a:lnTo>
                <a:lnTo>
                  <a:pt x="793" y="1805"/>
                </a:lnTo>
                <a:lnTo>
                  <a:pt x="799" y="1781"/>
                </a:lnTo>
                <a:lnTo>
                  <a:pt x="805" y="1754"/>
                </a:lnTo>
                <a:lnTo>
                  <a:pt x="897" y="1754"/>
                </a:lnTo>
                <a:lnTo>
                  <a:pt x="897" y="2039"/>
                </a:lnTo>
                <a:lnTo>
                  <a:pt x="173" y="2039"/>
                </a:lnTo>
                <a:lnTo>
                  <a:pt x="173" y="1998"/>
                </a:lnTo>
                <a:close/>
              </a:path>
            </a:pathLst>
          </a:custGeom>
          <a:solidFill>
            <a:srgbClr val="0000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sz="1600">
              <a:solidFill>
                <a:srgbClr val="000000"/>
              </a:solidFill>
            </a:endParaRPr>
          </a:p>
        </p:txBody>
      </p:sp>
      <p:sp>
        <p:nvSpPr>
          <p:cNvPr id="3" name="Text Placeholder 2"/>
          <p:cNvSpPr>
            <a:spLocks noGrp="1"/>
          </p:cNvSpPr>
          <p:nvPr>
            <p:ph type="body" sz="quarter" idx="10"/>
          </p:nvPr>
        </p:nvSpPr>
        <p:spPr>
          <a:xfrm>
            <a:off x="468000" y="5940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7" name="Text Placeholder 2"/>
          <p:cNvSpPr>
            <a:spLocks noGrp="1"/>
          </p:cNvSpPr>
          <p:nvPr>
            <p:ph type="body" sz="quarter" idx="11"/>
          </p:nvPr>
        </p:nvSpPr>
        <p:spPr>
          <a:xfrm>
            <a:off x="468000" y="6192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8" name="Text Placeholder 2"/>
          <p:cNvSpPr>
            <a:spLocks noGrp="1"/>
          </p:cNvSpPr>
          <p:nvPr>
            <p:ph type="body" sz="quarter" idx="12"/>
          </p:nvPr>
        </p:nvSpPr>
        <p:spPr>
          <a:xfrm>
            <a:off x="468000" y="6444000"/>
            <a:ext cx="3024682" cy="208952"/>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4" name="Title 3"/>
          <p:cNvSpPr>
            <a:spLocks noGrp="1"/>
          </p:cNvSpPr>
          <p:nvPr>
            <p:ph type="title"/>
          </p:nvPr>
        </p:nvSpPr>
        <p:spPr/>
        <p:txBody>
          <a:bodyPr/>
          <a:lstStyle/>
          <a:p>
            <a:r>
              <a:rPr lang="en-US"/>
              <a:t>Click to edit Master title style</a:t>
            </a:r>
          </a:p>
        </p:txBody>
      </p:sp>
      <p:sp>
        <p:nvSpPr>
          <p:cNvPr id="10" name="TextBox 9"/>
          <p:cNvSpPr txBox="1"/>
          <p:nvPr userDrawn="1"/>
        </p:nvSpPr>
        <p:spPr bwMode="gray">
          <a:xfrm>
            <a:off x="-865458" y="1773238"/>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1" name="TextBox 10"/>
          <p:cNvSpPr txBox="1"/>
          <p:nvPr userDrawn="1"/>
        </p:nvSpPr>
        <p:spPr bwMode="gray">
          <a:xfrm>
            <a:off x="-956829" y="1554163"/>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2" name="Straight Connector 11"/>
          <p:cNvCxnSpPr/>
          <p:nvPr userDrawn="1"/>
        </p:nvCxnSpPr>
        <p:spPr bwMode="gray">
          <a:xfrm flipH="1">
            <a:off x="-288540" y="17732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bwMode="gray">
          <a:xfrm flipH="1">
            <a:off x="-288540" y="15573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userDrawn="1"/>
        </p:nvSpPr>
        <p:spPr bwMode="gray">
          <a:xfrm>
            <a:off x="-865458" y="6093281"/>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5" name="TextBox 14"/>
          <p:cNvSpPr txBox="1"/>
          <p:nvPr userDrawn="1"/>
        </p:nvSpPr>
        <p:spPr bwMode="gray">
          <a:xfrm>
            <a:off x="-956829" y="6524625"/>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6" name="Straight Connector 15"/>
          <p:cNvCxnSpPr/>
          <p:nvPr userDrawn="1"/>
        </p:nvCxnSpPr>
        <p:spPr bwMode="gray">
          <a:xfrm flipH="1">
            <a:off x="-288540" y="6522107"/>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gray">
          <a:xfrm flipH="1">
            <a:off x="-288540" y="6308725"/>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nvGrpSpPr>
          <p:cNvPr id="18" name="Group 17"/>
          <p:cNvGrpSpPr/>
          <p:nvPr userDrawn="1"/>
        </p:nvGrpSpPr>
        <p:grpSpPr>
          <a:xfrm rot="5400000">
            <a:off x="-43126" y="-645663"/>
            <a:ext cx="807434" cy="215444"/>
            <a:chOff x="-1248737" y="516171"/>
            <a:chExt cx="807434" cy="215444"/>
          </a:xfrm>
        </p:grpSpPr>
        <p:sp>
          <p:nvSpPr>
            <p:cNvPr id="19" name="TextBox 18"/>
            <p:cNvSpPr txBox="1"/>
            <p:nvPr userDrawn="1"/>
          </p:nvSpPr>
          <p:spPr bwMode="gray">
            <a:xfrm>
              <a:off x="-1248737" y="516171"/>
              <a:ext cx="766557"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Lef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20" name="Straight Connector 19"/>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21" name="Group 20"/>
          <p:cNvGrpSpPr/>
          <p:nvPr userDrawn="1"/>
        </p:nvGrpSpPr>
        <p:grpSpPr>
          <a:xfrm rot="5400000">
            <a:off x="8185327" y="-625720"/>
            <a:ext cx="767548" cy="215444"/>
            <a:chOff x="-1285606" y="516176"/>
            <a:chExt cx="844303" cy="215444"/>
          </a:xfrm>
        </p:grpSpPr>
        <p:sp>
          <p:nvSpPr>
            <p:cNvPr id="22" name="TextBox 21"/>
            <p:cNvSpPr txBox="1"/>
            <p:nvPr userDrawn="1"/>
          </p:nvSpPr>
          <p:spPr bwMode="gray">
            <a:xfrm>
              <a:off x="-1285606" y="516176"/>
              <a:ext cx="840295"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Righ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23" name="Straight Connector 22"/>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pic>
        <p:nvPicPr>
          <p:cNvPr id="24" name="Picture 55" descr="Bild1"/>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0" y="1350963"/>
            <a:ext cx="9140825" cy="4354512"/>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99660061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blank">
    <p:spTree>
      <p:nvGrpSpPr>
        <p:cNvPr id="1" name=""/>
        <p:cNvGrpSpPr/>
        <p:nvPr/>
      </p:nvGrpSpPr>
      <p:grpSpPr>
        <a:xfrm>
          <a:off x="0" y="0"/>
          <a:ext cx="0" cy="0"/>
          <a:chOff x="0" y="0"/>
          <a:chExt cx="0" cy="0"/>
        </a:xfrm>
      </p:grpSpPr>
      <p:sp>
        <p:nvSpPr>
          <p:cNvPr id="3251215" name="Freeform 15"/>
          <p:cNvSpPr>
            <a:spLocks noEditPoints="1"/>
          </p:cNvSpPr>
          <p:nvPr>
            <p:custDataLst>
              <p:tags r:id="rId2"/>
            </p:custDataLst>
          </p:nvPr>
        </p:nvSpPr>
        <p:spPr bwMode="auto">
          <a:xfrm>
            <a:off x="8216900" y="379414"/>
            <a:ext cx="463550" cy="488951"/>
          </a:xfrm>
          <a:custGeom>
            <a:avLst/>
            <a:gdLst>
              <a:gd name="T0" fmla="*/ 743 w 4092"/>
              <a:gd name="T1" fmla="*/ 3836 h 4104"/>
              <a:gd name="T2" fmla="*/ 1652 w 4092"/>
              <a:gd name="T3" fmla="*/ 3680 h 4104"/>
              <a:gd name="T4" fmla="*/ 2573 w 4092"/>
              <a:gd name="T5" fmla="*/ 3692 h 4104"/>
              <a:gd name="T6" fmla="*/ 3476 w 4092"/>
              <a:gd name="T7" fmla="*/ 3873 h 4104"/>
              <a:gd name="T8" fmla="*/ 0 w 4092"/>
              <a:gd name="T9" fmla="*/ 0 h 4104"/>
              <a:gd name="T10" fmla="*/ 3802 w 4092"/>
              <a:gd name="T11" fmla="*/ 1443 h 4104"/>
              <a:gd name="T12" fmla="*/ 3712 w 4092"/>
              <a:gd name="T13" fmla="*/ 1281 h 4104"/>
              <a:gd name="T14" fmla="*/ 3509 w 4092"/>
              <a:gd name="T15" fmla="*/ 1254 h 4104"/>
              <a:gd name="T16" fmla="*/ 3662 w 4092"/>
              <a:gd name="T17" fmla="*/ 1523 h 4104"/>
              <a:gd name="T18" fmla="*/ 3865 w 4092"/>
              <a:gd name="T19" fmla="*/ 1799 h 4104"/>
              <a:gd name="T20" fmla="*/ 3900 w 4092"/>
              <a:gd name="T21" fmla="*/ 2004 h 4104"/>
              <a:gd name="T22" fmla="*/ 3313 w 4092"/>
              <a:gd name="T23" fmla="*/ 1825 h 4104"/>
              <a:gd name="T24" fmla="*/ 3412 w 4092"/>
              <a:gd name="T25" fmla="*/ 1939 h 4104"/>
              <a:gd name="T26" fmla="*/ 3572 w 4092"/>
              <a:gd name="T27" fmla="*/ 1876 h 4104"/>
              <a:gd name="T28" fmla="*/ 3353 w 4092"/>
              <a:gd name="T29" fmla="*/ 1570 h 4104"/>
              <a:gd name="T30" fmla="*/ 3203 w 4092"/>
              <a:gd name="T31" fmla="*/ 1305 h 4104"/>
              <a:gd name="T32" fmla="*/ 2422 w 4092"/>
              <a:gd name="T33" fmla="*/ 1158 h 4104"/>
              <a:gd name="T34" fmla="*/ 2958 w 4092"/>
              <a:gd name="T35" fmla="*/ 1319 h 4104"/>
              <a:gd name="T36" fmla="*/ 2839 w 4092"/>
              <a:gd name="T37" fmla="*/ 1250 h 4104"/>
              <a:gd name="T38" fmla="*/ 2783 w 4092"/>
              <a:gd name="T39" fmla="*/ 1403 h 4104"/>
              <a:gd name="T40" fmla="*/ 2986 w 4092"/>
              <a:gd name="T41" fmla="*/ 1654 h 4104"/>
              <a:gd name="T42" fmla="*/ 3113 w 4092"/>
              <a:gd name="T43" fmla="*/ 1932 h 4104"/>
              <a:gd name="T44" fmla="*/ 2408 w 4092"/>
              <a:gd name="T45" fmla="*/ 1754 h 4104"/>
              <a:gd name="T46" fmla="*/ 2577 w 4092"/>
              <a:gd name="T47" fmla="*/ 1912 h 4104"/>
              <a:gd name="T48" fmla="*/ 2802 w 4092"/>
              <a:gd name="T49" fmla="*/ 1948 h 4104"/>
              <a:gd name="T50" fmla="*/ 2677 w 4092"/>
              <a:gd name="T51" fmla="*/ 1714 h 4104"/>
              <a:gd name="T52" fmla="*/ 2446 w 4092"/>
              <a:gd name="T53" fmla="*/ 1400 h 4104"/>
              <a:gd name="T54" fmla="*/ 1842 w 4092"/>
              <a:gd name="T55" fmla="*/ 1948 h 4104"/>
              <a:gd name="T56" fmla="*/ 1927 w 4092"/>
              <a:gd name="T57" fmla="*/ 1911 h 4104"/>
              <a:gd name="T58" fmla="*/ 1913 w 4092"/>
              <a:gd name="T59" fmla="*/ 1271 h 4104"/>
              <a:gd name="T60" fmla="*/ 2306 w 4092"/>
              <a:gd name="T61" fmla="*/ 1158 h 4104"/>
              <a:gd name="T62" fmla="*/ 2224 w 4092"/>
              <a:gd name="T63" fmla="*/ 1287 h 4104"/>
              <a:gd name="T64" fmla="*/ 2224 w 4092"/>
              <a:gd name="T65" fmla="*/ 1912 h 4104"/>
              <a:gd name="T66" fmla="*/ 2306 w 4092"/>
              <a:gd name="T67" fmla="*/ 2039 h 4104"/>
              <a:gd name="T68" fmla="*/ 1057 w 4092"/>
              <a:gd name="T69" fmla="*/ 1935 h 4104"/>
              <a:gd name="T70" fmla="*/ 1085 w 4092"/>
              <a:gd name="T71" fmla="*/ 1299 h 4104"/>
              <a:gd name="T72" fmla="*/ 1026 w 4092"/>
              <a:gd name="T73" fmla="*/ 1250 h 4104"/>
              <a:gd name="T74" fmla="*/ 1620 w 4092"/>
              <a:gd name="T75" fmla="*/ 1356 h 4104"/>
              <a:gd name="T76" fmla="*/ 1530 w 4092"/>
              <a:gd name="T77" fmla="*/ 1259 h 4104"/>
              <a:gd name="T78" fmla="*/ 1432 w 4092"/>
              <a:gd name="T79" fmla="*/ 1548 h 4104"/>
              <a:gd name="T80" fmla="*/ 1477 w 4092"/>
              <a:gd name="T81" fmla="*/ 1445 h 4104"/>
              <a:gd name="T82" fmla="*/ 1465 w 4092"/>
              <a:gd name="T83" fmla="*/ 1681 h 4104"/>
              <a:gd name="T84" fmla="*/ 1369 w 4092"/>
              <a:gd name="T85" fmla="*/ 1948 h 4104"/>
              <a:gd name="T86" fmla="*/ 1589 w 4092"/>
              <a:gd name="T87" fmla="*/ 1894 h 4104"/>
              <a:gd name="T88" fmla="*/ 1648 w 4092"/>
              <a:gd name="T89" fmla="*/ 1754 h 4104"/>
              <a:gd name="T90" fmla="*/ 180 w 4092"/>
              <a:gd name="T91" fmla="*/ 1948 h 4104"/>
              <a:gd name="T92" fmla="*/ 309 w 4092"/>
              <a:gd name="T93" fmla="*/ 1667 h 4104"/>
              <a:gd name="T94" fmla="*/ 538 w 4092"/>
              <a:gd name="T95" fmla="*/ 1368 h 4104"/>
              <a:gd name="T96" fmla="*/ 443 w 4092"/>
              <a:gd name="T97" fmla="*/ 1255 h 4104"/>
              <a:gd name="T98" fmla="*/ 315 w 4092"/>
              <a:gd name="T99" fmla="*/ 1374 h 4104"/>
              <a:gd name="T100" fmla="*/ 912 w 4092"/>
              <a:gd name="T101" fmla="*/ 1195 h 4104"/>
              <a:gd name="T102" fmla="*/ 784 w 4092"/>
              <a:gd name="T103" fmla="*/ 1516 h 4104"/>
              <a:gd name="T104" fmla="*/ 551 w 4092"/>
              <a:gd name="T105" fmla="*/ 1825 h 4104"/>
              <a:gd name="T106" fmla="*/ 707 w 4092"/>
              <a:gd name="T107" fmla="*/ 1925 h 4104"/>
              <a:gd name="T108" fmla="*/ 786 w 4092"/>
              <a:gd name="T109" fmla="*/ 1827 h 4104"/>
              <a:gd name="T110" fmla="*/ 173 w 4092"/>
              <a:gd name="T111" fmla="*/ 1998 h 4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92" h="4104">
                <a:moveTo>
                  <a:pt x="0" y="4104"/>
                </a:moveTo>
                <a:lnTo>
                  <a:pt x="121" y="4051"/>
                </a:lnTo>
                <a:lnTo>
                  <a:pt x="243" y="4001"/>
                </a:lnTo>
                <a:lnTo>
                  <a:pt x="366" y="3955"/>
                </a:lnTo>
                <a:lnTo>
                  <a:pt x="491" y="3912"/>
                </a:lnTo>
                <a:lnTo>
                  <a:pt x="617" y="3873"/>
                </a:lnTo>
                <a:lnTo>
                  <a:pt x="743" y="3836"/>
                </a:lnTo>
                <a:lnTo>
                  <a:pt x="871" y="3804"/>
                </a:lnTo>
                <a:lnTo>
                  <a:pt x="1000" y="3775"/>
                </a:lnTo>
                <a:lnTo>
                  <a:pt x="1129" y="3749"/>
                </a:lnTo>
                <a:lnTo>
                  <a:pt x="1259" y="3727"/>
                </a:lnTo>
                <a:lnTo>
                  <a:pt x="1389" y="3707"/>
                </a:lnTo>
                <a:lnTo>
                  <a:pt x="1521" y="3692"/>
                </a:lnTo>
                <a:lnTo>
                  <a:pt x="1652" y="3680"/>
                </a:lnTo>
                <a:lnTo>
                  <a:pt x="1783" y="3671"/>
                </a:lnTo>
                <a:lnTo>
                  <a:pt x="1915" y="3666"/>
                </a:lnTo>
                <a:lnTo>
                  <a:pt x="2047" y="3664"/>
                </a:lnTo>
                <a:lnTo>
                  <a:pt x="2178" y="3666"/>
                </a:lnTo>
                <a:lnTo>
                  <a:pt x="2311" y="3671"/>
                </a:lnTo>
                <a:lnTo>
                  <a:pt x="2442" y="3680"/>
                </a:lnTo>
                <a:lnTo>
                  <a:pt x="2573" y="3692"/>
                </a:lnTo>
                <a:lnTo>
                  <a:pt x="2704" y="3707"/>
                </a:lnTo>
                <a:lnTo>
                  <a:pt x="2835" y="3727"/>
                </a:lnTo>
                <a:lnTo>
                  <a:pt x="2964" y="3749"/>
                </a:lnTo>
                <a:lnTo>
                  <a:pt x="3093" y="3775"/>
                </a:lnTo>
                <a:lnTo>
                  <a:pt x="3222" y="3804"/>
                </a:lnTo>
                <a:lnTo>
                  <a:pt x="3350" y="3836"/>
                </a:lnTo>
                <a:lnTo>
                  <a:pt x="3476" y="3873"/>
                </a:lnTo>
                <a:lnTo>
                  <a:pt x="3602" y="3912"/>
                </a:lnTo>
                <a:lnTo>
                  <a:pt x="3726" y="3955"/>
                </a:lnTo>
                <a:lnTo>
                  <a:pt x="3850" y="4001"/>
                </a:lnTo>
                <a:lnTo>
                  <a:pt x="3972" y="4051"/>
                </a:lnTo>
                <a:lnTo>
                  <a:pt x="4092" y="4104"/>
                </a:lnTo>
                <a:lnTo>
                  <a:pt x="4092" y="0"/>
                </a:lnTo>
                <a:lnTo>
                  <a:pt x="0" y="0"/>
                </a:lnTo>
                <a:lnTo>
                  <a:pt x="0" y="4104"/>
                </a:lnTo>
                <a:close/>
                <a:moveTo>
                  <a:pt x="3198" y="1210"/>
                </a:moveTo>
                <a:lnTo>
                  <a:pt x="3205" y="1184"/>
                </a:lnTo>
                <a:lnTo>
                  <a:pt x="3214" y="1158"/>
                </a:lnTo>
                <a:lnTo>
                  <a:pt x="3891" y="1158"/>
                </a:lnTo>
                <a:lnTo>
                  <a:pt x="3891" y="1443"/>
                </a:lnTo>
                <a:lnTo>
                  <a:pt x="3802" y="1443"/>
                </a:lnTo>
                <a:lnTo>
                  <a:pt x="3788" y="1394"/>
                </a:lnTo>
                <a:lnTo>
                  <a:pt x="3770" y="1352"/>
                </a:lnTo>
                <a:lnTo>
                  <a:pt x="3761" y="1334"/>
                </a:lnTo>
                <a:lnTo>
                  <a:pt x="3749" y="1319"/>
                </a:lnTo>
                <a:lnTo>
                  <a:pt x="3738" y="1304"/>
                </a:lnTo>
                <a:lnTo>
                  <a:pt x="3725" y="1292"/>
                </a:lnTo>
                <a:lnTo>
                  <a:pt x="3712" y="1281"/>
                </a:lnTo>
                <a:lnTo>
                  <a:pt x="3698" y="1272"/>
                </a:lnTo>
                <a:lnTo>
                  <a:pt x="3682" y="1264"/>
                </a:lnTo>
                <a:lnTo>
                  <a:pt x="3667" y="1258"/>
                </a:lnTo>
                <a:lnTo>
                  <a:pt x="3631" y="1250"/>
                </a:lnTo>
                <a:lnTo>
                  <a:pt x="3592" y="1248"/>
                </a:lnTo>
                <a:lnTo>
                  <a:pt x="3509" y="1248"/>
                </a:lnTo>
                <a:lnTo>
                  <a:pt x="3509" y="1254"/>
                </a:lnTo>
                <a:lnTo>
                  <a:pt x="3517" y="1281"/>
                </a:lnTo>
                <a:lnTo>
                  <a:pt x="3528" y="1311"/>
                </a:lnTo>
                <a:lnTo>
                  <a:pt x="3548" y="1353"/>
                </a:lnTo>
                <a:lnTo>
                  <a:pt x="3575" y="1403"/>
                </a:lnTo>
                <a:lnTo>
                  <a:pt x="3613" y="1459"/>
                </a:lnTo>
                <a:lnTo>
                  <a:pt x="3635" y="1491"/>
                </a:lnTo>
                <a:lnTo>
                  <a:pt x="3662" y="1523"/>
                </a:lnTo>
                <a:lnTo>
                  <a:pt x="3691" y="1556"/>
                </a:lnTo>
                <a:lnTo>
                  <a:pt x="3724" y="1590"/>
                </a:lnTo>
                <a:lnTo>
                  <a:pt x="3749" y="1618"/>
                </a:lnTo>
                <a:lnTo>
                  <a:pt x="3778" y="1654"/>
                </a:lnTo>
                <a:lnTo>
                  <a:pt x="3808" y="1698"/>
                </a:lnTo>
                <a:lnTo>
                  <a:pt x="3838" y="1747"/>
                </a:lnTo>
                <a:lnTo>
                  <a:pt x="3865" y="1799"/>
                </a:lnTo>
                <a:lnTo>
                  <a:pt x="3887" y="1852"/>
                </a:lnTo>
                <a:lnTo>
                  <a:pt x="3895" y="1879"/>
                </a:lnTo>
                <a:lnTo>
                  <a:pt x="3901" y="1906"/>
                </a:lnTo>
                <a:lnTo>
                  <a:pt x="3904" y="1932"/>
                </a:lnTo>
                <a:lnTo>
                  <a:pt x="3906" y="1957"/>
                </a:lnTo>
                <a:lnTo>
                  <a:pt x="3905" y="1983"/>
                </a:lnTo>
                <a:lnTo>
                  <a:pt x="3900" y="2004"/>
                </a:lnTo>
                <a:lnTo>
                  <a:pt x="3893" y="2022"/>
                </a:lnTo>
                <a:lnTo>
                  <a:pt x="3883" y="2039"/>
                </a:lnTo>
                <a:lnTo>
                  <a:pt x="3199" y="2039"/>
                </a:lnTo>
                <a:lnTo>
                  <a:pt x="3199" y="1754"/>
                </a:lnTo>
                <a:lnTo>
                  <a:pt x="3293" y="1754"/>
                </a:lnTo>
                <a:lnTo>
                  <a:pt x="3302" y="1791"/>
                </a:lnTo>
                <a:lnTo>
                  <a:pt x="3313" y="1825"/>
                </a:lnTo>
                <a:lnTo>
                  <a:pt x="3328" y="1858"/>
                </a:lnTo>
                <a:lnTo>
                  <a:pt x="3346" y="1887"/>
                </a:lnTo>
                <a:lnTo>
                  <a:pt x="3356" y="1900"/>
                </a:lnTo>
                <a:lnTo>
                  <a:pt x="3369" y="1912"/>
                </a:lnTo>
                <a:lnTo>
                  <a:pt x="3381" y="1922"/>
                </a:lnTo>
                <a:lnTo>
                  <a:pt x="3396" y="1932"/>
                </a:lnTo>
                <a:lnTo>
                  <a:pt x="3412" y="1939"/>
                </a:lnTo>
                <a:lnTo>
                  <a:pt x="3430" y="1944"/>
                </a:lnTo>
                <a:lnTo>
                  <a:pt x="3450" y="1947"/>
                </a:lnTo>
                <a:lnTo>
                  <a:pt x="3472" y="1948"/>
                </a:lnTo>
                <a:lnTo>
                  <a:pt x="3594" y="1948"/>
                </a:lnTo>
                <a:lnTo>
                  <a:pt x="3594" y="1941"/>
                </a:lnTo>
                <a:lnTo>
                  <a:pt x="3586" y="1918"/>
                </a:lnTo>
                <a:lnTo>
                  <a:pt x="3572" y="1876"/>
                </a:lnTo>
                <a:lnTo>
                  <a:pt x="3554" y="1841"/>
                </a:lnTo>
                <a:lnTo>
                  <a:pt x="3529" y="1800"/>
                </a:lnTo>
                <a:lnTo>
                  <a:pt x="3499" y="1758"/>
                </a:lnTo>
                <a:lnTo>
                  <a:pt x="3469" y="1714"/>
                </a:lnTo>
                <a:lnTo>
                  <a:pt x="3412" y="1641"/>
                </a:lnTo>
                <a:lnTo>
                  <a:pt x="3383" y="1603"/>
                </a:lnTo>
                <a:lnTo>
                  <a:pt x="3353" y="1570"/>
                </a:lnTo>
                <a:lnTo>
                  <a:pt x="3324" y="1533"/>
                </a:lnTo>
                <a:lnTo>
                  <a:pt x="3288" y="1485"/>
                </a:lnTo>
                <a:lnTo>
                  <a:pt x="3254" y="1430"/>
                </a:lnTo>
                <a:lnTo>
                  <a:pt x="3238" y="1400"/>
                </a:lnTo>
                <a:lnTo>
                  <a:pt x="3224" y="1370"/>
                </a:lnTo>
                <a:lnTo>
                  <a:pt x="3212" y="1337"/>
                </a:lnTo>
                <a:lnTo>
                  <a:pt x="3203" y="1305"/>
                </a:lnTo>
                <a:lnTo>
                  <a:pt x="3197" y="1273"/>
                </a:lnTo>
                <a:lnTo>
                  <a:pt x="3195" y="1240"/>
                </a:lnTo>
                <a:lnTo>
                  <a:pt x="3198" y="1210"/>
                </a:lnTo>
                <a:close/>
                <a:moveTo>
                  <a:pt x="2404" y="1225"/>
                </a:moveTo>
                <a:lnTo>
                  <a:pt x="2406" y="1210"/>
                </a:lnTo>
                <a:lnTo>
                  <a:pt x="2413" y="1184"/>
                </a:lnTo>
                <a:lnTo>
                  <a:pt x="2422" y="1158"/>
                </a:lnTo>
                <a:lnTo>
                  <a:pt x="3099" y="1158"/>
                </a:lnTo>
                <a:lnTo>
                  <a:pt x="3099" y="1443"/>
                </a:lnTo>
                <a:lnTo>
                  <a:pt x="3010" y="1443"/>
                </a:lnTo>
                <a:lnTo>
                  <a:pt x="2996" y="1394"/>
                </a:lnTo>
                <a:lnTo>
                  <a:pt x="2978" y="1352"/>
                </a:lnTo>
                <a:lnTo>
                  <a:pt x="2968" y="1334"/>
                </a:lnTo>
                <a:lnTo>
                  <a:pt x="2958" y="1319"/>
                </a:lnTo>
                <a:lnTo>
                  <a:pt x="2945" y="1304"/>
                </a:lnTo>
                <a:lnTo>
                  <a:pt x="2933" y="1292"/>
                </a:lnTo>
                <a:lnTo>
                  <a:pt x="2920" y="1281"/>
                </a:lnTo>
                <a:lnTo>
                  <a:pt x="2906" y="1272"/>
                </a:lnTo>
                <a:lnTo>
                  <a:pt x="2890" y="1264"/>
                </a:lnTo>
                <a:lnTo>
                  <a:pt x="2875" y="1258"/>
                </a:lnTo>
                <a:lnTo>
                  <a:pt x="2839" y="1250"/>
                </a:lnTo>
                <a:lnTo>
                  <a:pt x="2800" y="1248"/>
                </a:lnTo>
                <a:lnTo>
                  <a:pt x="2717" y="1248"/>
                </a:lnTo>
                <a:lnTo>
                  <a:pt x="2717" y="1254"/>
                </a:lnTo>
                <a:lnTo>
                  <a:pt x="2725" y="1281"/>
                </a:lnTo>
                <a:lnTo>
                  <a:pt x="2737" y="1311"/>
                </a:lnTo>
                <a:lnTo>
                  <a:pt x="2756" y="1353"/>
                </a:lnTo>
                <a:lnTo>
                  <a:pt x="2783" y="1403"/>
                </a:lnTo>
                <a:lnTo>
                  <a:pt x="2820" y="1459"/>
                </a:lnTo>
                <a:lnTo>
                  <a:pt x="2844" y="1491"/>
                </a:lnTo>
                <a:lnTo>
                  <a:pt x="2870" y="1523"/>
                </a:lnTo>
                <a:lnTo>
                  <a:pt x="2900" y="1556"/>
                </a:lnTo>
                <a:lnTo>
                  <a:pt x="2932" y="1590"/>
                </a:lnTo>
                <a:lnTo>
                  <a:pt x="2957" y="1618"/>
                </a:lnTo>
                <a:lnTo>
                  <a:pt x="2986" y="1654"/>
                </a:lnTo>
                <a:lnTo>
                  <a:pt x="3016" y="1698"/>
                </a:lnTo>
                <a:lnTo>
                  <a:pt x="3046" y="1747"/>
                </a:lnTo>
                <a:lnTo>
                  <a:pt x="3073" y="1799"/>
                </a:lnTo>
                <a:lnTo>
                  <a:pt x="3095" y="1852"/>
                </a:lnTo>
                <a:lnTo>
                  <a:pt x="3103" y="1879"/>
                </a:lnTo>
                <a:lnTo>
                  <a:pt x="3109" y="1906"/>
                </a:lnTo>
                <a:lnTo>
                  <a:pt x="3113" y="1932"/>
                </a:lnTo>
                <a:lnTo>
                  <a:pt x="3114" y="1957"/>
                </a:lnTo>
                <a:lnTo>
                  <a:pt x="3113" y="1983"/>
                </a:lnTo>
                <a:lnTo>
                  <a:pt x="3108" y="2004"/>
                </a:lnTo>
                <a:lnTo>
                  <a:pt x="3101" y="2022"/>
                </a:lnTo>
                <a:lnTo>
                  <a:pt x="3090" y="2039"/>
                </a:lnTo>
                <a:lnTo>
                  <a:pt x="2408" y="2039"/>
                </a:lnTo>
                <a:lnTo>
                  <a:pt x="2408" y="1754"/>
                </a:lnTo>
                <a:lnTo>
                  <a:pt x="2500" y="1754"/>
                </a:lnTo>
                <a:lnTo>
                  <a:pt x="2510" y="1791"/>
                </a:lnTo>
                <a:lnTo>
                  <a:pt x="2521" y="1825"/>
                </a:lnTo>
                <a:lnTo>
                  <a:pt x="2536" y="1858"/>
                </a:lnTo>
                <a:lnTo>
                  <a:pt x="2554" y="1887"/>
                </a:lnTo>
                <a:lnTo>
                  <a:pt x="2564" y="1900"/>
                </a:lnTo>
                <a:lnTo>
                  <a:pt x="2577" y="1912"/>
                </a:lnTo>
                <a:lnTo>
                  <a:pt x="2590" y="1922"/>
                </a:lnTo>
                <a:lnTo>
                  <a:pt x="2605" y="1932"/>
                </a:lnTo>
                <a:lnTo>
                  <a:pt x="2620" y="1939"/>
                </a:lnTo>
                <a:lnTo>
                  <a:pt x="2639" y="1944"/>
                </a:lnTo>
                <a:lnTo>
                  <a:pt x="2659" y="1947"/>
                </a:lnTo>
                <a:lnTo>
                  <a:pt x="2681" y="1948"/>
                </a:lnTo>
                <a:lnTo>
                  <a:pt x="2802" y="1948"/>
                </a:lnTo>
                <a:lnTo>
                  <a:pt x="2802" y="1941"/>
                </a:lnTo>
                <a:lnTo>
                  <a:pt x="2794" y="1918"/>
                </a:lnTo>
                <a:lnTo>
                  <a:pt x="2781" y="1876"/>
                </a:lnTo>
                <a:lnTo>
                  <a:pt x="2762" y="1841"/>
                </a:lnTo>
                <a:lnTo>
                  <a:pt x="2737" y="1800"/>
                </a:lnTo>
                <a:lnTo>
                  <a:pt x="2708" y="1758"/>
                </a:lnTo>
                <a:lnTo>
                  <a:pt x="2677" y="1714"/>
                </a:lnTo>
                <a:lnTo>
                  <a:pt x="2620" y="1641"/>
                </a:lnTo>
                <a:lnTo>
                  <a:pt x="2589" y="1603"/>
                </a:lnTo>
                <a:lnTo>
                  <a:pt x="2561" y="1570"/>
                </a:lnTo>
                <a:lnTo>
                  <a:pt x="2531" y="1533"/>
                </a:lnTo>
                <a:lnTo>
                  <a:pt x="2496" y="1485"/>
                </a:lnTo>
                <a:lnTo>
                  <a:pt x="2462" y="1430"/>
                </a:lnTo>
                <a:lnTo>
                  <a:pt x="2446" y="1400"/>
                </a:lnTo>
                <a:lnTo>
                  <a:pt x="2433" y="1370"/>
                </a:lnTo>
                <a:lnTo>
                  <a:pt x="2420" y="1337"/>
                </a:lnTo>
                <a:lnTo>
                  <a:pt x="2411" y="1305"/>
                </a:lnTo>
                <a:lnTo>
                  <a:pt x="2406" y="1273"/>
                </a:lnTo>
                <a:lnTo>
                  <a:pt x="2402" y="1240"/>
                </a:lnTo>
                <a:lnTo>
                  <a:pt x="2404" y="1225"/>
                </a:lnTo>
                <a:close/>
                <a:moveTo>
                  <a:pt x="1842" y="1948"/>
                </a:moveTo>
                <a:lnTo>
                  <a:pt x="1876" y="1948"/>
                </a:lnTo>
                <a:lnTo>
                  <a:pt x="1884" y="1947"/>
                </a:lnTo>
                <a:lnTo>
                  <a:pt x="1894" y="1943"/>
                </a:lnTo>
                <a:lnTo>
                  <a:pt x="1903" y="1937"/>
                </a:lnTo>
                <a:lnTo>
                  <a:pt x="1913" y="1930"/>
                </a:lnTo>
                <a:lnTo>
                  <a:pt x="1921" y="1920"/>
                </a:lnTo>
                <a:lnTo>
                  <a:pt x="1927" y="1911"/>
                </a:lnTo>
                <a:lnTo>
                  <a:pt x="1931" y="1901"/>
                </a:lnTo>
                <a:lnTo>
                  <a:pt x="1932" y="1892"/>
                </a:lnTo>
                <a:lnTo>
                  <a:pt x="1932" y="1308"/>
                </a:lnTo>
                <a:lnTo>
                  <a:pt x="1931" y="1299"/>
                </a:lnTo>
                <a:lnTo>
                  <a:pt x="1927" y="1289"/>
                </a:lnTo>
                <a:lnTo>
                  <a:pt x="1921" y="1280"/>
                </a:lnTo>
                <a:lnTo>
                  <a:pt x="1913" y="1271"/>
                </a:lnTo>
                <a:lnTo>
                  <a:pt x="1903" y="1262"/>
                </a:lnTo>
                <a:lnTo>
                  <a:pt x="1893" y="1255"/>
                </a:lnTo>
                <a:lnTo>
                  <a:pt x="1882" y="1251"/>
                </a:lnTo>
                <a:lnTo>
                  <a:pt x="1872" y="1250"/>
                </a:lnTo>
                <a:lnTo>
                  <a:pt x="1842" y="1250"/>
                </a:lnTo>
                <a:lnTo>
                  <a:pt x="1842" y="1158"/>
                </a:lnTo>
                <a:lnTo>
                  <a:pt x="2306" y="1158"/>
                </a:lnTo>
                <a:lnTo>
                  <a:pt x="2306" y="1250"/>
                </a:lnTo>
                <a:lnTo>
                  <a:pt x="2275" y="1250"/>
                </a:lnTo>
                <a:lnTo>
                  <a:pt x="2263" y="1252"/>
                </a:lnTo>
                <a:lnTo>
                  <a:pt x="2251" y="1257"/>
                </a:lnTo>
                <a:lnTo>
                  <a:pt x="2241" y="1265"/>
                </a:lnTo>
                <a:lnTo>
                  <a:pt x="2232" y="1276"/>
                </a:lnTo>
                <a:lnTo>
                  <a:pt x="2224" y="1287"/>
                </a:lnTo>
                <a:lnTo>
                  <a:pt x="2219" y="1299"/>
                </a:lnTo>
                <a:lnTo>
                  <a:pt x="2216" y="1309"/>
                </a:lnTo>
                <a:lnTo>
                  <a:pt x="2214" y="1319"/>
                </a:lnTo>
                <a:lnTo>
                  <a:pt x="2214" y="1881"/>
                </a:lnTo>
                <a:lnTo>
                  <a:pt x="2215" y="1890"/>
                </a:lnTo>
                <a:lnTo>
                  <a:pt x="2219" y="1900"/>
                </a:lnTo>
                <a:lnTo>
                  <a:pt x="2224" y="1912"/>
                </a:lnTo>
                <a:lnTo>
                  <a:pt x="2230" y="1923"/>
                </a:lnTo>
                <a:lnTo>
                  <a:pt x="2239" y="1933"/>
                </a:lnTo>
                <a:lnTo>
                  <a:pt x="2249" y="1941"/>
                </a:lnTo>
                <a:lnTo>
                  <a:pt x="2260" y="1946"/>
                </a:lnTo>
                <a:lnTo>
                  <a:pt x="2271" y="1948"/>
                </a:lnTo>
                <a:lnTo>
                  <a:pt x="2306" y="1948"/>
                </a:lnTo>
                <a:lnTo>
                  <a:pt x="2306" y="2039"/>
                </a:lnTo>
                <a:lnTo>
                  <a:pt x="1842" y="2039"/>
                </a:lnTo>
                <a:lnTo>
                  <a:pt x="1842" y="1948"/>
                </a:lnTo>
                <a:close/>
                <a:moveTo>
                  <a:pt x="995" y="1946"/>
                </a:moveTo>
                <a:lnTo>
                  <a:pt x="1030" y="1946"/>
                </a:lnTo>
                <a:lnTo>
                  <a:pt x="1038" y="1944"/>
                </a:lnTo>
                <a:lnTo>
                  <a:pt x="1047" y="1941"/>
                </a:lnTo>
                <a:lnTo>
                  <a:pt x="1057" y="1935"/>
                </a:lnTo>
                <a:lnTo>
                  <a:pt x="1066" y="1927"/>
                </a:lnTo>
                <a:lnTo>
                  <a:pt x="1075" y="1918"/>
                </a:lnTo>
                <a:lnTo>
                  <a:pt x="1081" y="1909"/>
                </a:lnTo>
                <a:lnTo>
                  <a:pt x="1085" y="1899"/>
                </a:lnTo>
                <a:lnTo>
                  <a:pt x="1086" y="1889"/>
                </a:lnTo>
                <a:lnTo>
                  <a:pt x="1086" y="1308"/>
                </a:lnTo>
                <a:lnTo>
                  <a:pt x="1085" y="1299"/>
                </a:lnTo>
                <a:lnTo>
                  <a:pt x="1081" y="1289"/>
                </a:lnTo>
                <a:lnTo>
                  <a:pt x="1075" y="1280"/>
                </a:lnTo>
                <a:lnTo>
                  <a:pt x="1066" y="1271"/>
                </a:lnTo>
                <a:lnTo>
                  <a:pt x="1057" y="1262"/>
                </a:lnTo>
                <a:lnTo>
                  <a:pt x="1046" y="1256"/>
                </a:lnTo>
                <a:lnTo>
                  <a:pt x="1036" y="1251"/>
                </a:lnTo>
                <a:lnTo>
                  <a:pt x="1026" y="1250"/>
                </a:lnTo>
                <a:lnTo>
                  <a:pt x="995" y="1250"/>
                </a:lnTo>
                <a:lnTo>
                  <a:pt x="995" y="1158"/>
                </a:lnTo>
                <a:lnTo>
                  <a:pt x="1742" y="1158"/>
                </a:lnTo>
                <a:lnTo>
                  <a:pt x="1742" y="1443"/>
                </a:lnTo>
                <a:lnTo>
                  <a:pt x="1648" y="1443"/>
                </a:lnTo>
                <a:lnTo>
                  <a:pt x="1635" y="1397"/>
                </a:lnTo>
                <a:lnTo>
                  <a:pt x="1620" y="1356"/>
                </a:lnTo>
                <a:lnTo>
                  <a:pt x="1602" y="1323"/>
                </a:lnTo>
                <a:lnTo>
                  <a:pt x="1592" y="1308"/>
                </a:lnTo>
                <a:lnTo>
                  <a:pt x="1581" y="1296"/>
                </a:lnTo>
                <a:lnTo>
                  <a:pt x="1570" y="1284"/>
                </a:lnTo>
                <a:lnTo>
                  <a:pt x="1557" y="1275"/>
                </a:lnTo>
                <a:lnTo>
                  <a:pt x="1544" y="1267"/>
                </a:lnTo>
                <a:lnTo>
                  <a:pt x="1530" y="1259"/>
                </a:lnTo>
                <a:lnTo>
                  <a:pt x="1514" y="1254"/>
                </a:lnTo>
                <a:lnTo>
                  <a:pt x="1498" y="1251"/>
                </a:lnTo>
                <a:lnTo>
                  <a:pt x="1461" y="1248"/>
                </a:lnTo>
                <a:lnTo>
                  <a:pt x="1369" y="1248"/>
                </a:lnTo>
                <a:lnTo>
                  <a:pt x="1369" y="1553"/>
                </a:lnTo>
                <a:lnTo>
                  <a:pt x="1416" y="1553"/>
                </a:lnTo>
                <a:lnTo>
                  <a:pt x="1432" y="1548"/>
                </a:lnTo>
                <a:lnTo>
                  <a:pt x="1441" y="1542"/>
                </a:lnTo>
                <a:lnTo>
                  <a:pt x="1452" y="1533"/>
                </a:lnTo>
                <a:lnTo>
                  <a:pt x="1461" y="1524"/>
                </a:lnTo>
                <a:lnTo>
                  <a:pt x="1470" y="1513"/>
                </a:lnTo>
                <a:lnTo>
                  <a:pt x="1475" y="1500"/>
                </a:lnTo>
                <a:lnTo>
                  <a:pt x="1477" y="1485"/>
                </a:lnTo>
                <a:lnTo>
                  <a:pt x="1477" y="1445"/>
                </a:lnTo>
                <a:lnTo>
                  <a:pt x="1568" y="1445"/>
                </a:lnTo>
                <a:lnTo>
                  <a:pt x="1568" y="1752"/>
                </a:lnTo>
                <a:lnTo>
                  <a:pt x="1477" y="1752"/>
                </a:lnTo>
                <a:lnTo>
                  <a:pt x="1477" y="1714"/>
                </a:lnTo>
                <a:lnTo>
                  <a:pt x="1476" y="1704"/>
                </a:lnTo>
                <a:lnTo>
                  <a:pt x="1472" y="1693"/>
                </a:lnTo>
                <a:lnTo>
                  <a:pt x="1465" y="1681"/>
                </a:lnTo>
                <a:lnTo>
                  <a:pt x="1457" y="1671"/>
                </a:lnTo>
                <a:lnTo>
                  <a:pt x="1447" y="1661"/>
                </a:lnTo>
                <a:lnTo>
                  <a:pt x="1433" y="1652"/>
                </a:lnTo>
                <a:lnTo>
                  <a:pt x="1419" y="1646"/>
                </a:lnTo>
                <a:lnTo>
                  <a:pt x="1401" y="1644"/>
                </a:lnTo>
                <a:lnTo>
                  <a:pt x="1369" y="1644"/>
                </a:lnTo>
                <a:lnTo>
                  <a:pt x="1369" y="1948"/>
                </a:lnTo>
                <a:lnTo>
                  <a:pt x="1471" y="1948"/>
                </a:lnTo>
                <a:lnTo>
                  <a:pt x="1497" y="1946"/>
                </a:lnTo>
                <a:lnTo>
                  <a:pt x="1524" y="1939"/>
                </a:lnTo>
                <a:lnTo>
                  <a:pt x="1551" y="1925"/>
                </a:lnTo>
                <a:lnTo>
                  <a:pt x="1564" y="1917"/>
                </a:lnTo>
                <a:lnTo>
                  <a:pt x="1577" y="1907"/>
                </a:lnTo>
                <a:lnTo>
                  <a:pt x="1589" y="1894"/>
                </a:lnTo>
                <a:lnTo>
                  <a:pt x="1600" y="1881"/>
                </a:lnTo>
                <a:lnTo>
                  <a:pt x="1611" y="1865"/>
                </a:lnTo>
                <a:lnTo>
                  <a:pt x="1621" y="1847"/>
                </a:lnTo>
                <a:lnTo>
                  <a:pt x="1629" y="1827"/>
                </a:lnTo>
                <a:lnTo>
                  <a:pt x="1637" y="1805"/>
                </a:lnTo>
                <a:lnTo>
                  <a:pt x="1644" y="1781"/>
                </a:lnTo>
                <a:lnTo>
                  <a:pt x="1648" y="1754"/>
                </a:lnTo>
                <a:lnTo>
                  <a:pt x="1742" y="1754"/>
                </a:lnTo>
                <a:lnTo>
                  <a:pt x="1742" y="2039"/>
                </a:lnTo>
                <a:lnTo>
                  <a:pt x="995" y="2039"/>
                </a:lnTo>
                <a:lnTo>
                  <a:pt x="995" y="1946"/>
                </a:lnTo>
                <a:close/>
                <a:moveTo>
                  <a:pt x="173" y="1998"/>
                </a:moveTo>
                <a:lnTo>
                  <a:pt x="174" y="1983"/>
                </a:lnTo>
                <a:lnTo>
                  <a:pt x="180" y="1948"/>
                </a:lnTo>
                <a:lnTo>
                  <a:pt x="192" y="1901"/>
                </a:lnTo>
                <a:lnTo>
                  <a:pt x="201" y="1874"/>
                </a:lnTo>
                <a:lnTo>
                  <a:pt x="213" y="1846"/>
                </a:lnTo>
                <a:lnTo>
                  <a:pt x="235" y="1796"/>
                </a:lnTo>
                <a:lnTo>
                  <a:pt x="267" y="1734"/>
                </a:lnTo>
                <a:lnTo>
                  <a:pt x="287" y="1700"/>
                </a:lnTo>
                <a:lnTo>
                  <a:pt x="309" y="1667"/>
                </a:lnTo>
                <a:lnTo>
                  <a:pt x="334" y="1635"/>
                </a:lnTo>
                <a:lnTo>
                  <a:pt x="360" y="1605"/>
                </a:lnTo>
                <a:lnTo>
                  <a:pt x="392" y="1572"/>
                </a:lnTo>
                <a:lnTo>
                  <a:pt x="420" y="1540"/>
                </a:lnTo>
                <a:lnTo>
                  <a:pt x="469" y="1477"/>
                </a:lnTo>
                <a:lnTo>
                  <a:pt x="508" y="1420"/>
                </a:lnTo>
                <a:lnTo>
                  <a:pt x="538" y="1368"/>
                </a:lnTo>
                <a:lnTo>
                  <a:pt x="559" y="1324"/>
                </a:lnTo>
                <a:lnTo>
                  <a:pt x="574" y="1289"/>
                </a:lnTo>
                <a:lnTo>
                  <a:pt x="588" y="1254"/>
                </a:lnTo>
                <a:lnTo>
                  <a:pt x="588" y="1248"/>
                </a:lnTo>
                <a:lnTo>
                  <a:pt x="506" y="1248"/>
                </a:lnTo>
                <a:lnTo>
                  <a:pt x="472" y="1250"/>
                </a:lnTo>
                <a:lnTo>
                  <a:pt x="443" y="1255"/>
                </a:lnTo>
                <a:lnTo>
                  <a:pt x="418" y="1264"/>
                </a:lnTo>
                <a:lnTo>
                  <a:pt x="395" y="1276"/>
                </a:lnTo>
                <a:lnTo>
                  <a:pt x="375" y="1289"/>
                </a:lnTo>
                <a:lnTo>
                  <a:pt x="359" y="1305"/>
                </a:lnTo>
                <a:lnTo>
                  <a:pt x="344" y="1322"/>
                </a:lnTo>
                <a:lnTo>
                  <a:pt x="332" y="1340"/>
                </a:lnTo>
                <a:lnTo>
                  <a:pt x="315" y="1374"/>
                </a:lnTo>
                <a:lnTo>
                  <a:pt x="303" y="1405"/>
                </a:lnTo>
                <a:lnTo>
                  <a:pt x="295" y="1443"/>
                </a:lnTo>
                <a:lnTo>
                  <a:pt x="206" y="1443"/>
                </a:lnTo>
                <a:lnTo>
                  <a:pt x="206" y="1158"/>
                </a:lnTo>
                <a:lnTo>
                  <a:pt x="913" y="1158"/>
                </a:lnTo>
                <a:lnTo>
                  <a:pt x="913" y="1182"/>
                </a:lnTo>
                <a:lnTo>
                  <a:pt x="912" y="1195"/>
                </a:lnTo>
                <a:lnTo>
                  <a:pt x="907" y="1226"/>
                </a:lnTo>
                <a:lnTo>
                  <a:pt x="897" y="1271"/>
                </a:lnTo>
                <a:lnTo>
                  <a:pt x="881" y="1325"/>
                </a:lnTo>
                <a:lnTo>
                  <a:pt x="859" y="1379"/>
                </a:lnTo>
                <a:lnTo>
                  <a:pt x="835" y="1428"/>
                </a:lnTo>
                <a:lnTo>
                  <a:pt x="810" y="1474"/>
                </a:lnTo>
                <a:lnTo>
                  <a:pt x="784" y="1516"/>
                </a:lnTo>
                <a:lnTo>
                  <a:pt x="757" y="1554"/>
                </a:lnTo>
                <a:lnTo>
                  <a:pt x="730" y="1590"/>
                </a:lnTo>
                <a:lnTo>
                  <a:pt x="673" y="1658"/>
                </a:lnTo>
                <a:lnTo>
                  <a:pt x="620" y="1723"/>
                </a:lnTo>
                <a:lnTo>
                  <a:pt x="596" y="1756"/>
                </a:lnTo>
                <a:lnTo>
                  <a:pt x="572" y="1790"/>
                </a:lnTo>
                <a:lnTo>
                  <a:pt x="551" y="1825"/>
                </a:lnTo>
                <a:lnTo>
                  <a:pt x="533" y="1864"/>
                </a:lnTo>
                <a:lnTo>
                  <a:pt x="516" y="1904"/>
                </a:lnTo>
                <a:lnTo>
                  <a:pt x="503" y="1948"/>
                </a:lnTo>
                <a:lnTo>
                  <a:pt x="624" y="1948"/>
                </a:lnTo>
                <a:lnTo>
                  <a:pt x="651" y="1946"/>
                </a:lnTo>
                <a:lnTo>
                  <a:pt x="680" y="1939"/>
                </a:lnTo>
                <a:lnTo>
                  <a:pt x="707" y="1925"/>
                </a:lnTo>
                <a:lnTo>
                  <a:pt x="720" y="1917"/>
                </a:lnTo>
                <a:lnTo>
                  <a:pt x="733" y="1907"/>
                </a:lnTo>
                <a:lnTo>
                  <a:pt x="744" y="1894"/>
                </a:lnTo>
                <a:lnTo>
                  <a:pt x="756" y="1881"/>
                </a:lnTo>
                <a:lnTo>
                  <a:pt x="767" y="1865"/>
                </a:lnTo>
                <a:lnTo>
                  <a:pt x="777" y="1847"/>
                </a:lnTo>
                <a:lnTo>
                  <a:pt x="786" y="1827"/>
                </a:lnTo>
                <a:lnTo>
                  <a:pt x="793" y="1805"/>
                </a:lnTo>
                <a:lnTo>
                  <a:pt x="799" y="1781"/>
                </a:lnTo>
                <a:lnTo>
                  <a:pt x="805" y="1754"/>
                </a:lnTo>
                <a:lnTo>
                  <a:pt x="897" y="1754"/>
                </a:lnTo>
                <a:lnTo>
                  <a:pt x="897" y="2039"/>
                </a:lnTo>
                <a:lnTo>
                  <a:pt x="173" y="2039"/>
                </a:lnTo>
                <a:lnTo>
                  <a:pt x="173" y="1998"/>
                </a:lnTo>
                <a:close/>
              </a:path>
            </a:pathLst>
          </a:custGeom>
          <a:solidFill>
            <a:srgbClr val="0000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sz="1600">
              <a:solidFill>
                <a:srgbClr val="000000"/>
              </a:solidFill>
            </a:endParaRPr>
          </a:p>
        </p:txBody>
      </p:sp>
      <p:sp>
        <p:nvSpPr>
          <p:cNvPr id="3" name="Text Placeholder 2"/>
          <p:cNvSpPr>
            <a:spLocks noGrp="1"/>
          </p:cNvSpPr>
          <p:nvPr>
            <p:ph type="body" sz="quarter" idx="10"/>
          </p:nvPr>
        </p:nvSpPr>
        <p:spPr>
          <a:xfrm>
            <a:off x="468000" y="5940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7" name="Text Placeholder 2"/>
          <p:cNvSpPr>
            <a:spLocks noGrp="1"/>
          </p:cNvSpPr>
          <p:nvPr>
            <p:ph type="body" sz="quarter" idx="11"/>
          </p:nvPr>
        </p:nvSpPr>
        <p:spPr>
          <a:xfrm>
            <a:off x="468000" y="6192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8" name="Text Placeholder 2"/>
          <p:cNvSpPr>
            <a:spLocks noGrp="1"/>
          </p:cNvSpPr>
          <p:nvPr>
            <p:ph type="body" sz="quarter" idx="12"/>
          </p:nvPr>
        </p:nvSpPr>
        <p:spPr>
          <a:xfrm>
            <a:off x="468000" y="6444000"/>
            <a:ext cx="3024682" cy="208952"/>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4" name="Title 3"/>
          <p:cNvSpPr>
            <a:spLocks noGrp="1"/>
          </p:cNvSpPr>
          <p:nvPr>
            <p:ph type="title"/>
          </p:nvPr>
        </p:nvSpPr>
        <p:spPr/>
        <p:txBody>
          <a:bodyPr/>
          <a:lstStyle/>
          <a:p>
            <a:r>
              <a:rPr lang="en-US"/>
              <a:t>Click to edit Master title style</a:t>
            </a:r>
          </a:p>
        </p:txBody>
      </p:sp>
      <p:sp>
        <p:nvSpPr>
          <p:cNvPr id="10" name="Rectangle 9"/>
          <p:cNvSpPr/>
          <p:nvPr userDrawn="1"/>
        </p:nvSpPr>
        <p:spPr bwMode="auto">
          <a:xfrm>
            <a:off x="0" y="1350965"/>
            <a:ext cx="9144000" cy="4351337"/>
          </a:xfrm>
          <a:prstGeom prst="rect">
            <a:avLst/>
          </a:prstGeom>
          <a:solidFill>
            <a:schemeClr val="bg1">
              <a:lumMod val="85000"/>
            </a:schemeClr>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9" name="TextBox 8"/>
          <p:cNvSpPr txBox="1"/>
          <p:nvPr userDrawn="1"/>
        </p:nvSpPr>
        <p:spPr bwMode="gray">
          <a:xfrm>
            <a:off x="-865458" y="1773238"/>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1" name="TextBox 10"/>
          <p:cNvSpPr txBox="1"/>
          <p:nvPr userDrawn="1"/>
        </p:nvSpPr>
        <p:spPr bwMode="gray">
          <a:xfrm>
            <a:off x="-956829" y="1554163"/>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2" name="Straight Connector 11"/>
          <p:cNvCxnSpPr/>
          <p:nvPr userDrawn="1"/>
        </p:nvCxnSpPr>
        <p:spPr bwMode="gray">
          <a:xfrm flipH="1">
            <a:off x="-288540" y="17732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bwMode="gray">
          <a:xfrm flipH="1">
            <a:off x="-288540" y="15573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userDrawn="1"/>
        </p:nvSpPr>
        <p:spPr bwMode="gray">
          <a:xfrm>
            <a:off x="-865458" y="6093281"/>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5" name="TextBox 14"/>
          <p:cNvSpPr txBox="1"/>
          <p:nvPr userDrawn="1"/>
        </p:nvSpPr>
        <p:spPr bwMode="gray">
          <a:xfrm>
            <a:off x="-956829" y="6524625"/>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6" name="Straight Connector 15"/>
          <p:cNvCxnSpPr/>
          <p:nvPr userDrawn="1"/>
        </p:nvCxnSpPr>
        <p:spPr bwMode="gray">
          <a:xfrm flipH="1">
            <a:off x="-288540" y="6522107"/>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gray">
          <a:xfrm flipH="1">
            <a:off x="-288540" y="6308725"/>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nvGrpSpPr>
          <p:cNvPr id="18" name="Group 17"/>
          <p:cNvGrpSpPr/>
          <p:nvPr userDrawn="1"/>
        </p:nvGrpSpPr>
        <p:grpSpPr>
          <a:xfrm rot="5400000">
            <a:off x="-43126" y="-645663"/>
            <a:ext cx="807434" cy="215444"/>
            <a:chOff x="-1248737" y="516171"/>
            <a:chExt cx="807434" cy="215444"/>
          </a:xfrm>
        </p:grpSpPr>
        <p:sp>
          <p:nvSpPr>
            <p:cNvPr id="19" name="TextBox 18"/>
            <p:cNvSpPr txBox="1"/>
            <p:nvPr userDrawn="1"/>
          </p:nvSpPr>
          <p:spPr bwMode="gray">
            <a:xfrm>
              <a:off x="-1248737" y="516171"/>
              <a:ext cx="766557"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Lef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20" name="Straight Connector 19"/>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21" name="Group 20"/>
          <p:cNvGrpSpPr/>
          <p:nvPr userDrawn="1"/>
        </p:nvGrpSpPr>
        <p:grpSpPr>
          <a:xfrm rot="5400000">
            <a:off x="8185327" y="-625720"/>
            <a:ext cx="767548" cy="215444"/>
            <a:chOff x="-1285606" y="516176"/>
            <a:chExt cx="844303" cy="215444"/>
          </a:xfrm>
        </p:grpSpPr>
        <p:sp>
          <p:nvSpPr>
            <p:cNvPr id="22" name="TextBox 21"/>
            <p:cNvSpPr txBox="1"/>
            <p:nvPr userDrawn="1"/>
          </p:nvSpPr>
          <p:spPr bwMode="gray">
            <a:xfrm>
              <a:off x="-1285606" y="516176"/>
              <a:ext cx="840295"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Righ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23" name="Straight Connector 22"/>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46553890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urse Overview">
    <p:spTree>
      <p:nvGrpSpPr>
        <p:cNvPr id="1" name=""/>
        <p:cNvGrpSpPr/>
        <p:nvPr/>
      </p:nvGrpSpPr>
      <p:grpSpPr>
        <a:xfrm>
          <a:off x="0" y="0"/>
          <a:ext cx="0" cy="0"/>
          <a:chOff x="0" y="0"/>
          <a:chExt cx="0" cy="0"/>
        </a:xfrm>
      </p:grpSpPr>
      <p:sp>
        <p:nvSpPr>
          <p:cNvPr id="6"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68A454A9-CEC9-4F73-831F-83BA53B6CFFD}" type="datetime1">
              <a:rPr lang="de-DE" smtClean="0">
                <a:solidFill>
                  <a:srgbClr val="000000"/>
                </a:solidFill>
              </a:rPr>
              <a:pPr/>
              <a:t>28.02.2019</a:t>
            </a:fld>
            <a:endParaRPr lang="en-US" dirty="0">
              <a:solidFill>
                <a:srgbClr val="000000"/>
              </a:solidFill>
            </a:endParaRPr>
          </a:p>
        </p:txBody>
      </p:sp>
      <p:sp>
        <p:nvSpPr>
          <p:cNvPr id="7"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a:solidFill>
                  <a:srgbClr val="000000"/>
                </a:solidFill>
              </a:rPr>
              <a:t>Carl Zeiss Microscopy</a:t>
            </a:r>
            <a:endParaRPr lang="en-US" dirty="0">
              <a:solidFill>
                <a:srgbClr val="000000"/>
              </a:solidFill>
            </a:endParaRPr>
          </a:p>
        </p:txBody>
      </p:sp>
      <p:sp>
        <p:nvSpPr>
          <p:cNvPr id="9" name="Inhaltsplatzhalter 2"/>
          <p:cNvSpPr txBox="1">
            <a:spLocks/>
          </p:cNvSpPr>
          <p:nvPr userDrawn="1"/>
        </p:nvSpPr>
        <p:spPr bwMode="auto">
          <a:xfrm>
            <a:off x="461963" y="3950821"/>
            <a:ext cx="2233613"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bIns="0"/>
          <a:lstStyle>
            <a:lvl1pPr eaLnBrk="0" hangingPunct="0">
              <a:defRPr sz="1600">
                <a:solidFill>
                  <a:schemeClr val="tx1"/>
                </a:solidFill>
                <a:latin typeface="Arial" charset="0"/>
                <a:cs typeface="Arial" charset="0"/>
              </a:defRPr>
            </a:lvl1pPr>
            <a:lvl2pPr marL="203200" indent="-182563"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fontAlgn="base" hangingPunct="1">
              <a:spcBef>
                <a:spcPct val="0"/>
              </a:spcBef>
              <a:spcAft>
                <a:spcPts val="300"/>
              </a:spcAft>
            </a:pPr>
            <a:r>
              <a:rPr lang="en-US" sz="1400" dirty="0">
                <a:solidFill>
                  <a:srgbClr val="000000"/>
                </a:solidFill>
              </a:rPr>
              <a:t>The session comprehends the following topics:</a:t>
            </a:r>
          </a:p>
        </p:txBody>
      </p:sp>
      <p:pic>
        <p:nvPicPr>
          <p:cNvPr id="10" name="Picture 2"/>
          <p:cNvPicPr>
            <a:picLocks noChangeAspect="1" noChangeArrowheads="1"/>
          </p:cNvPicPr>
          <p:nvPr userDrawn="1"/>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61963" y="2352210"/>
            <a:ext cx="8243888" cy="1455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28"/>
          <p:cNvSpPr>
            <a:spLocks noChangeArrowheads="1"/>
          </p:cNvSpPr>
          <p:nvPr userDrawn="1"/>
        </p:nvSpPr>
        <p:spPr bwMode="auto">
          <a:xfrm>
            <a:off x="461963" y="1717210"/>
            <a:ext cx="2233613"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fontAlgn="base" hangingPunct="0">
              <a:spcBef>
                <a:spcPct val="0"/>
              </a:spcBef>
              <a:spcAft>
                <a:spcPct val="0"/>
              </a:spcAft>
            </a:pPr>
            <a:r>
              <a:rPr lang="en-US" b="1" dirty="0">
                <a:solidFill>
                  <a:srgbClr val="000000"/>
                </a:solidFill>
              </a:rPr>
              <a:t>Content of this session</a:t>
            </a:r>
          </a:p>
        </p:txBody>
      </p:sp>
      <p:sp>
        <p:nvSpPr>
          <p:cNvPr id="12" name="Rectangle 29"/>
          <p:cNvSpPr>
            <a:spLocks noChangeArrowheads="1"/>
          </p:cNvSpPr>
          <p:nvPr userDrawn="1"/>
        </p:nvSpPr>
        <p:spPr bwMode="auto">
          <a:xfrm>
            <a:off x="6443665" y="1717210"/>
            <a:ext cx="2227263"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fontAlgn="base" hangingPunct="0">
              <a:spcBef>
                <a:spcPct val="0"/>
              </a:spcBef>
              <a:spcAft>
                <a:spcPct val="0"/>
              </a:spcAft>
            </a:pPr>
            <a:r>
              <a:rPr lang="en-US" b="1">
                <a:solidFill>
                  <a:srgbClr val="000000"/>
                </a:solidFill>
              </a:rPr>
              <a:t>Times and </a:t>
            </a:r>
            <a:br>
              <a:rPr lang="en-US" b="1">
                <a:solidFill>
                  <a:srgbClr val="000000"/>
                </a:solidFill>
              </a:rPr>
            </a:br>
            <a:r>
              <a:rPr lang="en-US" b="1">
                <a:solidFill>
                  <a:srgbClr val="000000"/>
                </a:solidFill>
              </a:rPr>
              <a:t>effort</a:t>
            </a:r>
          </a:p>
        </p:txBody>
      </p:sp>
      <p:sp>
        <p:nvSpPr>
          <p:cNvPr id="13" name="Rectangle 30"/>
          <p:cNvSpPr>
            <a:spLocks noChangeArrowheads="1"/>
          </p:cNvSpPr>
          <p:nvPr userDrawn="1"/>
        </p:nvSpPr>
        <p:spPr bwMode="auto">
          <a:xfrm>
            <a:off x="3487738" y="1717210"/>
            <a:ext cx="2159000"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fontAlgn="base" hangingPunct="0">
              <a:spcBef>
                <a:spcPct val="0"/>
              </a:spcBef>
              <a:spcAft>
                <a:spcPct val="0"/>
              </a:spcAft>
            </a:pPr>
            <a:r>
              <a:rPr lang="en-US" b="1">
                <a:solidFill>
                  <a:srgbClr val="000000"/>
                </a:solidFill>
              </a:rPr>
              <a:t>Targets of this session</a:t>
            </a:r>
          </a:p>
        </p:txBody>
      </p:sp>
      <p:sp>
        <p:nvSpPr>
          <p:cNvPr id="14" name="Textfeld 11"/>
          <p:cNvSpPr txBox="1"/>
          <p:nvPr userDrawn="1"/>
        </p:nvSpPr>
        <p:spPr>
          <a:xfrm>
            <a:off x="3487739" y="3950821"/>
            <a:ext cx="2232025" cy="523875"/>
          </a:xfrm>
          <a:prstGeom prst="rect">
            <a:avLst/>
          </a:prstGeom>
          <a:noFill/>
          <a:ln w="9525">
            <a:noFill/>
            <a:miter lim="800000"/>
            <a:headEnd/>
            <a:tailEnd/>
          </a:ln>
        </p:spPr>
        <p:txBody>
          <a:bodyPr lIns="0" tIns="0" bIns="0"/>
          <a:lstStyle/>
          <a:p>
            <a:pPr eaLnBrk="0" fontAlgn="base" hangingPunct="0">
              <a:spcBef>
                <a:spcPct val="0"/>
              </a:spcBef>
              <a:spcAft>
                <a:spcPts val="300"/>
              </a:spcAft>
              <a:defRPr/>
            </a:pPr>
            <a:r>
              <a:rPr lang="en-US" sz="1400" dirty="0">
                <a:solidFill>
                  <a:srgbClr val="000000"/>
                </a:solidFill>
              </a:rPr>
              <a:t>After the completion of this session you will:</a:t>
            </a:r>
          </a:p>
        </p:txBody>
      </p:sp>
      <p:sp>
        <p:nvSpPr>
          <p:cNvPr id="15" name="Textfeld 26"/>
          <p:cNvSpPr txBox="1">
            <a:spLocks noChangeArrowheads="1"/>
          </p:cNvSpPr>
          <p:nvPr userDrawn="1"/>
        </p:nvSpPr>
        <p:spPr bwMode="auto">
          <a:xfrm>
            <a:off x="6437315" y="3950822"/>
            <a:ext cx="2233613" cy="2236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bIns="0"/>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fontAlgn="base">
              <a:spcBef>
                <a:spcPct val="0"/>
              </a:spcBef>
              <a:spcAft>
                <a:spcPts val="300"/>
              </a:spcAft>
            </a:pPr>
            <a:r>
              <a:rPr lang="en-US" sz="1400" dirty="0">
                <a:solidFill>
                  <a:srgbClr val="000000"/>
                </a:solidFill>
              </a:rPr>
              <a:t>You will have approx. </a:t>
            </a:r>
            <a:br>
              <a:rPr lang="en-US" sz="1400" b="1" dirty="0">
                <a:solidFill>
                  <a:srgbClr val="000000"/>
                </a:solidFill>
              </a:rPr>
            </a:br>
            <a:r>
              <a:rPr lang="en-US" sz="1400" dirty="0">
                <a:solidFill>
                  <a:srgbClr val="000000"/>
                </a:solidFill>
              </a:rPr>
              <a:t> to complete this session.</a:t>
            </a:r>
          </a:p>
        </p:txBody>
      </p:sp>
      <p:sp>
        <p:nvSpPr>
          <p:cNvPr id="18" name="Content Placeholder 17"/>
          <p:cNvSpPr>
            <a:spLocks noGrp="1"/>
          </p:cNvSpPr>
          <p:nvPr>
            <p:ph sz="quarter" idx="15" hasCustomPrompt="1"/>
          </p:nvPr>
        </p:nvSpPr>
        <p:spPr>
          <a:xfrm>
            <a:off x="8136520" y="3950822"/>
            <a:ext cx="1002717" cy="261937"/>
          </a:xfrm>
        </p:spPr>
        <p:txBody>
          <a:bodyPr/>
          <a:lstStyle>
            <a:lvl1pPr>
              <a:defRPr sz="1400" b="1"/>
            </a:lvl1pPr>
          </a:lstStyle>
          <a:p>
            <a:pPr lvl="0"/>
            <a:r>
              <a:rPr lang="en-US" dirty="0"/>
              <a:t>4 h</a:t>
            </a:r>
          </a:p>
        </p:txBody>
      </p:sp>
      <p:sp>
        <p:nvSpPr>
          <p:cNvPr id="22" name="Text Placeholder 21"/>
          <p:cNvSpPr>
            <a:spLocks noGrp="1"/>
          </p:cNvSpPr>
          <p:nvPr>
            <p:ph type="body" sz="quarter" idx="16"/>
          </p:nvPr>
        </p:nvSpPr>
        <p:spPr>
          <a:xfrm>
            <a:off x="471488" y="4427071"/>
            <a:ext cx="2224088" cy="1881305"/>
          </a:xfrm>
        </p:spPr>
        <p:txBody>
          <a:bodyPr/>
          <a:lstStyle>
            <a:lvl1pPr marL="266700" indent="-180975">
              <a:buClr>
                <a:schemeClr val="accent6"/>
              </a:buClr>
              <a:buFont typeface="Arial" pitchFamily="34" charset="0"/>
              <a:buChar char="•"/>
              <a:tabLst/>
              <a:defRPr sz="1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 name="Text Placeholder 21"/>
          <p:cNvSpPr>
            <a:spLocks noGrp="1"/>
          </p:cNvSpPr>
          <p:nvPr>
            <p:ph type="body" sz="quarter" idx="17"/>
          </p:nvPr>
        </p:nvSpPr>
        <p:spPr>
          <a:xfrm>
            <a:off x="3455194" y="4415959"/>
            <a:ext cx="2224088" cy="1892766"/>
          </a:xfrm>
        </p:spPr>
        <p:txBody>
          <a:bodyPr/>
          <a:lstStyle>
            <a:lvl1pPr marL="266700" indent="-180975">
              <a:buClr>
                <a:schemeClr val="accent6"/>
              </a:buClr>
              <a:buFont typeface="Arial" pitchFamily="34" charset="0"/>
              <a:buChar char="•"/>
              <a:tabLst/>
              <a:defRPr sz="1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3"/>
          <p:cNvSpPr>
            <a:spLocks noGrp="1"/>
          </p:cNvSpPr>
          <p:nvPr>
            <p:ph type="title" hasCustomPrompt="1"/>
          </p:nvPr>
        </p:nvSpPr>
        <p:spPr>
          <a:xfrm>
            <a:off x="466725" y="307975"/>
            <a:ext cx="7346950" cy="941388"/>
          </a:xfrm>
        </p:spPr>
        <p:txBody>
          <a:bodyPr/>
          <a:lstStyle>
            <a:lvl1pPr>
              <a:defRPr baseline="0"/>
            </a:lvl1pPr>
          </a:lstStyle>
          <a:p>
            <a:r>
              <a:rPr lang="en-US" dirty="0"/>
              <a:t>Content and Targets</a:t>
            </a:r>
          </a:p>
        </p:txBody>
      </p:sp>
    </p:spTree>
    <p:custDataLst>
      <p:tags r:id="rId1"/>
    </p:custDataLst>
    <p:extLst>
      <p:ext uri="{BB962C8B-B14F-4D97-AF65-F5344CB8AC3E}">
        <p14:creationId xmlns:p14="http://schemas.microsoft.com/office/powerpoint/2010/main" val="255579328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noProof="0"/>
              <a:t>Click to edit Master title style</a:t>
            </a:r>
            <a:endParaRPr lang="en-US" noProof="0" dirty="0"/>
          </a:p>
        </p:txBody>
      </p:sp>
      <p:sp>
        <p:nvSpPr>
          <p:cNvPr id="6"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1805D999-821D-452D-AEAA-36E65C146C21}" type="datetime1">
              <a:rPr lang="de-DE" smtClean="0">
                <a:solidFill>
                  <a:srgbClr val="000000"/>
                </a:solidFill>
              </a:rPr>
              <a:pPr/>
              <a:t>28.02.2019</a:t>
            </a:fld>
            <a:endParaRPr lang="en-US" dirty="0">
              <a:solidFill>
                <a:srgbClr val="000000"/>
              </a:solidFill>
            </a:endParaRPr>
          </a:p>
        </p:txBody>
      </p:sp>
      <p:sp>
        <p:nvSpPr>
          <p:cNvPr id="7"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a:solidFill>
                  <a:srgbClr val="000000"/>
                </a:solidFill>
              </a:rPr>
              <a:t>Carl Zeiss Microscopy</a:t>
            </a:r>
            <a:endParaRPr lang="en-US" dirty="0">
              <a:solidFill>
                <a:srgbClr val="000000"/>
              </a:solidFill>
            </a:endParaRPr>
          </a:p>
        </p:txBody>
      </p:sp>
      <p:sp>
        <p:nvSpPr>
          <p:cNvPr id="4" name="Text Placeholder 3"/>
          <p:cNvSpPr>
            <a:spLocks noGrp="1"/>
          </p:cNvSpPr>
          <p:nvPr>
            <p:ph type="body" sz="quarter" idx="13"/>
          </p:nvPr>
        </p:nvSpPr>
        <p:spPr>
          <a:xfrm>
            <a:off x="465138" y="2324025"/>
            <a:ext cx="360000" cy="331200"/>
          </a:xfrm>
          <a:solidFill>
            <a:srgbClr val="3B76B1"/>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rIns="0" anchor="ctr"/>
          <a:lstStyle>
            <a:lvl1pPr algn="ctr">
              <a:defRPr kumimoji="0" lang="en-US" sz="1800" b="1" i="0" u="none" strike="noStrike" kern="0" cap="none" spc="0" normalizeH="0" baseline="0" dirty="0" smtClean="0">
                <a:ln>
                  <a:noFill/>
                </a:ln>
                <a:solidFill>
                  <a:srgbClr val="FFFFFF"/>
                </a:solidFill>
                <a:effectLst/>
                <a:uLnTx/>
                <a:uFillTx/>
                <a:latin typeface="Arial" charset="0"/>
              </a:defRPr>
            </a:lvl1pPr>
            <a:lvl2pPr>
              <a:defRPr lang="en-US" kern="1200" dirty="0" smtClean="0">
                <a:latin typeface="Arial" charset="0"/>
                <a:ea typeface="+mn-ea"/>
                <a:cs typeface="+mn-cs"/>
              </a:defRPr>
            </a:lvl2pPr>
            <a:lvl3pPr>
              <a:defRPr lang="en-US" sz="1600" kern="1200" dirty="0" smtClean="0">
                <a:latin typeface="Arial" charset="0"/>
                <a:ea typeface="+mn-ea"/>
                <a:cs typeface="+mn-cs"/>
              </a:defRPr>
            </a:lvl3pPr>
            <a:lvl4pPr>
              <a:defRPr lang="en-US" sz="1600" kern="1200" dirty="0" smtClean="0">
                <a:latin typeface="Arial" charset="0"/>
                <a:ea typeface="+mn-ea"/>
                <a:cs typeface="+mn-cs"/>
              </a:defRPr>
            </a:lvl4pPr>
            <a:lvl5pPr>
              <a:defRPr lang="en-US" sz="1600" kern="1200" dirty="0">
                <a:latin typeface="Arial" charset="0"/>
                <a:ea typeface="+mn-ea"/>
                <a:cs typeface="+mn-cs"/>
              </a:defRPr>
            </a:lvl5pPr>
          </a:lstStyle>
          <a:p>
            <a:pPr marL="0" marR="0" lvl="0" indent="0" algn="ctr" defTabSz="914400" eaLnBrk="1" fontAlgn="auto" latinLnBrk="0" hangingPunct="1">
              <a:lnSpc>
                <a:spcPct val="100000"/>
              </a:lnSpc>
              <a:spcBef>
                <a:spcPts val="0"/>
              </a:spcBef>
              <a:spcAft>
                <a:spcPts val="0"/>
              </a:spcAft>
              <a:buClrTx/>
              <a:buSzTx/>
              <a:buFontTx/>
              <a:buNone/>
              <a:tabLst/>
            </a:pPr>
            <a:r>
              <a:rPr lang="en-US"/>
              <a:t>Click to edit Master text styles</a:t>
            </a:r>
          </a:p>
        </p:txBody>
      </p:sp>
      <p:sp>
        <p:nvSpPr>
          <p:cNvPr id="15" name="Text Placeholder 14"/>
          <p:cNvSpPr>
            <a:spLocks noGrp="1"/>
          </p:cNvSpPr>
          <p:nvPr>
            <p:ph type="body" sz="quarter" idx="14"/>
          </p:nvPr>
        </p:nvSpPr>
        <p:spPr>
          <a:xfrm>
            <a:off x="941301" y="2324025"/>
            <a:ext cx="7732800" cy="331200"/>
          </a:xfrm>
          <a:solidFill>
            <a:srgbClr val="C2DEF6"/>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hlink">
                      <a:gamma/>
                      <a:shade val="60000"/>
                      <a:invGamma/>
                    </a:schemeClr>
                  </a:outerShdw>
                </a:effectLst>
              </a14:hiddenEffects>
            </a:ext>
          </a:extLst>
        </p:spPr>
        <p:txBody>
          <a:bodyPr lIns="90000" anchor="ctr"/>
          <a:lstStyle>
            <a:lvl1pPr>
              <a:defRPr kumimoji="0" lang="en-US" sz="1800" b="1" i="0" u="none" strike="noStrike" kern="0" cap="none" spc="0" normalizeH="0" baseline="0" dirty="0" smtClean="0">
                <a:ln>
                  <a:noFill/>
                </a:ln>
                <a:solidFill>
                  <a:srgbClr val="3B76B1"/>
                </a:solidFill>
                <a:effectLst/>
                <a:uLnTx/>
                <a:uFillTx/>
                <a:latin typeface="Arial" charset="0"/>
              </a:defRPr>
            </a:lvl1pPr>
            <a:lvl2pPr>
              <a:defRPr lang="en-US" kern="1200" dirty="0" smtClean="0">
                <a:latin typeface="Arial" charset="0"/>
                <a:ea typeface="+mn-ea"/>
                <a:cs typeface="+mn-cs"/>
              </a:defRPr>
            </a:lvl2pPr>
            <a:lvl3pPr>
              <a:defRPr lang="en-US" sz="1600" kern="1200" dirty="0" smtClean="0">
                <a:latin typeface="Arial" charset="0"/>
                <a:ea typeface="+mn-ea"/>
                <a:cs typeface="+mn-cs"/>
              </a:defRPr>
            </a:lvl3pPr>
            <a:lvl4pPr>
              <a:defRPr lang="en-US" sz="1600" kern="1200" dirty="0" smtClean="0">
                <a:latin typeface="Arial" charset="0"/>
                <a:ea typeface="+mn-ea"/>
                <a:cs typeface="+mn-cs"/>
              </a:defRPr>
            </a:lvl4pPr>
            <a:lvl5pPr>
              <a:defRPr lang="en-US" sz="1600" kern="1200" dirty="0">
                <a:latin typeface="Arial" charset="0"/>
                <a:ea typeface="+mn-ea"/>
                <a:cs typeface="+mn-cs"/>
              </a:defRPr>
            </a:lvl5pPr>
          </a:lstStyle>
          <a:p>
            <a:pPr marL="0" marR="0" lvl="0" indent="0" defTabSz="914400" eaLnBrk="1" fontAlgn="auto" latinLnBrk="0" hangingPunct="1">
              <a:lnSpc>
                <a:spcPct val="100000"/>
              </a:lnSpc>
              <a:spcBef>
                <a:spcPts val="0"/>
              </a:spcBef>
              <a:spcAft>
                <a:spcPts val="0"/>
              </a:spcAft>
              <a:buClrTx/>
              <a:buSzTx/>
              <a:buFontTx/>
              <a:buNone/>
              <a:tabLst/>
            </a:pPr>
            <a:r>
              <a:rPr lang="en-US"/>
              <a:t>Click to edit Master text styles</a:t>
            </a:r>
          </a:p>
        </p:txBody>
      </p:sp>
      <p:sp>
        <p:nvSpPr>
          <p:cNvPr id="16" name="Text Placeholder 3"/>
          <p:cNvSpPr>
            <a:spLocks noGrp="1"/>
          </p:cNvSpPr>
          <p:nvPr>
            <p:ph type="body" sz="quarter" idx="15"/>
          </p:nvPr>
        </p:nvSpPr>
        <p:spPr>
          <a:xfrm>
            <a:off x="465138" y="2810400"/>
            <a:ext cx="360000" cy="331200"/>
          </a:xfrm>
          <a:solidFill>
            <a:srgbClr val="B2B2B2"/>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gamma/>
                      <a:shade val="60000"/>
                      <a:invGamma/>
                    </a:schemeClr>
                  </a:outerShdw>
                </a:effectLst>
              </a14:hiddenEffects>
            </a:ext>
          </a:extLst>
        </p:spPr>
        <p:txBody>
          <a:bodyPr wrap="none" rIns="0" anchor="ctr"/>
          <a:lstStyle>
            <a:lvl1pPr algn="ctr">
              <a:defRPr kumimoji="0" lang="en-US" sz="1800" i="0" u="none" strike="noStrike" kern="0" cap="none" spc="0" normalizeH="0" baseline="0" dirty="0" smtClean="0">
                <a:ln>
                  <a:noFill/>
                </a:ln>
                <a:solidFill>
                  <a:srgbClr val="000000"/>
                </a:solidFill>
                <a:effectLst/>
                <a:uLnTx/>
                <a:uFillTx/>
                <a:latin typeface="Arial" charset="0"/>
              </a:defRPr>
            </a:lvl1pPr>
          </a:lstStyle>
          <a:p>
            <a:pPr marL="0" marR="0" lvl="0" indent="0" algn="ctr" defTabSz="914400" eaLnBrk="1" fontAlgn="auto" latinLnBrk="0" hangingPunct="1">
              <a:lnSpc>
                <a:spcPct val="100000"/>
              </a:lnSpc>
              <a:spcBef>
                <a:spcPts val="0"/>
              </a:spcBef>
              <a:spcAft>
                <a:spcPts val="0"/>
              </a:spcAft>
              <a:buClrTx/>
              <a:buSzTx/>
              <a:buFontTx/>
              <a:buNone/>
              <a:tabLst/>
            </a:pPr>
            <a:r>
              <a:rPr lang="en-US"/>
              <a:t>Click to edit Master text styles</a:t>
            </a:r>
          </a:p>
        </p:txBody>
      </p:sp>
      <p:sp>
        <p:nvSpPr>
          <p:cNvPr id="17" name="Text Placeholder 14"/>
          <p:cNvSpPr>
            <a:spLocks noGrp="1"/>
          </p:cNvSpPr>
          <p:nvPr>
            <p:ph type="body" sz="quarter" idx="16"/>
          </p:nvPr>
        </p:nvSpPr>
        <p:spPr>
          <a:xfrm>
            <a:off x="941301" y="2810400"/>
            <a:ext cx="7732800" cy="331200"/>
          </a:xfrm>
          <a:solidFill>
            <a:srgbClr val="B2B2B2"/>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gamma/>
                      <a:shade val="60000"/>
                      <a:invGamma/>
                    </a:schemeClr>
                  </a:outerShdw>
                </a:effectLst>
              </a14:hiddenEffects>
            </a:ext>
          </a:extLst>
        </p:spPr>
        <p:txBody>
          <a:bodyPr lIns="90000" anchor="ctr"/>
          <a:lstStyle>
            <a:lvl1pPr>
              <a:defRPr kumimoji="0" lang="en-US" sz="1800" b="0" i="0" u="none" strike="noStrike" kern="0" cap="none" spc="0" normalizeH="0" baseline="0" dirty="0" smtClean="0">
                <a:ln>
                  <a:noFill/>
                </a:ln>
                <a:solidFill>
                  <a:sysClr val="windowText" lastClr="000000"/>
                </a:solidFill>
                <a:effectLst/>
                <a:uLnTx/>
                <a:uFillTx/>
                <a:latin typeface="Arial" charset="0"/>
              </a:defRPr>
            </a:lvl1pPr>
          </a:lstStyle>
          <a:p>
            <a:pPr marL="0" marR="0" lvl="0" indent="0" defTabSz="914400" eaLnBrk="1" fontAlgn="auto" latinLnBrk="0" hangingPunct="1">
              <a:lnSpc>
                <a:spcPct val="100000"/>
              </a:lnSpc>
              <a:spcBef>
                <a:spcPts val="0"/>
              </a:spcBef>
              <a:spcAft>
                <a:spcPts val="0"/>
              </a:spcAft>
              <a:buClrTx/>
              <a:buSzTx/>
              <a:buFontTx/>
              <a:buNone/>
              <a:tabLst/>
            </a:pPr>
            <a:r>
              <a:rPr lang="en-US"/>
              <a:t>Click to edit Master text styles</a:t>
            </a:r>
          </a:p>
        </p:txBody>
      </p:sp>
    </p:spTree>
    <p:custDataLst>
      <p:tags r:id="rId1"/>
    </p:custDataLst>
    <p:extLst>
      <p:ext uri="{BB962C8B-B14F-4D97-AF65-F5344CB8AC3E}">
        <p14:creationId xmlns:p14="http://schemas.microsoft.com/office/powerpoint/2010/main" val="134066151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F765975-A351-42C2-A247-B41DB5844E41}" type="datetimeFigureOut">
              <a:rPr lang="en-US" smtClean="0">
                <a:solidFill>
                  <a:prstClr val="black">
                    <a:tint val="75000"/>
                  </a:prstClr>
                </a:solidFill>
              </a:rPr>
              <a:pPr/>
              <a:t>2/28/2019</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0277545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3" name="Content Placeholder 2"/>
          <p:cNvSpPr>
            <a:spLocks noGrp="1"/>
          </p:cNvSpPr>
          <p:nvPr>
            <p:ph idx="1"/>
          </p:nvPr>
        </p:nvSpPr>
        <p:spPr>
          <a:xfrm>
            <a:off x="466725" y="1716088"/>
            <a:ext cx="8215853" cy="45974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BBAE9533-F338-423B-8F26-CA0037D0F6DC}" type="datetime1">
              <a:rPr lang="de-DE" smtClean="0">
                <a:solidFill>
                  <a:srgbClr val="000000"/>
                </a:solidFill>
              </a:rPr>
              <a:pPr/>
              <a:t>28.02.2019</a:t>
            </a:fld>
            <a:endParaRPr lang="en-US" dirty="0">
              <a:solidFill>
                <a:srgbClr val="000000"/>
              </a:solidFill>
            </a:endParaRPr>
          </a:p>
        </p:txBody>
      </p:sp>
      <p:sp>
        <p:nvSpPr>
          <p:cNvPr id="6"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a:solidFill>
                  <a:srgbClr val="000000"/>
                </a:solidFill>
              </a:rPr>
              <a:t>Carl Zeiss Microscopy</a:t>
            </a:r>
            <a:endParaRPr lang="en-US" dirty="0">
              <a:solidFill>
                <a:srgbClr val="000000"/>
              </a:solidFill>
            </a:endParaRPr>
          </a:p>
        </p:txBody>
      </p:sp>
    </p:spTree>
    <p:custDataLst>
      <p:tags r:id="rId1"/>
    </p:custDataLst>
    <p:extLst>
      <p:ext uri="{BB962C8B-B14F-4D97-AF65-F5344CB8AC3E}">
        <p14:creationId xmlns:p14="http://schemas.microsoft.com/office/powerpoint/2010/main" val="359263238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Image as Illustra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3" name="Content Placeholder 2"/>
          <p:cNvSpPr>
            <a:spLocks noGrp="1"/>
          </p:cNvSpPr>
          <p:nvPr>
            <p:ph idx="1"/>
          </p:nvPr>
        </p:nvSpPr>
        <p:spPr>
          <a:xfrm>
            <a:off x="466725" y="1716088"/>
            <a:ext cx="5726113" cy="4597399"/>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D965AF42-9FDB-4D28-B6BC-72D3863B5C93}" type="datetime1">
              <a:rPr lang="de-DE" smtClean="0">
                <a:solidFill>
                  <a:srgbClr val="000000"/>
                </a:solidFill>
              </a:rPr>
              <a:pPr/>
              <a:t>28.02.2019</a:t>
            </a:fld>
            <a:endParaRPr lang="en-US" dirty="0">
              <a:solidFill>
                <a:srgbClr val="000000"/>
              </a:solidFill>
            </a:endParaRPr>
          </a:p>
        </p:txBody>
      </p:sp>
      <p:sp>
        <p:nvSpPr>
          <p:cNvPr id="6"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a:solidFill>
                  <a:srgbClr val="000000"/>
                </a:solidFill>
              </a:rPr>
              <a:t>Carl Zeiss Microscopy</a:t>
            </a:r>
            <a:endParaRPr lang="en-US" dirty="0">
              <a:solidFill>
                <a:srgbClr val="000000"/>
              </a:solidFill>
            </a:endParaRPr>
          </a:p>
        </p:txBody>
      </p:sp>
    </p:spTree>
    <p:custDataLst>
      <p:tags r:id="rId1"/>
    </p:custDataLst>
    <p:extLst>
      <p:ext uri="{BB962C8B-B14F-4D97-AF65-F5344CB8AC3E}">
        <p14:creationId xmlns:p14="http://schemas.microsoft.com/office/powerpoint/2010/main" val="178038008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Workflow">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3" name="Content Placeholder 2"/>
          <p:cNvSpPr>
            <a:spLocks noGrp="1"/>
          </p:cNvSpPr>
          <p:nvPr>
            <p:ph idx="1"/>
          </p:nvPr>
        </p:nvSpPr>
        <p:spPr>
          <a:xfrm>
            <a:off x="466725" y="1716088"/>
            <a:ext cx="8215853" cy="4597399"/>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B0055878-0C00-4B29-AB3C-BF276536C608}" type="datetime1">
              <a:rPr lang="de-DE" smtClean="0">
                <a:solidFill>
                  <a:srgbClr val="000000"/>
                </a:solidFill>
              </a:rPr>
              <a:pPr/>
              <a:t>28.02.2019</a:t>
            </a:fld>
            <a:endParaRPr lang="en-US" dirty="0">
              <a:solidFill>
                <a:srgbClr val="000000"/>
              </a:solidFill>
            </a:endParaRPr>
          </a:p>
        </p:txBody>
      </p:sp>
      <p:sp>
        <p:nvSpPr>
          <p:cNvPr id="6"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a:solidFill>
                  <a:srgbClr val="000000"/>
                </a:solidFill>
              </a:rPr>
              <a:t>Carl Zeiss Microscopy</a:t>
            </a:r>
            <a:endParaRPr lang="en-US" dirty="0">
              <a:solidFill>
                <a:srgbClr val="000000"/>
              </a:solidFill>
            </a:endParaRPr>
          </a:p>
        </p:txBody>
      </p:sp>
      <p:sp>
        <p:nvSpPr>
          <p:cNvPr id="9" name="tk_3"/>
          <p:cNvSpPr>
            <a:spLocks noChangeArrowheads="1"/>
          </p:cNvSpPr>
          <p:nvPr userDrawn="1">
            <p:custDataLst>
              <p:tags r:id="rId2"/>
            </p:custDataLst>
          </p:nvPr>
        </p:nvSpPr>
        <p:spPr bwMode="auto">
          <a:xfrm rot="16200000">
            <a:off x="-320675" y="585788"/>
            <a:ext cx="993775" cy="358775"/>
          </a:xfrm>
          <a:prstGeom prst="rect">
            <a:avLst/>
          </a:prstGeom>
          <a:solidFill>
            <a:srgbClr val="0000BE"/>
          </a:solidFill>
          <a:ln>
            <a:noFill/>
          </a:ln>
          <a:effectLst/>
          <a:extLst/>
        </p:spPr>
        <p:txBody>
          <a:bodyPr wrap="none" lIns="72000" tIns="73605" rIns="72000" bIns="73605" anchor="ctr"/>
          <a:lstStyle/>
          <a:p>
            <a:pPr algn="ctr" defTabSz="935038" eaLnBrk="0" fontAlgn="base" hangingPunct="0">
              <a:spcBef>
                <a:spcPct val="0"/>
              </a:spcBef>
              <a:spcAft>
                <a:spcPct val="0"/>
              </a:spcAft>
            </a:pPr>
            <a:r>
              <a:rPr lang="de-DE" sz="1400" dirty="0">
                <a:solidFill>
                  <a:srgbClr val="FFFFFF"/>
                </a:solidFill>
              </a:rPr>
              <a:t>Workflow</a:t>
            </a:r>
          </a:p>
        </p:txBody>
      </p:sp>
    </p:spTree>
    <p:custDataLst>
      <p:tags r:id="rId1"/>
    </p:custDataLst>
    <p:extLst>
      <p:ext uri="{BB962C8B-B14F-4D97-AF65-F5344CB8AC3E}">
        <p14:creationId xmlns:p14="http://schemas.microsoft.com/office/powerpoint/2010/main" val="60624511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Exerci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3" name="Content Placeholder 2"/>
          <p:cNvSpPr>
            <a:spLocks noGrp="1"/>
          </p:cNvSpPr>
          <p:nvPr>
            <p:ph idx="1"/>
          </p:nvPr>
        </p:nvSpPr>
        <p:spPr>
          <a:xfrm>
            <a:off x="466725" y="1716089"/>
            <a:ext cx="5726113" cy="4597399"/>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8F265FEB-A022-4B75-BD4C-83EC5994B913}" type="datetime1">
              <a:rPr lang="de-DE" smtClean="0">
                <a:solidFill>
                  <a:srgbClr val="000000"/>
                </a:solidFill>
              </a:rPr>
              <a:pPr/>
              <a:t>28.02.2019</a:t>
            </a:fld>
            <a:endParaRPr lang="en-US" dirty="0">
              <a:solidFill>
                <a:srgbClr val="000000"/>
              </a:solidFill>
            </a:endParaRPr>
          </a:p>
        </p:txBody>
      </p:sp>
      <p:sp>
        <p:nvSpPr>
          <p:cNvPr id="6"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a:solidFill>
                  <a:srgbClr val="000000"/>
                </a:solidFill>
              </a:rPr>
              <a:t>Carl Zeiss Microscopy</a:t>
            </a:r>
            <a:endParaRPr lang="en-US" dirty="0">
              <a:solidFill>
                <a:srgbClr val="000000"/>
              </a:solidFill>
            </a:endParaRPr>
          </a:p>
        </p:txBody>
      </p:sp>
      <p:sp>
        <p:nvSpPr>
          <p:cNvPr id="10" name="Text Placeholder 9"/>
          <p:cNvSpPr>
            <a:spLocks noGrp="1"/>
          </p:cNvSpPr>
          <p:nvPr>
            <p:ph type="body" sz="quarter" idx="13"/>
          </p:nvPr>
        </p:nvSpPr>
        <p:spPr>
          <a:xfrm>
            <a:off x="6192838" y="1716088"/>
            <a:ext cx="2501900" cy="4597399"/>
          </a:xfrm>
          <a:solidFill>
            <a:schemeClr val="bg1">
              <a:lumMod val="85000"/>
            </a:schemeClr>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k_3"/>
          <p:cNvSpPr>
            <a:spLocks noChangeArrowheads="1"/>
          </p:cNvSpPr>
          <p:nvPr userDrawn="1">
            <p:custDataLst>
              <p:tags r:id="rId2"/>
            </p:custDataLst>
          </p:nvPr>
        </p:nvSpPr>
        <p:spPr bwMode="auto">
          <a:xfrm rot="16200000">
            <a:off x="-320675" y="585788"/>
            <a:ext cx="993775" cy="358775"/>
          </a:xfrm>
          <a:prstGeom prst="rect">
            <a:avLst/>
          </a:prstGeom>
          <a:solidFill>
            <a:srgbClr val="92D050"/>
          </a:solidFill>
          <a:ln>
            <a:noFill/>
          </a:ln>
          <a:effectLst/>
          <a:extLst/>
        </p:spPr>
        <p:txBody>
          <a:bodyPr wrap="none" lIns="72000" tIns="73605" rIns="72000" bIns="73605" anchor="ctr"/>
          <a:lstStyle/>
          <a:p>
            <a:pPr algn="ctr" defTabSz="935038" eaLnBrk="0" fontAlgn="base" hangingPunct="0">
              <a:spcBef>
                <a:spcPct val="0"/>
              </a:spcBef>
              <a:spcAft>
                <a:spcPct val="0"/>
              </a:spcAft>
            </a:pPr>
            <a:r>
              <a:rPr lang="de-DE" sz="1400" dirty="0" err="1">
                <a:solidFill>
                  <a:srgbClr val="FFFFFF"/>
                </a:solidFill>
              </a:rPr>
              <a:t>Exercise</a:t>
            </a:r>
            <a:endParaRPr lang="de-DE" sz="1400" dirty="0">
              <a:solidFill>
                <a:srgbClr val="FFFFFF"/>
              </a:solidFill>
            </a:endParaRPr>
          </a:p>
        </p:txBody>
      </p:sp>
    </p:spTree>
    <p:custDataLst>
      <p:tags r:id="rId1"/>
    </p:custDataLst>
    <p:extLst>
      <p:ext uri="{BB962C8B-B14F-4D97-AF65-F5344CB8AC3E}">
        <p14:creationId xmlns:p14="http://schemas.microsoft.com/office/powerpoint/2010/main" val="258504552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ext &amp; Screensho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3" name="Content Placeholder 2"/>
          <p:cNvSpPr>
            <a:spLocks noGrp="1"/>
          </p:cNvSpPr>
          <p:nvPr>
            <p:ph idx="1"/>
          </p:nvPr>
        </p:nvSpPr>
        <p:spPr>
          <a:xfrm>
            <a:off x="5580114" y="1716088"/>
            <a:ext cx="3102467" cy="4592637"/>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C82CD1A4-6279-460D-8B64-00481C4ECA9D}" type="datetime1">
              <a:rPr lang="de-DE" smtClean="0">
                <a:solidFill>
                  <a:srgbClr val="000000"/>
                </a:solidFill>
              </a:rPr>
              <a:pPr/>
              <a:t>28.02.2019</a:t>
            </a:fld>
            <a:endParaRPr lang="en-US" dirty="0">
              <a:solidFill>
                <a:srgbClr val="000000"/>
              </a:solidFill>
            </a:endParaRPr>
          </a:p>
        </p:txBody>
      </p:sp>
      <p:sp>
        <p:nvSpPr>
          <p:cNvPr id="6"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a:solidFill>
                  <a:srgbClr val="000000"/>
                </a:solidFill>
              </a:rPr>
              <a:t>Carl Zeiss Microscopy</a:t>
            </a:r>
            <a:endParaRPr lang="en-US" dirty="0">
              <a:solidFill>
                <a:srgbClr val="000000"/>
              </a:solidFill>
            </a:endParaRPr>
          </a:p>
        </p:txBody>
      </p:sp>
    </p:spTree>
    <p:custDataLst>
      <p:tags r:id="rId1"/>
    </p:custDataLst>
    <p:extLst>
      <p:ext uri="{BB962C8B-B14F-4D97-AF65-F5344CB8AC3E}">
        <p14:creationId xmlns:p14="http://schemas.microsoft.com/office/powerpoint/2010/main" val="303699310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p:spPr>
        <p:txBody>
          <a:bodyPr/>
          <a:lstStyle>
            <a:lvl1pPr algn="l">
              <a:defRPr sz="4000" b="1" cap="all"/>
            </a:lvl1pPr>
          </a:lstStyle>
          <a:p>
            <a:r>
              <a:rPr lang="en-US" noProof="0"/>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noProof="0"/>
              <a:t>Click to edit Master text styles</a:t>
            </a:r>
          </a:p>
        </p:txBody>
      </p:sp>
      <p:sp>
        <p:nvSpPr>
          <p:cNvPr id="5"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4A7AF118-203A-4E06-B15D-A9AC8741FAB6}" type="datetime1">
              <a:rPr lang="de-DE" smtClean="0">
                <a:solidFill>
                  <a:srgbClr val="000000"/>
                </a:solidFill>
              </a:rPr>
              <a:pPr/>
              <a:t>28.02.2019</a:t>
            </a:fld>
            <a:endParaRPr lang="en-US" dirty="0">
              <a:solidFill>
                <a:srgbClr val="000000"/>
              </a:solidFill>
            </a:endParaRPr>
          </a:p>
        </p:txBody>
      </p:sp>
      <p:sp>
        <p:nvSpPr>
          <p:cNvPr id="6"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a:solidFill>
                  <a:srgbClr val="000000"/>
                </a:solidFill>
              </a:rPr>
              <a:t>Carl Zeiss Microscopy</a:t>
            </a:r>
            <a:endParaRPr lang="en-US" dirty="0">
              <a:solidFill>
                <a:srgbClr val="000000"/>
              </a:solidFill>
            </a:endParaRPr>
          </a:p>
        </p:txBody>
      </p:sp>
    </p:spTree>
    <p:custDataLst>
      <p:tags r:id="rId1"/>
    </p:custDataLst>
    <p:extLst>
      <p:ext uri="{BB962C8B-B14F-4D97-AF65-F5344CB8AC3E}">
        <p14:creationId xmlns:p14="http://schemas.microsoft.com/office/powerpoint/2010/main" val="265310681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6"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669FA76B-D91F-4472-A5E2-9B0CF344F9BD}" type="datetime1">
              <a:rPr lang="de-DE" smtClean="0">
                <a:solidFill>
                  <a:srgbClr val="000000"/>
                </a:solidFill>
              </a:rPr>
              <a:pPr/>
              <a:t>28.02.2019</a:t>
            </a:fld>
            <a:endParaRPr lang="en-US" dirty="0">
              <a:solidFill>
                <a:srgbClr val="000000"/>
              </a:solidFill>
            </a:endParaRPr>
          </a:p>
        </p:txBody>
      </p:sp>
      <p:sp>
        <p:nvSpPr>
          <p:cNvPr id="7"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a:solidFill>
                  <a:srgbClr val="000000"/>
                </a:solidFill>
              </a:rPr>
              <a:t>Carl Zeiss Microscopy</a:t>
            </a:r>
            <a:endParaRPr lang="en-US" dirty="0">
              <a:solidFill>
                <a:srgbClr val="000000"/>
              </a:solidFill>
            </a:endParaRPr>
          </a:p>
        </p:txBody>
      </p:sp>
    </p:spTree>
    <p:custDataLst>
      <p:tags r:id="rId1"/>
    </p:custDataLst>
    <p:extLst>
      <p:ext uri="{BB962C8B-B14F-4D97-AF65-F5344CB8AC3E}">
        <p14:creationId xmlns:p14="http://schemas.microsoft.com/office/powerpoint/2010/main" val="153639749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8"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9AFCCB12-3685-45C8-9535-0966FE46B189}" type="datetime1">
              <a:rPr lang="de-DE" smtClean="0">
                <a:solidFill>
                  <a:srgbClr val="000000"/>
                </a:solidFill>
              </a:rPr>
              <a:pPr/>
              <a:t>28.02.2019</a:t>
            </a:fld>
            <a:endParaRPr lang="en-US" dirty="0">
              <a:solidFill>
                <a:srgbClr val="000000"/>
              </a:solidFill>
            </a:endParaRPr>
          </a:p>
        </p:txBody>
      </p:sp>
      <p:sp>
        <p:nvSpPr>
          <p:cNvPr id="9"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10"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a:solidFill>
                  <a:srgbClr val="000000"/>
                </a:solidFill>
              </a:rPr>
              <a:t>Carl Zeiss Microscopy</a:t>
            </a:r>
            <a:endParaRPr lang="en-US" dirty="0">
              <a:solidFill>
                <a:srgbClr val="000000"/>
              </a:solidFill>
            </a:endParaRPr>
          </a:p>
        </p:txBody>
      </p:sp>
    </p:spTree>
    <p:custDataLst>
      <p:tags r:id="rId1"/>
    </p:custDataLst>
    <p:extLst>
      <p:ext uri="{BB962C8B-B14F-4D97-AF65-F5344CB8AC3E}">
        <p14:creationId xmlns:p14="http://schemas.microsoft.com/office/powerpoint/2010/main" val="257458874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Last Slide Standard">
    <p:spTree>
      <p:nvGrpSpPr>
        <p:cNvPr id="1" name=""/>
        <p:cNvGrpSpPr/>
        <p:nvPr/>
      </p:nvGrpSpPr>
      <p:grpSpPr>
        <a:xfrm>
          <a:off x="0" y="0"/>
          <a:ext cx="0" cy="0"/>
          <a:chOff x="0" y="0"/>
          <a:chExt cx="0" cy="0"/>
        </a:xfrm>
      </p:grpSpPr>
      <p:sp>
        <p:nvSpPr>
          <p:cNvPr id="7" name="Rectangle 6"/>
          <p:cNvSpPr/>
          <p:nvPr userDrawn="1"/>
        </p:nvSpPr>
        <p:spPr bwMode="auto">
          <a:xfrm>
            <a:off x="0" y="-10779"/>
            <a:ext cx="9144000" cy="6868779"/>
          </a:xfrm>
          <a:prstGeom prst="rect">
            <a:avLst/>
          </a:prstGeom>
          <a:solidFill>
            <a:srgbClr val="FFFFFD"/>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pic>
        <p:nvPicPr>
          <p:cNvPr id="6" name="Picture 48" descr="Logo_mit_Claim_transp"/>
          <p:cNvPicPr>
            <a:picLocks noChangeAspect="1" noChangeArrowheads="1"/>
          </p:cNvPicPr>
          <p:nvPr userDrawn="1">
            <p:custDataLst>
              <p:tags r:id="rId2"/>
            </p:custDataLst>
          </p:nvPr>
        </p:nvPicPr>
        <p:blipFill>
          <a:blip r:embed="rId4" cstate="print">
            <a:extLst>
              <a:ext uri="{28A0092B-C50C-407E-A947-70E740481C1C}">
                <a14:useLocalDpi xmlns:a14="http://schemas.microsoft.com/office/drawing/2010/main" val="0"/>
              </a:ext>
            </a:extLst>
          </a:blip>
          <a:srcRect/>
          <a:stretch>
            <a:fillRect/>
          </a:stretch>
        </p:blipFill>
        <p:spPr bwMode="auto">
          <a:xfrm>
            <a:off x="3416302" y="2193925"/>
            <a:ext cx="2308225" cy="1949451"/>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63705888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Last Slide Animated">
    <p:spTree>
      <p:nvGrpSpPr>
        <p:cNvPr id="1" name=""/>
        <p:cNvGrpSpPr/>
        <p:nvPr/>
      </p:nvGrpSpPr>
      <p:grpSpPr>
        <a:xfrm>
          <a:off x="0" y="0"/>
          <a:ext cx="0" cy="0"/>
          <a:chOff x="0" y="0"/>
          <a:chExt cx="0" cy="0"/>
        </a:xfrm>
      </p:grpSpPr>
      <p:sp>
        <p:nvSpPr>
          <p:cNvPr id="8" name="Rectangle 7"/>
          <p:cNvSpPr/>
          <p:nvPr userDrawn="1"/>
        </p:nvSpPr>
        <p:spPr bwMode="auto">
          <a:xfrm>
            <a:off x="0" y="-10779"/>
            <a:ext cx="9144000" cy="6868779"/>
          </a:xfrm>
          <a:prstGeom prst="rect">
            <a:avLst/>
          </a:prstGeom>
          <a:solidFill>
            <a:srgbClr val="FFFFFD"/>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pic>
        <p:nvPicPr>
          <p:cNvPr id="5" name="Picture 4" descr="Logo_mit_Claim_transp"/>
          <p:cNvPicPr>
            <a:picLocks noChangeAspect="1" noChangeArrowheads="1"/>
          </p:cNvPicPr>
          <p:nvPr userDrawn="1">
            <p:custDataLst>
              <p:tags r:id="rId2"/>
            </p:custDataLst>
          </p:nvPr>
        </p:nvPicPr>
        <p:blipFill rotWithShape="1">
          <a:blip r:embed="rId6" cstate="print">
            <a:extLst>
              <a:ext uri="{28A0092B-C50C-407E-A947-70E740481C1C}">
                <a14:useLocalDpi xmlns:a14="http://schemas.microsoft.com/office/drawing/2010/main" val="0"/>
              </a:ext>
            </a:extLst>
          </a:blip>
          <a:srcRect b="18414"/>
          <a:stretch/>
        </p:blipFill>
        <p:spPr bwMode="gray">
          <a:xfrm>
            <a:off x="3417888" y="2454276"/>
            <a:ext cx="2311050" cy="1593850"/>
          </a:xfrm>
          <a:prstGeom prst="rect">
            <a:avLst/>
          </a:prstGeom>
          <a:noFill/>
          <a:ln>
            <a:noFill/>
          </a:ln>
        </p:spPr>
      </p:pic>
      <p:pic>
        <p:nvPicPr>
          <p:cNvPr id="6" name="Picture 2"/>
          <p:cNvPicPr>
            <a:picLocks noChangeAspect="1" noChangeArrowheads="1"/>
          </p:cNvPicPr>
          <p:nvPr userDrawn="1">
            <p:custDataLst>
              <p:tags r:id="rId3"/>
            </p:custDataLst>
          </p:nvPr>
        </p:nvPicPr>
        <p:blipFill rotWithShape="1">
          <a:blip r:embed="rId7" cstate="print">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val="0"/>
              </a:ext>
            </a:extLst>
          </a:blip>
          <a:srcRect b="31072"/>
          <a:stretch/>
        </p:blipFill>
        <p:spPr bwMode="gray">
          <a:xfrm>
            <a:off x="2999956" y="2100987"/>
            <a:ext cx="3146425" cy="18328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4" descr="Logo_mit_Claim_transp"/>
          <p:cNvPicPr>
            <a:picLocks noChangeAspect="1" noChangeArrowheads="1"/>
          </p:cNvPicPr>
          <p:nvPr userDrawn="1">
            <p:custDataLst>
              <p:tags r:id="rId4"/>
            </p:custDataLst>
          </p:nvPr>
        </p:nvPicPr>
        <p:blipFill rotWithShape="1">
          <a:blip r:embed="rId6" cstate="print">
            <a:extLst>
              <a:ext uri="{28A0092B-C50C-407E-A947-70E740481C1C}">
                <a14:useLocalDpi xmlns:a14="http://schemas.microsoft.com/office/drawing/2010/main" val="0"/>
              </a:ext>
            </a:extLst>
          </a:blip>
          <a:srcRect t="86010" b="-2587"/>
          <a:stretch/>
        </p:blipFill>
        <p:spPr bwMode="gray">
          <a:xfrm>
            <a:off x="3417888" y="4257092"/>
            <a:ext cx="2311050" cy="323850"/>
          </a:xfrm>
          <a:prstGeom prst="rect">
            <a:avLst/>
          </a:prstGeom>
          <a:noFill/>
          <a:ln>
            <a:noFill/>
          </a:ln>
        </p:spPr>
      </p:pic>
    </p:spTree>
    <p:custDataLst>
      <p:tags r:id="rId1"/>
    </p:custDataLst>
    <p:extLst>
      <p:ext uri="{BB962C8B-B14F-4D97-AF65-F5344CB8AC3E}">
        <p14:creationId xmlns:p14="http://schemas.microsoft.com/office/powerpoint/2010/main" val="355374308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4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xit" presetSubtype="0" fill="hold" nodeType="withEffect">
                                  <p:stCondLst>
                                    <p:cond delay="500"/>
                                  </p:stCondLst>
                                  <p:childTnLst>
                                    <p:animEffect transition="out" filter="fade">
                                      <p:cBhvr>
                                        <p:cTn id="12" dur="500"/>
                                        <p:tgtEl>
                                          <p:spTgt spid="6"/>
                                        </p:tgtEl>
                                      </p:cBhvr>
                                    </p:animEffect>
                                    <p:set>
                                      <p:cBhvr>
                                        <p:cTn id="13" dur="1" fill="hold">
                                          <p:stCondLst>
                                            <p:cond delay="499"/>
                                          </p:stCondLst>
                                        </p:cTn>
                                        <p:tgtEl>
                                          <p:spTgt spid="6"/>
                                        </p:tgtEl>
                                        <p:attrNameLst>
                                          <p:attrName>style.visibility</p:attrName>
                                        </p:attrNameLst>
                                      </p:cBhvr>
                                      <p:to>
                                        <p:strVal val="hidden"/>
                                      </p:to>
                                    </p:set>
                                  </p:childTnLst>
                                </p:cTn>
                              </p:par>
                              <p:par>
                                <p:cTn id="14" presetID="6" presetClass="emph" presetSubtype="0" decel="66000" fill="hold" nodeType="withEffect">
                                  <p:stCondLst>
                                    <p:cond delay="500"/>
                                  </p:stCondLst>
                                  <p:childTnLst>
                                    <p:animScale>
                                      <p:cBhvr>
                                        <p:cTn id="15" dur="3000" fill="hold"/>
                                        <p:tgtEl>
                                          <p:spTgt spid="6"/>
                                        </p:tgtEl>
                                      </p:cBhvr>
                                      <p:by x="115000" y="115000"/>
                                    </p:animScale>
                                  </p:childTnLst>
                                </p:cTn>
                              </p:par>
                              <p:par>
                                <p:cTn id="16" presetID="6" presetClass="emph" presetSubtype="0" decel="66000" fill="hold" nodeType="withEffect">
                                  <p:stCondLst>
                                    <p:cond delay="500"/>
                                  </p:stCondLst>
                                  <p:childTnLst>
                                    <p:animScale>
                                      <p:cBhvr>
                                        <p:cTn id="17" dur="3000" fill="hold"/>
                                        <p:tgtEl>
                                          <p:spTgt spid="5"/>
                                        </p:tgtEl>
                                      </p:cBhvr>
                                      <p:by x="115000" y="115000"/>
                                    </p:animScale>
                                  </p:childTnLst>
                                </p:cTn>
                              </p:par>
                              <p:par>
                                <p:cTn id="18" presetID="1" presetClass="entr" presetSubtype="0" fill="hold" nodeType="withEffect">
                                  <p:stCondLst>
                                    <p:cond delay="1700"/>
                                  </p:stCondLst>
                                  <p:childTnLst>
                                    <p:set>
                                      <p:cBhvr>
                                        <p:cTn id="19" dur="1" fill="hold">
                                          <p:stCondLst>
                                            <p:cond delay="0"/>
                                          </p:stCondLst>
                                        </p:cTn>
                                        <p:tgtEl>
                                          <p:spTgt spid="7"/>
                                        </p:tgtEl>
                                        <p:attrNameLst>
                                          <p:attrName>style.visibility</p:attrName>
                                        </p:attrNameLst>
                                      </p:cBhvr>
                                      <p:to>
                                        <p:strVal val="visible"/>
                                      </p:to>
                                    </p:set>
                                  </p:childTnLst>
                                </p:cTn>
                              </p:par>
                              <p:par>
                                <p:cTn id="20" presetID="6" presetClass="emph" presetSubtype="0" decel="93000" fill="hold" nodeType="withEffect">
                                  <p:stCondLst>
                                    <p:cond delay="1700"/>
                                  </p:stCondLst>
                                  <p:childTnLst>
                                    <p:animScale>
                                      <p:cBhvr>
                                        <p:cTn id="21" dur="1800" fill="hold"/>
                                        <p:tgtEl>
                                          <p:spTgt spid="7"/>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F765975-A351-42C2-A247-B41DB5844E41}" type="datetimeFigureOut">
              <a:rPr lang="en-US" smtClean="0">
                <a:solidFill>
                  <a:prstClr val="black">
                    <a:tint val="75000"/>
                  </a:prstClr>
                </a:solidFill>
              </a:rPr>
              <a:pPr/>
              <a:t>2/28/2019</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8272552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ivider Page">
    <p:spTree>
      <p:nvGrpSpPr>
        <p:cNvPr id="1" name=""/>
        <p:cNvGrpSpPr/>
        <p:nvPr/>
      </p:nvGrpSpPr>
      <p:grpSpPr>
        <a:xfrm>
          <a:off x="0" y="0"/>
          <a:ext cx="0" cy="0"/>
          <a:chOff x="0" y="0"/>
          <a:chExt cx="0" cy="0"/>
        </a:xfrm>
      </p:grpSpPr>
      <p:sp>
        <p:nvSpPr>
          <p:cNvPr id="15" name="Rectangle 14"/>
          <p:cNvSpPr/>
          <p:nvPr userDrawn="1"/>
        </p:nvSpPr>
        <p:spPr bwMode="gray">
          <a:xfrm>
            <a:off x="0" y="1"/>
            <a:ext cx="9144000" cy="6857999"/>
          </a:xfrm>
          <a:prstGeom prst="rect">
            <a:avLst/>
          </a:prstGeom>
          <a:solidFill>
            <a:srgbClr val="008B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de-DE" sz="1600" b="1" dirty="0">
              <a:solidFill>
                <a:srgbClr val="000000"/>
              </a:solidFill>
            </a:endParaRPr>
          </a:p>
        </p:txBody>
      </p:sp>
      <p:sp>
        <p:nvSpPr>
          <p:cNvPr id="2" name="Title 1"/>
          <p:cNvSpPr>
            <a:spLocks noGrp="1"/>
          </p:cNvSpPr>
          <p:nvPr>
            <p:ph type="ctrTitle"/>
          </p:nvPr>
        </p:nvSpPr>
        <p:spPr bwMode="gray">
          <a:xfrm>
            <a:off x="468313" y="1500188"/>
            <a:ext cx="6913562" cy="1244600"/>
          </a:xfrm>
          <a:noFill/>
        </p:spPr>
        <p:txBody>
          <a:bodyPr vert="horz" lIns="0" tIns="0" rIns="0" bIns="0" rtlCol="0" anchor="t" anchorCtr="0">
            <a:noAutofit/>
          </a:bodyPr>
          <a:lstStyle>
            <a:lvl1pPr>
              <a:lnSpc>
                <a:spcPct val="95000"/>
              </a:lnSpc>
              <a:spcAft>
                <a:spcPts val="0"/>
              </a:spcAft>
              <a:defRPr lang="de-DE" sz="5400" b="0" baseline="0" dirty="0">
                <a:solidFill>
                  <a:schemeClr val="bg1"/>
                </a:solidFill>
                <a:latin typeface="+mn-lt"/>
                <a:ea typeface="+mn-ea"/>
                <a:cs typeface="+mn-cs"/>
              </a:defRPr>
            </a:lvl1pPr>
          </a:lstStyle>
          <a:p>
            <a:pPr marL="0" lvl="0" indent="0">
              <a:lnSpc>
                <a:spcPct val="91000"/>
              </a:lnSpc>
              <a:spcBef>
                <a:spcPts val="0"/>
              </a:spcBef>
              <a:spcAft>
                <a:spcPts val="1200"/>
              </a:spcAft>
              <a:buFont typeface="Arial" pitchFamily="34" charset="0"/>
            </a:pPr>
            <a:r>
              <a:rPr lang="en-US"/>
              <a:t>Click to edit Master title style</a:t>
            </a:r>
            <a:endParaRPr lang="de-DE" dirty="0"/>
          </a:p>
        </p:txBody>
      </p:sp>
      <p:sp>
        <p:nvSpPr>
          <p:cNvPr id="3" name="Subtitle 2"/>
          <p:cNvSpPr>
            <a:spLocks noGrp="1"/>
          </p:cNvSpPr>
          <p:nvPr>
            <p:ph type="subTitle" idx="1"/>
          </p:nvPr>
        </p:nvSpPr>
        <p:spPr bwMode="gray">
          <a:xfrm>
            <a:off x="468313" y="2312528"/>
            <a:ext cx="6913562" cy="324384"/>
          </a:xfrm>
        </p:spPr>
        <p:txBody>
          <a:bodyPr lIns="36000" bIns="36000" anchor="b" anchorCtr="0">
            <a:noAutofit/>
          </a:bodyPr>
          <a:lstStyle>
            <a:lvl1pPr marL="0" indent="0" algn="l">
              <a:lnSpc>
                <a:spcPct val="91000"/>
              </a:lnSpc>
              <a:spcBef>
                <a:spcPts val="0"/>
              </a:spcBef>
              <a:spcAft>
                <a:spcPts val="1200"/>
              </a:spcAft>
              <a:buNone/>
              <a:defRPr sz="1800" b="1" baseline="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de-DE" dirty="0"/>
          </a:p>
        </p:txBody>
      </p:sp>
      <p:sp>
        <p:nvSpPr>
          <p:cNvPr id="24" name="Text Placeholder 23"/>
          <p:cNvSpPr>
            <a:spLocks noGrp="1"/>
          </p:cNvSpPr>
          <p:nvPr>
            <p:ph type="body" sz="quarter" idx="10" hasCustomPrompt="1"/>
          </p:nvPr>
        </p:nvSpPr>
        <p:spPr bwMode="gray">
          <a:xfrm>
            <a:off x="468313" y="2960688"/>
            <a:ext cx="973137" cy="973137"/>
          </a:xfrm>
        </p:spPr>
        <p:txBody>
          <a:bodyPr anchor="b" anchorCtr="0"/>
          <a:lstStyle>
            <a:lvl1pPr>
              <a:defRPr sz="5400">
                <a:solidFill>
                  <a:schemeClr val="bg1"/>
                </a:solidFill>
              </a:defRPr>
            </a:lvl1pPr>
            <a:lvl2pPr>
              <a:defRPr sz="5400" b="0">
                <a:solidFill>
                  <a:schemeClr val="bg1"/>
                </a:solidFill>
                <a:latin typeface="+mn-lt"/>
              </a:defRPr>
            </a:lvl2pPr>
            <a:lvl3pPr marL="0" indent="0">
              <a:defRPr/>
            </a:lvl3pPr>
          </a:lstStyle>
          <a:p>
            <a:pPr lvl="0"/>
            <a:r>
              <a:rPr lang="en-US" dirty="0"/>
              <a:t>#</a:t>
            </a:r>
          </a:p>
        </p:txBody>
      </p:sp>
      <p:sp>
        <p:nvSpPr>
          <p:cNvPr id="26" name="Text Placeholder 25"/>
          <p:cNvSpPr>
            <a:spLocks noGrp="1"/>
          </p:cNvSpPr>
          <p:nvPr>
            <p:ph type="body" sz="quarter" idx="11"/>
          </p:nvPr>
        </p:nvSpPr>
        <p:spPr bwMode="gray">
          <a:xfrm>
            <a:off x="468313" y="3933825"/>
            <a:ext cx="2160587" cy="2374900"/>
          </a:xfrm>
        </p:spPr>
        <p:txBody>
          <a:bodyPr lIns="36000"/>
          <a:lstStyle>
            <a:lvl1pPr>
              <a:lnSpc>
                <a:spcPct val="91000"/>
              </a:lnSpc>
              <a:spcBef>
                <a:spcPts val="0"/>
              </a:spcBef>
              <a:spcAft>
                <a:spcPts val="1200"/>
              </a:spcAft>
              <a:defRPr b="0">
                <a:solidFill>
                  <a:schemeClr val="bg1"/>
                </a:solidFill>
                <a:latin typeface="+mn-lt"/>
              </a:defRPr>
            </a:lvl1pPr>
            <a:lvl2pPr>
              <a:lnSpc>
                <a:spcPct val="91000"/>
              </a:lnSpc>
              <a:spcBef>
                <a:spcPts val="0"/>
              </a:spcBef>
              <a:spcAft>
                <a:spcPts val="1200"/>
              </a:spcAft>
              <a:defRPr b="0">
                <a:solidFill>
                  <a:schemeClr val="bg1"/>
                </a:solidFill>
                <a:latin typeface="+mn-lt"/>
              </a:defRPr>
            </a:lvl2pPr>
            <a:lvl3pPr>
              <a:lnSpc>
                <a:spcPct val="91000"/>
              </a:lnSpc>
              <a:spcBef>
                <a:spcPts val="0"/>
              </a:spcBef>
              <a:spcAft>
                <a:spcPts val="1200"/>
              </a:spcAft>
              <a:defRPr>
                <a:solidFill>
                  <a:schemeClr val="bg1"/>
                </a:solidFill>
              </a:defRPr>
            </a:lvl3pPr>
            <a:lvl4pPr>
              <a:lnSpc>
                <a:spcPct val="91000"/>
              </a:lnSpc>
              <a:spcBef>
                <a:spcPts val="0"/>
              </a:spcBef>
              <a:spcAft>
                <a:spcPts val="1200"/>
              </a:spcAft>
              <a:defRPr>
                <a:solidFill>
                  <a:schemeClr val="bg1"/>
                </a:solidFill>
              </a:defRPr>
            </a:lvl4pPr>
            <a:lvl5pPr>
              <a:lnSpc>
                <a:spcPct val="91000"/>
              </a:lnSpc>
              <a:spcBef>
                <a:spcPts val="0"/>
              </a:spcBef>
              <a:spcAft>
                <a:spcPts val="1200"/>
              </a:spcAft>
              <a:defRPr>
                <a:solidFill>
                  <a:schemeClr val="bg1"/>
                </a:solidFill>
              </a:defRPr>
            </a:lvl5pPr>
          </a:lstStyle>
          <a:p>
            <a:pPr lvl="0"/>
            <a:r>
              <a:rPr lang="en-US"/>
              <a:t>Click to edit Master text styles</a:t>
            </a:r>
          </a:p>
          <a:p>
            <a:pPr lvl="1"/>
            <a:r>
              <a:rPr lang="en-US"/>
              <a:t>Second level</a:t>
            </a:r>
          </a:p>
        </p:txBody>
      </p:sp>
      <p:sp>
        <p:nvSpPr>
          <p:cNvPr id="31" name="Text Placeholder 23"/>
          <p:cNvSpPr>
            <a:spLocks noGrp="1"/>
          </p:cNvSpPr>
          <p:nvPr>
            <p:ph type="body" sz="quarter" idx="12" hasCustomPrompt="1"/>
          </p:nvPr>
        </p:nvSpPr>
        <p:spPr bwMode="gray">
          <a:xfrm>
            <a:off x="2844800" y="2960688"/>
            <a:ext cx="973137" cy="973137"/>
          </a:xfrm>
        </p:spPr>
        <p:txBody>
          <a:bodyPr anchor="b" anchorCtr="0"/>
          <a:lstStyle>
            <a:lvl1pPr>
              <a:defRPr sz="5400">
                <a:solidFill>
                  <a:schemeClr val="bg1"/>
                </a:solidFill>
              </a:defRPr>
            </a:lvl1pPr>
            <a:lvl2pPr>
              <a:defRPr sz="5400" b="0">
                <a:solidFill>
                  <a:schemeClr val="bg1"/>
                </a:solidFill>
                <a:latin typeface="+mn-lt"/>
              </a:defRPr>
            </a:lvl2pPr>
            <a:lvl3pPr marL="0" indent="0">
              <a:defRPr/>
            </a:lvl3pPr>
          </a:lstStyle>
          <a:p>
            <a:pPr lvl="0"/>
            <a:r>
              <a:rPr lang="en-US" dirty="0"/>
              <a:t>#</a:t>
            </a:r>
          </a:p>
        </p:txBody>
      </p:sp>
      <p:sp>
        <p:nvSpPr>
          <p:cNvPr id="32" name="Text Placeholder 25"/>
          <p:cNvSpPr>
            <a:spLocks noGrp="1"/>
          </p:cNvSpPr>
          <p:nvPr>
            <p:ph type="body" sz="quarter" idx="13"/>
          </p:nvPr>
        </p:nvSpPr>
        <p:spPr bwMode="gray">
          <a:xfrm>
            <a:off x="2844800" y="3933825"/>
            <a:ext cx="2160587" cy="2374900"/>
          </a:xfrm>
        </p:spPr>
        <p:txBody>
          <a:bodyPr lIns="36000"/>
          <a:lstStyle>
            <a:lvl1pPr>
              <a:lnSpc>
                <a:spcPct val="91000"/>
              </a:lnSpc>
              <a:spcBef>
                <a:spcPts val="0"/>
              </a:spcBef>
              <a:spcAft>
                <a:spcPts val="1200"/>
              </a:spcAft>
              <a:defRPr b="0">
                <a:solidFill>
                  <a:schemeClr val="bg1"/>
                </a:solidFill>
                <a:latin typeface="+mn-lt"/>
              </a:defRPr>
            </a:lvl1pPr>
            <a:lvl2pPr>
              <a:lnSpc>
                <a:spcPct val="91000"/>
              </a:lnSpc>
              <a:spcBef>
                <a:spcPts val="0"/>
              </a:spcBef>
              <a:spcAft>
                <a:spcPts val="1200"/>
              </a:spcAft>
              <a:defRPr b="0">
                <a:solidFill>
                  <a:schemeClr val="bg1"/>
                </a:solidFill>
                <a:latin typeface="+mn-lt"/>
              </a:defRPr>
            </a:lvl2pPr>
            <a:lvl3pPr>
              <a:lnSpc>
                <a:spcPct val="91000"/>
              </a:lnSpc>
              <a:spcBef>
                <a:spcPts val="0"/>
              </a:spcBef>
              <a:spcAft>
                <a:spcPts val="1200"/>
              </a:spcAft>
              <a:defRPr>
                <a:solidFill>
                  <a:schemeClr val="bg1"/>
                </a:solidFill>
              </a:defRPr>
            </a:lvl3pPr>
            <a:lvl4pPr>
              <a:lnSpc>
                <a:spcPct val="91000"/>
              </a:lnSpc>
              <a:spcBef>
                <a:spcPts val="0"/>
              </a:spcBef>
              <a:spcAft>
                <a:spcPts val="1200"/>
              </a:spcAft>
              <a:defRPr>
                <a:solidFill>
                  <a:schemeClr val="bg1"/>
                </a:solidFill>
              </a:defRPr>
            </a:lvl4pPr>
            <a:lvl5pPr>
              <a:lnSpc>
                <a:spcPct val="91000"/>
              </a:lnSpc>
              <a:spcBef>
                <a:spcPts val="0"/>
              </a:spcBef>
              <a:spcAft>
                <a:spcPts val="1200"/>
              </a:spcAft>
              <a:defRPr>
                <a:solidFill>
                  <a:schemeClr val="bg1"/>
                </a:solidFill>
              </a:defRPr>
            </a:lvl5pPr>
          </a:lstStyle>
          <a:p>
            <a:pPr lvl="0"/>
            <a:r>
              <a:rPr lang="en-US"/>
              <a:t>Click to edit Master text styles</a:t>
            </a:r>
          </a:p>
          <a:p>
            <a:pPr lvl="1"/>
            <a:r>
              <a:rPr lang="en-US"/>
              <a:t>Second level</a:t>
            </a:r>
          </a:p>
        </p:txBody>
      </p:sp>
      <p:sp>
        <p:nvSpPr>
          <p:cNvPr id="33" name="Text Placeholder 23"/>
          <p:cNvSpPr>
            <a:spLocks noGrp="1"/>
          </p:cNvSpPr>
          <p:nvPr>
            <p:ph type="body" sz="quarter" idx="14" hasCustomPrompt="1"/>
          </p:nvPr>
        </p:nvSpPr>
        <p:spPr bwMode="gray">
          <a:xfrm>
            <a:off x="5223891" y="2960688"/>
            <a:ext cx="973137" cy="973137"/>
          </a:xfrm>
        </p:spPr>
        <p:txBody>
          <a:bodyPr anchor="b" anchorCtr="0"/>
          <a:lstStyle>
            <a:lvl1pPr>
              <a:defRPr sz="5400">
                <a:solidFill>
                  <a:schemeClr val="bg1"/>
                </a:solidFill>
              </a:defRPr>
            </a:lvl1pPr>
            <a:lvl2pPr>
              <a:defRPr sz="5400" b="0">
                <a:solidFill>
                  <a:schemeClr val="bg1"/>
                </a:solidFill>
                <a:latin typeface="+mn-lt"/>
              </a:defRPr>
            </a:lvl2pPr>
            <a:lvl3pPr marL="0" indent="0">
              <a:defRPr/>
            </a:lvl3pPr>
          </a:lstStyle>
          <a:p>
            <a:pPr lvl="0"/>
            <a:r>
              <a:rPr lang="en-US" dirty="0"/>
              <a:t>#</a:t>
            </a:r>
          </a:p>
        </p:txBody>
      </p:sp>
      <p:sp>
        <p:nvSpPr>
          <p:cNvPr id="34" name="Text Placeholder 25"/>
          <p:cNvSpPr>
            <a:spLocks noGrp="1"/>
          </p:cNvSpPr>
          <p:nvPr>
            <p:ph type="body" sz="quarter" idx="15"/>
          </p:nvPr>
        </p:nvSpPr>
        <p:spPr bwMode="gray">
          <a:xfrm>
            <a:off x="5223891" y="3933825"/>
            <a:ext cx="2160587" cy="2374900"/>
          </a:xfrm>
        </p:spPr>
        <p:txBody>
          <a:bodyPr lIns="36000"/>
          <a:lstStyle>
            <a:lvl1pPr>
              <a:lnSpc>
                <a:spcPct val="91000"/>
              </a:lnSpc>
              <a:spcBef>
                <a:spcPts val="0"/>
              </a:spcBef>
              <a:spcAft>
                <a:spcPts val="1200"/>
              </a:spcAft>
              <a:defRPr b="0">
                <a:solidFill>
                  <a:schemeClr val="bg1"/>
                </a:solidFill>
                <a:latin typeface="+mn-lt"/>
              </a:defRPr>
            </a:lvl1pPr>
            <a:lvl2pPr>
              <a:lnSpc>
                <a:spcPct val="91000"/>
              </a:lnSpc>
              <a:spcBef>
                <a:spcPts val="0"/>
              </a:spcBef>
              <a:spcAft>
                <a:spcPts val="1200"/>
              </a:spcAft>
              <a:defRPr b="0">
                <a:solidFill>
                  <a:schemeClr val="bg1"/>
                </a:solidFill>
                <a:latin typeface="+mn-lt"/>
              </a:defRPr>
            </a:lvl2pPr>
            <a:lvl3pPr>
              <a:lnSpc>
                <a:spcPct val="91000"/>
              </a:lnSpc>
              <a:spcBef>
                <a:spcPts val="0"/>
              </a:spcBef>
              <a:spcAft>
                <a:spcPts val="1200"/>
              </a:spcAft>
              <a:defRPr>
                <a:solidFill>
                  <a:schemeClr val="bg1"/>
                </a:solidFill>
              </a:defRPr>
            </a:lvl3pPr>
            <a:lvl4pPr>
              <a:lnSpc>
                <a:spcPct val="91000"/>
              </a:lnSpc>
              <a:spcBef>
                <a:spcPts val="0"/>
              </a:spcBef>
              <a:spcAft>
                <a:spcPts val="1200"/>
              </a:spcAft>
              <a:defRPr>
                <a:solidFill>
                  <a:schemeClr val="bg1"/>
                </a:solidFill>
              </a:defRPr>
            </a:lvl4pPr>
            <a:lvl5pPr>
              <a:lnSpc>
                <a:spcPct val="91000"/>
              </a:lnSpc>
              <a:spcBef>
                <a:spcPts val="0"/>
              </a:spcBef>
              <a:spcAft>
                <a:spcPts val="1200"/>
              </a:spcAft>
              <a:defRPr>
                <a:solidFill>
                  <a:schemeClr val="bg1"/>
                </a:solidFill>
              </a:defRPr>
            </a:lvl5pPr>
          </a:lstStyle>
          <a:p>
            <a:pPr lvl="0"/>
            <a:r>
              <a:rPr lang="en-US"/>
              <a:t>Click to edit Master text styles</a:t>
            </a:r>
          </a:p>
          <a:p>
            <a:pPr lvl="1"/>
            <a:r>
              <a:rPr lang="en-US"/>
              <a:t>Second level</a:t>
            </a:r>
          </a:p>
        </p:txBody>
      </p:sp>
    </p:spTree>
    <p:custDataLst>
      <p:tags r:id="rId1"/>
    </p:custDataLst>
    <p:extLst>
      <p:ext uri="{BB962C8B-B14F-4D97-AF65-F5344CB8AC3E}">
        <p14:creationId xmlns:p14="http://schemas.microsoft.com/office/powerpoint/2010/main" val="232662124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accel="30000" decel="70000"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1000" fill="hold"/>
                                        <p:tgtEl>
                                          <p:spTgt spid="15"/>
                                        </p:tgtEl>
                                        <p:attrNameLst>
                                          <p:attrName>ppt_x</p:attrName>
                                        </p:attrNameLst>
                                      </p:cBhvr>
                                      <p:tavLst>
                                        <p:tav tm="0">
                                          <p:val>
                                            <p:strVal val="#ppt_x"/>
                                          </p:val>
                                        </p:tav>
                                        <p:tav tm="100000">
                                          <p:val>
                                            <p:strVal val="#ppt_x"/>
                                          </p:val>
                                        </p:tav>
                                      </p:tavLst>
                                    </p:anim>
                                    <p:anim calcmode="lin" valueType="num">
                                      <p:cBhvr additive="base">
                                        <p:cTn id="8" dur="10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Chapter/Divider Page">
    <p:spTree>
      <p:nvGrpSpPr>
        <p:cNvPr id="1" name=""/>
        <p:cNvGrpSpPr/>
        <p:nvPr/>
      </p:nvGrpSpPr>
      <p:grpSpPr>
        <a:xfrm>
          <a:off x="0" y="0"/>
          <a:ext cx="0" cy="0"/>
          <a:chOff x="0" y="0"/>
          <a:chExt cx="0" cy="0"/>
        </a:xfrm>
      </p:grpSpPr>
      <p:sp>
        <p:nvSpPr>
          <p:cNvPr id="5" name="Rectangle 4"/>
          <p:cNvSpPr/>
          <p:nvPr userDrawn="1"/>
        </p:nvSpPr>
        <p:spPr bwMode="gray">
          <a:xfrm>
            <a:off x="0" y="1"/>
            <a:ext cx="9144000" cy="6857999"/>
          </a:xfrm>
          <a:prstGeom prst="rect">
            <a:avLst/>
          </a:prstGeom>
          <a:solidFill>
            <a:srgbClr val="008B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de-DE" sz="1600" b="1" dirty="0">
              <a:solidFill>
                <a:srgbClr val="000000"/>
              </a:solidFill>
            </a:endParaRPr>
          </a:p>
        </p:txBody>
      </p:sp>
      <p:sp>
        <p:nvSpPr>
          <p:cNvPr id="2" name="Title 1"/>
          <p:cNvSpPr>
            <a:spLocks noGrp="1"/>
          </p:cNvSpPr>
          <p:nvPr>
            <p:ph type="ctrTitle" hasCustomPrompt="1"/>
          </p:nvPr>
        </p:nvSpPr>
        <p:spPr bwMode="gray">
          <a:xfrm>
            <a:off x="468313" y="1716088"/>
            <a:ext cx="5724525" cy="3411537"/>
          </a:xfrm>
          <a:noFill/>
        </p:spPr>
        <p:txBody>
          <a:bodyPr vert="horz" lIns="0" tIns="0" rIns="0" bIns="108000" rtlCol="0" anchor="b" anchorCtr="0">
            <a:noAutofit/>
          </a:bodyPr>
          <a:lstStyle>
            <a:lvl1pPr>
              <a:defRPr lang="de-DE" sz="5400" b="0" dirty="0">
                <a:solidFill>
                  <a:schemeClr val="bg1"/>
                </a:solidFill>
                <a:latin typeface="+mn-lt"/>
                <a:ea typeface="+mn-ea"/>
                <a:cs typeface="+mn-cs"/>
              </a:defRPr>
            </a:lvl1pPr>
          </a:lstStyle>
          <a:p>
            <a:pPr marL="0" lvl="0" indent="0">
              <a:lnSpc>
                <a:spcPct val="91000"/>
              </a:lnSpc>
              <a:spcBef>
                <a:spcPts val="0"/>
              </a:spcBef>
              <a:spcAft>
                <a:spcPts val="1200"/>
              </a:spcAft>
              <a:buFont typeface="Arial" pitchFamily="34" charset="0"/>
            </a:pPr>
            <a:r>
              <a:rPr lang="en-US" dirty="0"/>
              <a:t>Insert </a:t>
            </a:r>
            <a:br>
              <a:rPr lang="en-US" dirty="0"/>
            </a:br>
            <a:r>
              <a:rPr lang="en-US" dirty="0"/>
              <a:t>Chapter-Title</a:t>
            </a:r>
            <a:endParaRPr lang="de-DE" dirty="0"/>
          </a:p>
        </p:txBody>
      </p:sp>
      <p:sp>
        <p:nvSpPr>
          <p:cNvPr id="3" name="Subtitle 2"/>
          <p:cNvSpPr>
            <a:spLocks noGrp="1"/>
          </p:cNvSpPr>
          <p:nvPr>
            <p:ph type="subTitle" idx="1" hasCustomPrompt="1"/>
          </p:nvPr>
        </p:nvSpPr>
        <p:spPr bwMode="gray">
          <a:xfrm>
            <a:off x="468313" y="5127625"/>
            <a:ext cx="5724525" cy="323849"/>
          </a:xfrm>
        </p:spPr>
        <p:txBody>
          <a:bodyPr lIns="0" bIns="36000" anchor="b" anchorCtr="0">
            <a:noAutofit/>
          </a:bodyPr>
          <a:lstStyle>
            <a:lvl1pPr marL="0" indent="0" algn="l">
              <a:lnSpc>
                <a:spcPct val="91000"/>
              </a:lnSpc>
              <a:spcBef>
                <a:spcPts val="0"/>
              </a:spcBef>
              <a:spcAft>
                <a:spcPts val="1200"/>
              </a:spcAft>
              <a:buNone/>
              <a:defRPr sz="1800" b="1" baseline="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Insert Chapter #</a:t>
            </a:r>
            <a:endParaRPr lang="de-DE" dirty="0"/>
          </a:p>
        </p:txBody>
      </p:sp>
    </p:spTree>
    <p:custDataLst>
      <p:tags r:id="rId1"/>
    </p:custDataLst>
    <p:extLst>
      <p:ext uri="{BB962C8B-B14F-4D97-AF65-F5344CB8AC3E}">
        <p14:creationId xmlns:p14="http://schemas.microsoft.com/office/powerpoint/2010/main" val="81999070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accel="30000" decel="7000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ppt_x"/>
                                          </p:val>
                                        </p:tav>
                                        <p:tav tm="100000">
                                          <p:val>
                                            <p:strVal val="#ppt_x"/>
                                          </p:val>
                                        </p:tav>
                                      </p:tavLst>
                                    </p:anim>
                                    <p:anim calcmode="lin" valueType="num">
                                      <p:cBhvr additive="base">
                                        <p:cTn id="8" dur="10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urse Completion-pages">
    <p:spTree>
      <p:nvGrpSpPr>
        <p:cNvPr id="1" name=""/>
        <p:cNvGrpSpPr/>
        <p:nvPr/>
      </p:nvGrpSpPr>
      <p:grpSpPr>
        <a:xfrm>
          <a:off x="0" y="0"/>
          <a:ext cx="0" cy="0"/>
          <a:chOff x="0" y="0"/>
          <a:chExt cx="0" cy="0"/>
        </a:xfrm>
      </p:grpSpPr>
      <p:sp>
        <p:nvSpPr>
          <p:cNvPr id="5" name="Rectangle 4"/>
          <p:cNvSpPr/>
          <p:nvPr userDrawn="1"/>
        </p:nvSpPr>
        <p:spPr bwMode="gray">
          <a:xfrm>
            <a:off x="0" y="1"/>
            <a:ext cx="9144000" cy="6857999"/>
          </a:xfrm>
          <a:prstGeom prst="rect">
            <a:avLst/>
          </a:prstGeom>
          <a:solidFill>
            <a:srgbClr val="008B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de-DE" sz="1600" b="1" dirty="0">
              <a:solidFill>
                <a:srgbClr val="000000"/>
              </a:solidFill>
            </a:endParaRPr>
          </a:p>
        </p:txBody>
      </p:sp>
      <p:sp>
        <p:nvSpPr>
          <p:cNvPr id="7" name="Ellipse 333"/>
          <p:cNvSpPr/>
          <p:nvPr userDrawn="1"/>
        </p:nvSpPr>
        <p:spPr>
          <a:xfrm>
            <a:off x="3963818" y="1140352"/>
            <a:ext cx="1168740" cy="116874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lnSpc>
                <a:spcPct val="90000"/>
              </a:lnSpc>
              <a:spcBef>
                <a:spcPts val="600"/>
              </a:spcBef>
              <a:spcAft>
                <a:spcPts val="600"/>
              </a:spcAft>
            </a:pPr>
            <a:endParaRPr lang="de-DE" sz="1600" b="1" dirty="0" err="1">
              <a:solidFill>
                <a:srgbClr val="FFFFFF"/>
              </a:solidFill>
            </a:endParaRPr>
          </a:p>
        </p:txBody>
      </p:sp>
      <p:sp>
        <p:nvSpPr>
          <p:cNvPr id="8" name="Freeform 6"/>
          <p:cNvSpPr>
            <a:spLocks/>
          </p:cNvSpPr>
          <p:nvPr userDrawn="1"/>
        </p:nvSpPr>
        <p:spPr bwMode="auto">
          <a:xfrm rot="686203">
            <a:off x="4251330" y="1300164"/>
            <a:ext cx="644353" cy="765049"/>
          </a:xfrm>
          <a:custGeom>
            <a:avLst/>
            <a:gdLst/>
            <a:ahLst/>
            <a:cxnLst/>
            <a:rect l="l" t="t" r="r" b="b"/>
            <a:pathLst>
              <a:path w="644353" h="765049">
                <a:moveTo>
                  <a:pt x="132169" y="435937"/>
                </a:moveTo>
                <a:lnTo>
                  <a:pt x="220239" y="734465"/>
                </a:lnTo>
                <a:lnTo>
                  <a:pt x="208329" y="737581"/>
                </a:lnTo>
                <a:lnTo>
                  <a:pt x="195774" y="740775"/>
                </a:lnTo>
                <a:lnTo>
                  <a:pt x="184283" y="744182"/>
                </a:lnTo>
                <a:lnTo>
                  <a:pt x="173856" y="746950"/>
                </a:lnTo>
                <a:lnTo>
                  <a:pt x="164493" y="749292"/>
                </a:lnTo>
                <a:lnTo>
                  <a:pt x="156194" y="751635"/>
                </a:lnTo>
                <a:lnTo>
                  <a:pt x="148746" y="753764"/>
                </a:lnTo>
                <a:lnTo>
                  <a:pt x="142149" y="755254"/>
                </a:lnTo>
                <a:lnTo>
                  <a:pt x="136404" y="756958"/>
                </a:lnTo>
                <a:lnTo>
                  <a:pt x="131510" y="758448"/>
                </a:lnTo>
                <a:lnTo>
                  <a:pt x="127254" y="759513"/>
                </a:lnTo>
                <a:lnTo>
                  <a:pt x="123423" y="760365"/>
                </a:lnTo>
                <a:lnTo>
                  <a:pt x="120444" y="761216"/>
                </a:lnTo>
                <a:lnTo>
                  <a:pt x="118103" y="761855"/>
                </a:lnTo>
                <a:lnTo>
                  <a:pt x="115975" y="762281"/>
                </a:lnTo>
                <a:lnTo>
                  <a:pt x="114698" y="762707"/>
                </a:lnTo>
                <a:lnTo>
                  <a:pt x="113421" y="763346"/>
                </a:lnTo>
                <a:lnTo>
                  <a:pt x="112570" y="763559"/>
                </a:lnTo>
                <a:lnTo>
                  <a:pt x="112145" y="763559"/>
                </a:lnTo>
                <a:lnTo>
                  <a:pt x="111932" y="763772"/>
                </a:lnTo>
                <a:lnTo>
                  <a:pt x="111506" y="763771"/>
                </a:lnTo>
                <a:lnTo>
                  <a:pt x="111294" y="763772"/>
                </a:lnTo>
                <a:lnTo>
                  <a:pt x="105335" y="764836"/>
                </a:lnTo>
                <a:lnTo>
                  <a:pt x="98738" y="765049"/>
                </a:lnTo>
                <a:lnTo>
                  <a:pt x="92567" y="764410"/>
                </a:lnTo>
                <a:lnTo>
                  <a:pt x="86183" y="762707"/>
                </a:lnTo>
                <a:lnTo>
                  <a:pt x="80012" y="759513"/>
                </a:lnTo>
                <a:lnTo>
                  <a:pt x="75544" y="756745"/>
                </a:lnTo>
                <a:lnTo>
                  <a:pt x="71288" y="752912"/>
                </a:lnTo>
                <a:lnTo>
                  <a:pt x="67670" y="749080"/>
                </a:lnTo>
                <a:lnTo>
                  <a:pt x="64904" y="744608"/>
                </a:lnTo>
                <a:lnTo>
                  <a:pt x="62563" y="739711"/>
                </a:lnTo>
                <a:lnTo>
                  <a:pt x="61073" y="734600"/>
                </a:lnTo>
                <a:lnTo>
                  <a:pt x="55115" y="713308"/>
                </a:lnTo>
                <a:lnTo>
                  <a:pt x="49795" y="693505"/>
                </a:lnTo>
                <a:lnTo>
                  <a:pt x="44900" y="674981"/>
                </a:lnTo>
                <a:lnTo>
                  <a:pt x="40219" y="657734"/>
                </a:lnTo>
                <a:lnTo>
                  <a:pt x="35963" y="641977"/>
                </a:lnTo>
                <a:lnTo>
                  <a:pt x="32133" y="627498"/>
                </a:lnTo>
                <a:lnTo>
                  <a:pt x="28302" y="613871"/>
                </a:lnTo>
                <a:lnTo>
                  <a:pt x="25110" y="601521"/>
                </a:lnTo>
                <a:lnTo>
                  <a:pt x="22131" y="590023"/>
                </a:lnTo>
                <a:lnTo>
                  <a:pt x="19152" y="579802"/>
                </a:lnTo>
                <a:lnTo>
                  <a:pt x="16598" y="570646"/>
                </a:lnTo>
                <a:lnTo>
                  <a:pt x="14257" y="562342"/>
                </a:lnTo>
                <a:lnTo>
                  <a:pt x="12555" y="554889"/>
                </a:lnTo>
                <a:lnTo>
                  <a:pt x="10640" y="548076"/>
                </a:lnTo>
                <a:lnTo>
                  <a:pt x="8938" y="542114"/>
                </a:lnTo>
                <a:lnTo>
                  <a:pt x="7661" y="537004"/>
                </a:lnTo>
                <a:lnTo>
                  <a:pt x="6384" y="532532"/>
                </a:lnTo>
                <a:lnTo>
                  <a:pt x="5533" y="528912"/>
                </a:lnTo>
                <a:lnTo>
                  <a:pt x="4469" y="525719"/>
                </a:lnTo>
                <a:lnTo>
                  <a:pt x="3830" y="522737"/>
                </a:lnTo>
                <a:lnTo>
                  <a:pt x="3192" y="520821"/>
                </a:lnTo>
                <a:lnTo>
                  <a:pt x="2766" y="518905"/>
                </a:lnTo>
                <a:lnTo>
                  <a:pt x="2341" y="517414"/>
                </a:lnTo>
                <a:lnTo>
                  <a:pt x="2128" y="516563"/>
                </a:lnTo>
                <a:lnTo>
                  <a:pt x="1915" y="515924"/>
                </a:lnTo>
                <a:lnTo>
                  <a:pt x="1702" y="515285"/>
                </a:lnTo>
                <a:lnTo>
                  <a:pt x="1702" y="514859"/>
                </a:lnTo>
                <a:lnTo>
                  <a:pt x="1489" y="514646"/>
                </a:lnTo>
                <a:lnTo>
                  <a:pt x="426" y="508258"/>
                </a:lnTo>
                <a:lnTo>
                  <a:pt x="0" y="502083"/>
                </a:lnTo>
                <a:lnTo>
                  <a:pt x="851" y="495483"/>
                </a:lnTo>
                <a:lnTo>
                  <a:pt x="2341" y="488882"/>
                </a:lnTo>
                <a:lnTo>
                  <a:pt x="5533" y="482707"/>
                </a:lnTo>
                <a:lnTo>
                  <a:pt x="9151" y="477384"/>
                </a:lnTo>
                <a:lnTo>
                  <a:pt x="13619" y="472700"/>
                </a:lnTo>
                <a:lnTo>
                  <a:pt x="18726" y="468654"/>
                </a:lnTo>
                <a:lnTo>
                  <a:pt x="24685" y="465673"/>
                </a:lnTo>
                <a:lnTo>
                  <a:pt x="30430" y="463544"/>
                </a:lnTo>
                <a:lnTo>
                  <a:pt x="47029" y="459072"/>
                </a:lnTo>
                <a:lnTo>
                  <a:pt x="62137" y="454814"/>
                </a:lnTo>
                <a:lnTo>
                  <a:pt x="76182" y="451194"/>
                </a:lnTo>
                <a:lnTo>
                  <a:pt x="88737" y="447574"/>
                </a:lnTo>
                <a:lnTo>
                  <a:pt x="100228" y="444593"/>
                </a:lnTo>
                <a:lnTo>
                  <a:pt x="110655" y="441825"/>
                </a:lnTo>
                <a:lnTo>
                  <a:pt x="120018" y="439270"/>
                </a:lnTo>
                <a:lnTo>
                  <a:pt x="128317" y="436928"/>
                </a:lnTo>
                <a:close/>
                <a:moveTo>
                  <a:pt x="265998" y="852"/>
                </a:moveTo>
                <a:lnTo>
                  <a:pt x="270254" y="426"/>
                </a:lnTo>
                <a:lnTo>
                  <a:pt x="274936" y="0"/>
                </a:lnTo>
                <a:lnTo>
                  <a:pt x="279830" y="213"/>
                </a:lnTo>
                <a:lnTo>
                  <a:pt x="284937" y="852"/>
                </a:lnTo>
                <a:lnTo>
                  <a:pt x="290044" y="1916"/>
                </a:lnTo>
                <a:lnTo>
                  <a:pt x="295364" y="3620"/>
                </a:lnTo>
                <a:lnTo>
                  <a:pt x="301110" y="5749"/>
                </a:lnTo>
                <a:lnTo>
                  <a:pt x="306430" y="8304"/>
                </a:lnTo>
                <a:lnTo>
                  <a:pt x="311962" y="11498"/>
                </a:lnTo>
                <a:lnTo>
                  <a:pt x="317282" y="15331"/>
                </a:lnTo>
                <a:lnTo>
                  <a:pt x="322177" y="19802"/>
                </a:lnTo>
                <a:lnTo>
                  <a:pt x="327284" y="24700"/>
                </a:lnTo>
                <a:lnTo>
                  <a:pt x="332178" y="30236"/>
                </a:lnTo>
                <a:lnTo>
                  <a:pt x="336647" y="36411"/>
                </a:lnTo>
                <a:lnTo>
                  <a:pt x="340903" y="43224"/>
                </a:lnTo>
                <a:lnTo>
                  <a:pt x="344733" y="50890"/>
                </a:lnTo>
                <a:lnTo>
                  <a:pt x="347925" y="59194"/>
                </a:lnTo>
                <a:lnTo>
                  <a:pt x="350691" y="68137"/>
                </a:lnTo>
                <a:lnTo>
                  <a:pt x="353032" y="77931"/>
                </a:lnTo>
                <a:lnTo>
                  <a:pt x="354735" y="88152"/>
                </a:lnTo>
                <a:lnTo>
                  <a:pt x="355586" y="99650"/>
                </a:lnTo>
                <a:lnTo>
                  <a:pt x="355799" y="111574"/>
                </a:lnTo>
                <a:lnTo>
                  <a:pt x="355373" y="124350"/>
                </a:lnTo>
                <a:lnTo>
                  <a:pt x="354309" y="138190"/>
                </a:lnTo>
                <a:lnTo>
                  <a:pt x="352181" y="152669"/>
                </a:lnTo>
                <a:lnTo>
                  <a:pt x="349840" y="166509"/>
                </a:lnTo>
                <a:lnTo>
                  <a:pt x="348138" y="179498"/>
                </a:lnTo>
                <a:lnTo>
                  <a:pt x="347287" y="191422"/>
                </a:lnTo>
                <a:lnTo>
                  <a:pt x="346648" y="202068"/>
                </a:lnTo>
                <a:lnTo>
                  <a:pt x="347287" y="211863"/>
                </a:lnTo>
                <a:lnTo>
                  <a:pt x="347925" y="220806"/>
                </a:lnTo>
                <a:lnTo>
                  <a:pt x="349415" y="228684"/>
                </a:lnTo>
                <a:lnTo>
                  <a:pt x="351330" y="235711"/>
                </a:lnTo>
                <a:lnTo>
                  <a:pt x="353671" y="241886"/>
                </a:lnTo>
                <a:lnTo>
                  <a:pt x="356863" y="247422"/>
                </a:lnTo>
                <a:lnTo>
                  <a:pt x="360055" y="252106"/>
                </a:lnTo>
                <a:lnTo>
                  <a:pt x="364098" y="255939"/>
                </a:lnTo>
                <a:lnTo>
                  <a:pt x="368141" y="259346"/>
                </a:lnTo>
                <a:lnTo>
                  <a:pt x="372823" y="262114"/>
                </a:lnTo>
                <a:lnTo>
                  <a:pt x="377717" y="264030"/>
                </a:lnTo>
                <a:lnTo>
                  <a:pt x="383037" y="265521"/>
                </a:lnTo>
                <a:lnTo>
                  <a:pt x="388995" y="266585"/>
                </a:lnTo>
                <a:lnTo>
                  <a:pt x="394741" y="267011"/>
                </a:lnTo>
                <a:lnTo>
                  <a:pt x="401125" y="267224"/>
                </a:lnTo>
                <a:lnTo>
                  <a:pt x="407721" y="266798"/>
                </a:lnTo>
                <a:lnTo>
                  <a:pt x="414318" y="265947"/>
                </a:lnTo>
                <a:lnTo>
                  <a:pt x="421341" y="265095"/>
                </a:lnTo>
                <a:lnTo>
                  <a:pt x="428576" y="264030"/>
                </a:lnTo>
                <a:lnTo>
                  <a:pt x="435811" y="262327"/>
                </a:lnTo>
                <a:lnTo>
                  <a:pt x="443259" y="260624"/>
                </a:lnTo>
                <a:lnTo>
                  <a:pt x="450707" y="258707"/>
                </a:lnTo>
                <a:lnTo>
                  <a:pt x="458580" y="256791"/>
                </a:lnTo>
                <a:lnTo>
                  <a:pt x="466241" y="254662"/>
                </a:lnTo>
                <a:lnTo>
                  <a:pt x="473902" y="252532"/>
                </a:lnTo>
                <a:lnTo>
                  <a:pt x="481775" y="250403"/>
                </a:lnTo>
                <a:lnTo>
                  <a:pt x="489436" y="248274"/>
                </a:lnTo>
                <a:lnTo>
                  <a:pt x="497522" y="246144"/>
                </a:lnTo>
                <a:lnTo>
                  <a:pt x="505183" y="244228"/>
                </a:lnTo>
                <a:lnTo>
                  <a:pt x="512844" y="242738"/>
                </a:lnTo>
                <a:lnTo>
                  <a:pt x="520292" y="241034"/>
                </a:lnTo>
                <a:lnTo>
                  <a:pt x="527739" y="239757"/>
                </a:lnTo>
                <a:lnTo>
                  <a:pt x="534975" y="238692"/>
                </a:lnTo>
                <a:lnTo>
                  <a:pt x="542210" y="238053"/>
                </a:lnTo>
                <a:lnTo>
                  <a:pt x="549232" y="237627"/>
                </a:lnTo>
                <a:lnTo>
                  <a:pt x="556042" y="237627"/>
                </a:lnTo>
                <a:lnTo>
                  <a:pt x="562426" y="238053"/>
                </a:lnTo>
                <a:lnTo>
                  <a:pt x="568810" y="238905"/>
                </a:lnTo>
                <a:lnTo>
                  <a:pt x="574981" y="240395"/>
                </a:lnTo>
                <a:lnTo>
                  <a:pt x="580513" y="242312"/>
                </a:lnTo>
                <a:lnTo>
                  <a:pt x="585834" y="244867"/>
                </a:lnTo>
                <a:lnTo>
                  <a:pt x="590941" y="248061"/>
                </a:lnTo>
                <a:lnTo>
                  <a:pt x="595622" y="252106"/>
                </a:lnTo>
                <a:lnTo>
                  <a:pt x="599879" y="256365"/>
                </a:lnTo>
                <a:lnTo>
                  <a:pt x="603709" y="261901"/>
                </a:lnTo>
                <a:lnTo>
                  <a:pt x="607114" y="267863"/>
                </a:lnTo>
                <a:lnTo>
                  <a:pt x="610093" y="274890"/>
                </a:lnTo>
                <a:lnTo>
                  <a:pt x="612646" y="282555"/>
                </a:lnTo>
                <a:lnTo>
                  <a:pt x="614136" y="291285"/>
                </a:lnTo>
                <a:lnTo>
                  <a:pt x="614136" y="299802"/>
                </a:lnTo>
                <a:lnTo>
                  <a:pt x="612433" y="308532"/>
                </a:lnTo>
                <a:lnTo>
                  <a:pt x="609667" y="317262"/>
                </a:lnTo>
                <a:lnTo>
                  <a:pt x="605411" y="325566"/>
                </a:lnTo>
                <a:lnTo>
                  <a:pt x="599878" y="333658"/>
                </a:lnTo>
                <a:lnTo>
                  <a:pt x="593282" y="341536"/>
                </a:lnTo>
                <a:lnTo>
                  <a:pt x="585621" y="348988"/>
                </a:lnTo>
                <a:lnTo>
                  <a:pt x="590941" y="350479"/>
                </a:lnTo>
                <a:lnTo>
                  <a:pt x="596048" y="352608"/>
                </a:lnTo>
                <a:lnTo>
                  <a:pt x="600942" y="354312"/>
                </a:lnTo>
                <a:lnTo>
                  <a:pt x="604773" y="356654"/>
                </a:lnTo>
                <a:lnTo>
                  <a:pt x="608816" y="358996"/>
                </a:lnTo>
                <a:lnTo>
                  <a:pt x="612433" y="361551"/>
                </a:lnTo>
                <a:lnTo>
                  <a:pt x="618179" y="366449"/>
                </a:lnTo>
                <a:lnTo>
                  <a:pt x="623499" y="371772"/>
                </a:lnTo>
                <a:lnTo>
                  <a:pt x="627755" y="377308"/>
                </a:lnTo>
                <a:lnTo>
                  <a:pt x="631159" y="383696"/>
                </a:lnTo>
                <a:lnTo>
                  <a:pt x="633713" y="390509"/>
                </a:lnTo>
                <a:lnTo>
                  <a:pt x="635203" y="398601"/>
                </a:lnTo>
                <a:lnTo>
                  <a:pt x="635841" y="406479"/>
                </a:lnTo>
                <a:lnTo>
                  <a:pt x="634990" y="413931"/>
                </a:lnTo>
                <a:lnTo>
                  <a:pt x="633075" y="421597"/>
                </a:lnTo>
                <a:lnTo>
                  <a:pt x="629670" y="428410"/>
                </a:lnTo>
                <a:lnTo>
                  <a:pt x="626052" y="435224"/>
                </a:lnTo>
                <a:lnTo>
                  <a:pt x="621371" y="441612"/>
                </a:lnTo>
                <a:lnTo>
                  <a:pt x="615838" y="446935"/>
                </a:lnTo>
                <a:lnTo>
                  <a:pt x="609880" y="451620"/>
                </a:lnTo>
                <a:lnTo>
                  <a:pt x="603070" y="455452"/>
                </a:lnTo>
                <a:lnTo>
                  <a:pt x="609880" y="458007"/>
                </a:lnTo>
                <a:lnTo>
                  <a:pt x="616477" y="461201"/>
                </a:lnTo>
                <a:lnTo>
                  <a:pt x="622222" y="465247"/>
                </a:lnTo>
                <a:lnTo>
                  <a:pt x="627755" y="469931"/>
                </a:lnTo>
                <a:lnTo>
                  <a:pt x="632437" y="475255"/>
                </a:lnTo>
                <a:lnTo>
                  <a:pt x="636693" y="481004"/>
                </a:lnTo>
                <a:lnTo>
                  <a:pt x="640097" y="487817"/>
                </a:lnTo>
                <a:lnTo>
                  <a:pt x="642438" y="495057"/>
                </a:lnTo>
                <a:lnTo>
                  <a:pt x="644140" y="502722"/>
                </a:lnTo>
                <a:lnTo>
                  <a:pt x="644353" y="510600"/>
                </a:lnTo>
                <a:lnTo>
                  <a:pt x="643928" y="518479"/>
                </a:lnTo>
                <a:lnTo>
                  <a:pt x="642013" y="525718"/>
                </a:lnTo>
                <a:lnTo>
                  <a:pt x="639459" y="532532"/>
                </a:lnTo>
                <a:lnTo>
                  <a:pt x="636054" y="539133"/>
                </a:lnTo>
                <a:lnTo>
                  <a:pt x="631585" y="545308"/>
                </a:lnTo>
                <a:lnTo>
                  <a:pt x="626265" y="550418"/>
                </a:lnTo>
                <a:lnTo>
                  <a:pt x="620307" y="555102"/>
                </a:lnTo>
                <a:lnTo>
                  <a:pt x="613923" y="558722"/>
                </a:lnTo>
                <a:lnTo>
                  <a:pt x="606688" y="561277"/>
                </a:lnTo>
                <a:lnTo>
                  <a:pt x="607326" y="562129"/>
                </a:lnTo>
                <a:lnTo>
                  <a:pt x="607539" y="562768"/>
                </a:lnTo>
                <a:lnTo>
                  <a:pt x="607965" y="562981"/>
                </a:lnTo>
                <a:lnTo>
                  <a:pt x="608390" y="563407"/>
                </a:lnTo>
                <a:lnTo>
                  <a:pt x="609029" y="563832"/>
                </a:lnTo>
                <a:lnTo>
                  <a:pt x="615200" y="567452"/>
                </a:lnTo>
                <a:lnTo>
                  <a:pt x="621371" y="571924"/>
                </a:lnTo>
                <a:lnTo>
                  <a:pt x="626478" y="577247"/>
                </a:lnTo>
                <a:lnTo>
                  <a:pt x="630947" y="582996"/>
                </a:lnTo>
                <a:lnTo>
                  <a:pt x="634352" y="589597"/>
                </a:lnTo>
                <a:lnTo>
                  <a:pt x="636905" y="596836"/>
                </a:lnTo>
                <a:lnTo>
                  <a:pt x="638395" y="604502"/>
                </a:lnTo>
                <a:lnTo>
                  <a:pt x="638607" y="612167"/>
                </a:lnTo>
                <a:lnTo>
                  <a:pt x="637331" y="619619"/>
                </a:lnTo>
                <a:lnTo>
                  <a:pt x="635203" y="627072"/>
                </a:lnTo>
                <a:lnTo>
                  <a:pt x="632011" y="634099"/>
                </a:lnTo>
                <a:lnTo>
                  <a:pt x="627755" y="640699"/>
                </a:lnTo>
                <a:lnTo>
                  <a:pt x="622647" y="646874"/>
                </a:lnTo>
                <a:lnTo>
                  <a:pt x="616902" y="652410"/>
                </a:lnTo>
                <a:lnTo>
                  <a:pt x="610093" y="656882"/>
                </a:lnTo>
                <a:lnTo>
                  <a:pt x="602645" y="660715"/>
                </a:lnTo>
                <a:lnTo>
                  <a:pt x="594558" y="663696"/>
                </a:lnTo>
                <a:lnTo>
                  <a:pt x="589026" y="664973"/>
                </a:lnTo>
                <a:lnTo>
                  <a:pt x="582642" y="666889"/>
                </a:lnTo>
                <a:lnTo>
                  <a:pt x="575194" y="669232"/>
                </a:lnTo>
                <a:lnTo>
                  <a:pt x="566682" y="671574"/>
                </a:lnTo>
                <a:lnTo>
                  <a:pt x="557319" y="674342"/>
                </a:lnTo>
                <a:lnTo>
                  <a:pt x="547317" y="677323"/>
                </a:lnTo>
                <a:lnTo>
                  <a:pt x="536464" y="680730"/>
                </a:lnTo>
                <a:lnTo>
                  <a:pt x="524973" y="684137"/>
                </a:lnTo>
                <a:lnTo>
                  <a:pt x="512844" y="687543"/>
                </a:lnTo>
                <a:lnTo>
                  <a:pt x="500289" y="691163"/>
                </a:lnTo>
                <a:lnTo>
                  <a:pt x="487095" y="694783"/>
                </a:lnTo>
                <a:lnTo>
                  <a:pt x="473902" y="698616"/>
                </a:lnTo>
                <a:lnTo>
                  <a:pt x="460283" y="702448"/>
                </a:lnTo>
                <a:lnTo>
                  <a:pt x="446664" y="705855"/>
                </a:lnTo>
                <a:lnTo>
                  <a:pt x="432619" y="709262"/>
                </a:lnTo>
                <a:lnTo>
                  <a:pt x="418574" y="712882"/>
                </a:lnTo>
                <a:lnTo>
                  <a:pt x="404530" y="716076"/>
                </a:lnTo>
                <a:lnTo>
                  <a:pt x="390698" y="719057"/>
                </a:lnTo>
                <a:lnTo>
                  <a:pt x="377078" y="722038"/>
                </a:lnTo>
                <a:lnTo>
                  <a:pt x="363460" y="724593"/>
                </a:lnTo>
                <a:lnTo>
                  <a:pt x="350479" y="726935"/>
                </a:lnTo>
                <a:lnTo>
                  <a:pt x="337711" y="728638"/>
                </a:lnTo>
                <a:lnTo>
                  <a:pt x="325581" y="730342"/>
                </a:lnTo>
                <a:lnTo>
                  <a:pt x="313877" y="731619"/>
                </a:lnTo>
                <a:lnTo>
                  <a:pt x="302599" y="732258"/>
                </a:lnTo>
                <a:lnTo>
                  <a:pt x="292385" y="732471"/>
                </a:lnTo>
                <a:lnTo>
                  <a:pt x="282809" y="732258"/>
                </a:lnTo>
                <a:lnTo>
                  <a:pt x="273871" y="731619"/>
                </a:lnTo>
                <a:lnTo>
                  <a:pt x="266211" y="730129"/>
                </a:lnTo>
                <a:lnTo>
                  <a:pt x="259401" y="728000"/>
                </a:lnTo>
                <a:lnTo>
                  <a:pt x="255279" y="726014"/>
                </a:lnTo>
                <a:lnTo>
                  <a:pt x="166960" y="426639"/>
                </a:lnTo>
                <a:lnTo>
                  <a:pt x="168749" y="426281"/>
                </a:lnTo>
                <a:lnTo>
                  <a:pt x="170451" y="425642"/>
                </a:lnTo>
                <a:lnTo>
                  <a:pt x="171516" y="425429"/>
                </a:lnTo>
                <a:lnTo>
                  <a:pt x="172154" y="425217"/>
                </a:lnTo>
                <a:lnTo>
                  <a:pt x="172792" y="425004"/>
                </a:lnTo>
                <a:lnTo>
                  <a:pt x="173218" y="425004"/>
                </a:lnTo>
                <a:lnTo>
                  <a:pt x="173430" y="424791"/>
                </a:lnTo>
                <a:lnTo>
                  <a:pt x="174920" y="410950"/>
                </a:lnTo>
                <a:lnTo>
                  <a:pt x="176410" y="397749"/>
                </a:lnTo>
                <a:lnTo>
                  <a:pt x="178325" y="384760"/>
                </a:lnTo>
                <a:lnTo>
                  <a:pt x="180666" y="372410"/>
                </a:lnTo>
                <a:lnTo>
                  <a:pt x="183219" y="360487"/>
                </a:lnTo>
                <a:lnTo>
                  <a:pt x="185773" y="348776"/>
                </a:lnTo>
                <a:lnTo>
                  <a:pt x="188752" y="337277"/>
                </a:lnTo>
                <a:lnTo>
                  <a:pt x="191944" y="325992"/>
                </a:lnTo>
                <a:lnTo>
                  <a:pt x="195136" y="314494"/>
                </a:lnTo>
                <a:lnTo>
                  <a:pt x="198541" y="303422"/>
                </a:lnTo>
                <a:lnTo>
                  <a:pt x="202158" y="291924"/>
                </a:lnTo>
                <a:lnTo>
                  <a:pt x="205563" y="280426"/>
                </a:lnTo>
                <a:lnTo>
                  <a:pt x="209181" y="268928"/>
                </a:lnTo>
                <a:lnTo>
                  <a:pt x="212798" y="256791"/>
                </a:lnTo>
                <a:lnTo>
                  <a:pt x="216416" y="244228"/>
                </a:lnTo>
                <a:lnTo>
                  <a:pt x="219820" y="231452"/>
                </a:lnTo>
                <a:lnTo>
                  <a:pt x="223438" y="218251"/>
                </a:lnTo>
                <a:lnTo>
                  <a:pt x="226843" y="204198"/>
                </a:lnTo>
                <a:lnTo>
                  <a:pt x="230035" y="189506"/>
                </a:lnTo>
                <a:lnTo>
                  <a:pt x="233227" y="174388"/>
                </a:lnTo>
                <a:lnTo>
                  <a:pt x="236206" y="157992"/>
                </a:lnTo>
                <a:lnTo>
                  <a:pt x="238760" y="140958"/>
                </a:lnTo>
                <a:lnTo>
                  <a:pt x="241313" y="122859"/>
                </a:lnTo>
                <a:lnTo>
                  <a:pt x="243654" y="103696"/>
                </a:lnTo>
                <a:lnTo>
                  <a:pt x="245569" y="83681"/>
                </a:lnTo>
                <a:lnTo>
                  <a:pt x="247272" y="62175"/>
                </a:lnTo>
                <a:lnTo>
                  <a:pt x="248548" y="39817"/>
                </a:lnTo>
                <a:lnTo>
                  <a:pt x="249399" y="15757"/>
                </a:lnTo>
                <a:lnTo>
                  <a:pt x="250251" y="12776"/>
                </a:lnTo>
                <a:lnTo>
                  <a:pt x="251315" y="10008"/>
                </a:lnTo>
                <a:lnTo>
                  <a:pt x="253230" y="7452"/>
                </a:lnTo>
                <a:lnTo>
                  <a:pt x="255571" y="5323"/>
                </a:lnTo>
                <a:lnTo>
                  <a:pt x="258550" y="3407"/>
                </a:lnTo>
                <a:lnTo>
                  <a:pt x="262168" y="1916"/>
                </a:lnTo>
                <a:close/>
              </a:path>
            </a:pathLst>
          </a:custGeom>
          <a:solidFill>
            <a:schemeClr val="bg1"/>
          </a:solidFill>
          <a:ln w="190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eaLnBrk="0" fontAlgn="base" hangingPunct="0">
              <a:spcBef>
                <a:spcPct val="0"/>
              </a:spcBef>
              <a:spcAft>
                <a:spcPct val="0"/>
              </a:spcAft>
            </a:pPr>
            <a:endParaRPr lang="de-DE" sz="1600">
              <a:solidFill>
                <a:srgbClr val="000000"/>
              </a:solidFill>
            </a:endParaRPr>
          </a:p>
        </p:txBody>
      </p:sp>
      <p:sp>
        <p:nvSpPr>
          <p:cNvPr id="9" name="Titel 1"/>
          <p:cNvSpPr txBox="1">
            <a:spLocks/>
          </p:cNvSpPr>
          <p:nvPr userDrawn="1"/>
        </p:nvSpPr>
        <p:spPr bwMode="gray">
          <a:xfrm>
            <a:off x="468312" y="2879623"/>
            <a:ext cx="8207375" cy="1244600"/>
          </a:xfrm>
          <a:prstGeom prst="rect">
            <a:avLst/>
          </a:prstGeom>
          <a:noFill/>
          <a:effectLst>
            <a:softEdge rad="381000"/>
          </a:effectLst>
        </p:spPr>
        <p:txBody>
          <a:bodyPr vert="horz" lIns="0" tIns="0" rIns="0" bIns="108000" rtlCol="0" anchor="b" anchorCtr="0">
            <a:noAutofit/>
          </a:bodyPr>
          <a:lstStyle>
            <a:lvl1pPr algn="l" defTabSz="914400" rtl="0" eaLnBrk="1" latinLnBrk="0" hangingPunct="1">
              <a:lnSpc>
                <a:spcPct val="90000"/>
              </a:lnSpc>
              <a:spcBef>
                <a:spcPct val="0"/>
              </a:spcBef>
              <a:buNone/>
              <a:defRPr lang="de-DE" sz="5400" b="0" kern="1200" baseline="0" dirty="0">
                <a:solidFill>
                  <a:schemeClr val="bg1"/>
                </a:solidFill>
                <a:latin typeface="+mn-lt"/>
                <a:ea typeface="+mn-ea"/>
                <a:cs typeface="+mn-cs"/>
              </a:defRPr>
            </a:lvl1pPr>
          </a:lstStyle>
          <a:p>
            <a:pPr algn="ctr"/>
            <a:r>
              <a:rPr lang="en-US" sz="4400">
                <a:solidFill>
                  <a:srgbClr val="FFFFFF"/>
                </a:solidFill>
              </a:rPr>
              <a:t>You have successfully</a:t>
            </a:r>
            <a:br>
              <a:rPr lang="en-US" sz="4400">
                <a:solidFill>
                  <a:srgbClr val="FFFFFF"/>
                </a:solidFill>
              </a:rPr>
            </a:br>
            <a:r>
              <a:rPr lang="en-US" sz="4400">
                <a:solidFill>
                  <a:srgbClr val="FFFFFF"/>
                </a:solidFill>
              </a:rPr>
              <a:t> completed the course!*</a:t>
            </a:r>
            <a:endParaRPr sz="4400">
              <a:solidFill>
                <a:srgbClr val="FFFFFF"/>
              </a:solidFill>
            </a:endParaRPr>
          </a:p>
        </p:txBody>
      </p:sp>
      <p:sp>
        <p:nvSpPr>
          <p:cNvPr id="10" name="Untertitel 2"/>
          <p:cNvSpPr txBox="1">
            <a:spLocks/>
          </p:cNvSpPr>
          <p:nvPr userDrawn="1"/>
        </p:nvSpPr>
        <p:spPr bwMode="gray">
          <a:xfrm>
            <a:off x="1763688" y="3842235"/>
            <a:ext cx="5616624" cy="1078370"/>
          </a:xfrm>
          <a:prstGeom prst="rect">
            <a:avLst/>
          </a:prstGeom>
        </p:spPr>
        <p:txBody>
          <a:bodyPr vert="horz" lIns="0" tIns="0" rIns="0" bIns="36000" rtlCol="0" anchor="b" anchorCtr="0">
            <a:noAutofit/>
          </a:bodyPr>
          <a:lstStyle>
            <a:lvl1pPr marL="0" indent="0" algn="l" defTabSz="914400" rtl="0" eaLnBrk="1" latinLnBrk="0" hangingPunct="1">
              <a:lnSpc>
                <a:spcPct val="91000"/>
              </a:lnSpc>
              <a:spcBef>
                <a:spcPts val="0"/>
              </a:spcBef>
              <a:spcAft>
                <a:spcPts val="1200"/>
              </a:spcAft>
              <a:buFont typeface="Arial" pitchFamily="34" charset="0"/>
              <a:buNone/>
              <a:defRPr sz="1800" b="1" kern="1200" baseline="0">
                <a:solidFill>
                  <a:schemeClr val="bg1"/>
                </a:solidFill>
                <a:latin typeface="+mj-lt"/>
                <a:ea typeface="+mn-ea"/>
                <a:cs typeface="+mn-cs"/>
              </a:defRPr>
            </a:lvl1pPr>
            <a:lvl2pPr marL="457200" indent="0" algn="ctr" defTabSz="914400" rtl="0" eaLnBrk="1" latinLnBrk="0" hangingPunct="1">
              <a:lnSpc>
                <a:spcPct val="90000"/>
              </a:lnSpc>
              <a:spcBef>
                <a:spcPts val="600"/>
              </a:spcBef>
              <a:spcAft>
                <a:spcPts val="600"/>
              </a:spcAft>
              <a:buFont typeface="Arial" pitchFamily="34" charset="0"/>
              <a:buNone/>
              <a:defRPr sz="1600" b="1" kern="1200">
                <a:solidFill>
                  <a:schemeClr val="tx1">
                    <a:tint val="75000"/>
                  </a:schemeClr>
                </a:solidFill>
                <a:latin typeface="+mj-lt"/>
                <a:ea typeface="+mn-ea"/>
                <a:cs typeface="+mn-cs"/>
              </a:defRPr>
            </a:lvl2pPr>
            <a:lvl3pPr marL="914400" indent="0" algn="ctr" defTabSz="914400" rtl="0" eaLnBrk="1" latinLnBrk="0" hangingPunct="1">
              <a:lnSpc>
                <a:spcPct val="90000"/>
              </a:lnSpc>
              <a:spcBef>
                <a:spcPts val="600"/>
              </a:spcBef>
              <a:spcAft>
                <a:spcPts val="300"/>
              </a:spcAft>
              <a:buClr>
                <a:schemeClr val="tx1">
                  <a:lumMod val="65000"/>
                  <a:lumOff val="35000"/>
                </a:schemeClr>
              </a:buClr>
              <a:buSzPct val="100000"/>
              <a:buFont typeface="Arial" pitchFamily="34" charset="0"/>
              <a:buNone/>
              <a:defRPr sz="1600" kern="1200">
                <a:solidFill>
                  <a:schemeClr val="tx1">
                    <a:tint val="75000"/>
                  </a:schemeClr>
                </a:solidFill>
                <a:latin typeface="+mn-lt"/>
                <a:ea typeface="+mn-ea"/>
                <a:cs typeface="+mn-cs"/>
              </a:defRPr>
            </a:lvl3pPr>
            <a:lvl4pPr marL="1371600" indent="0" algn="ctr" defTabSz="914400" rtl="0" eaLnBrk="1" latinLnBrk="0" hangingPunct="1">
              <a:lnSpc>
                <a:spcPct val="90000"/>
              </a:lnSpc>
              <a:spcBef>
                <a:spcPts val="300"/>
              </a:spcBef>
              <a:spcAft>
                <a:spcPts val="300"/>
              </a:spcAft>
              <a:buClr>
                <a:schemeClr val="tx1">
                  <a:lumMod val="65000"/>
                  <a:lumOff val="35000"/>
                </a:schemeClr>
              </a:buClr>
              <a:buFont typeface="Symbol" pitchFamily="18" charset="2"/>
              <a:buNone/>
              <a:defRPr sz="1400" kern="1200">
                <a:solidFill>
                  <a:schemeClr val="tx1">
                    <a:tint val="75000"/>
                  </a:schemeClr>
                </a:solidFill>
                <a:latin typeface="+mn-lt"/>
                <a:ea typeface="+mn-ea"/>
                <a:cs typeface="+mn-cs"/>
              </a:defRPr>
            </a:lvl4pPr>
            <a:lvl5pPr marL="1828800" indent="0" algn="ctr" defTabSz="914400" rtl="0" eaLnBrk="1" latinLnBrk="0" hangingPunct="1">
              <a:lnSpc>
                <a:spcPct val="90000"/>
              </a:lnSpc>
              <a:spcBef>
                <a:spcPts val="1200"/>
              </a:spcBef>
              <a:spcAft>
                <a:spcPts val="1200"/>
              </a:spcAft>
              <a:buFont typeface="Arial" pitchFamily="34" charset="0"/>
              <a:buNone/>
              <a:defRPr sz="28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dirty="0">
                <a:solidFill>
                  <a:srgbClr val="FFFFFF"/>
                </a:solidFill>
              </a:rPr>
              <a:t>To close the training unit please click on the close button at the top of the window.</a:t>
            </a:r>
            <a:endParaRPr lang="de-DE" dirty="0">
              <a:solidFill>
                <a:srgbClr val="FFFFFF"/>
              </a:solidFill>
            </a:endParaRPr>
          </a:p>
        </p:txBody>
      </p:sp>
      <p:sp>
        <p:nvSpPr>
          <p:cNvPr id="11" name="Pfeil nach unten 347"/>
          <p:cNvSpPr/>
          <p:nvPr userDrawn="1"/>
        </p:nvSpPr>
        <p:spPr>
          <a:xfrm rot="13500000">
            <a:off x="8485186" y="244475"/>
            <a:ext cx="381000" cy="575736"/>
          </a:xfrm>
          <a:prstGeom prst="down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lnSpc>
                <a:spcPct val="90000"/>
              </a:lnSpc>
              <a:spcBef>
                <a:spcPts val="600"/>
              </a:spcBef>
              <a:spcAft>
                <a:spcPts val="600"/>
              </a:spcAft>
            </a:pPr>
            <a:endParaRPr lang="de-DE" sz="1600" b="1" dirty="0" err="1">
              <a:solidFill>
                <a:srgbClr val="FFFFFF"/>
              </a:solidFill>
            </a:endParaRPr>
          </a:p>
        </p:txBody>
      </p:sp>
      <p:sp>
        <p:nvSpPr>
          <p:cNvPr id="2" name="TextBox 1"/>
          <p:cNvSpPr txBox="1"/>
          <p:nvPr userDrawn="1"/>
        </p:nvSpPr>
        <p:spPr>
          <a:xfrm>
            <a:off x="468313" y="5222309"/>
            <a:ext cx="8207375" cy="1086416"/>
          </a:xfrm>
          <a:prstGeom prst="rect">
            <a:avLst/>
          </a:prstGeom>
          <a:noFill/>
        </p:spPr>
        <p:txBody>
          <a:bodyPr wrap="square" lIns="0" tIns="0" rIns="0" bIns="0" rtlCol="0">
            <a:noAutofit/>
          </a:bodyPr>
          <a:lstStyle/>
          <a:p>
            <a:pPr algn="ctr">
              <a:lnSpc>
                <a:spcPct val="90000"/>
              </a:lnSpc>
              <a:spcBef>
                <a:spcPts val="600"/>
              </a:spcBef>
              <a:spcAft>
                <a:spcPts val="600"/>
              </a:spcAft>
              <a:buFont typeface="Arial" pitchFamily="34" charset="0"/>
              <a:buNone/>
              <a:defRPr/>
            </a:pPr>
            <a:r>
              <a:rPr lang="en-US" sz="1400" dirty="0">
                <a:solidFill>
                  <a:srgbClr val="FFFFFF"/>
                </a:solidFill>
                <a:latin typeface="Segoe UI Light"/>
              </a:rPr>
              <a:t>*In order to complete the course it is necessary to page through all slides!</a:t>
            </a:r>
          </a:p>
          <a:p>
            <a:pPr eaLnBrk="0" fontAlgn="base" hangingPunct="0">
              <a:lnSpc>
                <a:spcPct val="90000"/>
              </a:lnSpc>
              <a:spcBef>
                <a:spcPts val="600"/>
              </a:spcBef>
              <a:spcAft>
                <a:spcPts val="600"/>
              </a:spcAft>
            </a:pPr>
            <a:endParaRPr lang="en-US" sz="1600" dirty="0" err="1">
              <a:solidFill>
                <a:srgbClr val="FFFFFF"/>
              </a:solidFill>
            </a:endParaRPr>
          </a:p>
        </p:txBody>
      </p:sp>
    </p:spTree>
    <p:custDataLst>
      <p:tags r:id="rId1"/>
    </p:custDataLst>
    <p:extLst>
      <p:ext uri="{BB962C8B-B14F-4D97-AF65-F5344CB8AC3E}">
        <p14:creationId xmlns:p14="http://schemas.microsoft.com/office/powerpoint/2010/main" val="249634694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accel="30000" decel="7000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ppt_x"/>
                                          </p:val>
                                        </p:tav>
                                        <p:tav tm="100000">
                                          <p:val>
                                            <p:strVal val="#ppt_x"/>
                                          </p:val>
                                        </p:tav>
                                      </p:tavLst>
                                    </p:anim>
                                    <p:anim calcmode="lin" valueType="num">
                                      <p:cBhvr additive="base">
                                        <p:cTn id="8" dur="10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urse Completion-Quiz">
    <p:spTree>
      <p:nvGrpSpPr>
        <p:cNvPr id="1" name=""/>
        <p:cNvGrpSpPr/>
        <p:nvPr/>
      </p:nvGrpSpPr>
      <p:grpSpPr>
        <a:xfrm>
          <a:off x="0" y="0"/>
          <a:ext cx="0" cy="0"/>
          <a:chOff x="0" y="0"/>
          <a:chExt cx="0" cy="0"/>
        </a:xfrm>
      </p:grpSpPr>
      <p:sp>
        <p:nvSpPr>
          <p:cNvPr id="5" name="Rectangle 4"/>
          <p:cNvSpPr/>
          <p:nvPr userDrawn="1"/>
        </p:nvSpPr>
        <p:spPr bwMode="gray">
          <a:xfrm>
            <a:off x="0" y="1"/>
            <a:ext cx="9144000" cy="6857999"/>
          </a:xfrm>
          <a:prstGeom prst="rect">
            <a:avLst/>
          </a:prstGeom>
          <a:solidFill>
            <a:srgbClr val="008B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de-DE" sz="1600" b="1" dirty="0">
              <a:solidFill>
                <a:srgbClr val="000000"/>
              </a:solidFill>
            </a:endParaRPr>
          </a:p>
        </p:txBody>
      </p:sp>
      <p:sp>
        <p:nvSpPr>
          <p:cNvPr id="7" name="Ellipse 333"/>
          <p:cNvSpPr/>
          <p:nvPr userDrawn="1"/>
        </p:nvSpPr>
        <p:spPr>
          <a:xfrm>
            <a:off x="3963818" y="1140352"/>
            <a:ext cx="1168740" cy="116874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lnSpc>
                <a:spcPct val="90000"/>
              </a:lnSpc>
              <a:spcBef>
                <a:spcPts val="600"/>
              </a:spcBef>
              <a:spcAft>
                <a:spcPts val="600"/>
              </a:spcAft>
            </a:pPr>
            <a:r>
              <a:rPr lang="de-DE" sz="8000" b="1" dirty="0">
                <a:solidFill>
                  <a:srgbClr val="FFFFFF"/>
                </a:solidFill>
              </a:rPr>
              <a:t>?</a:t>
            </a:r>
          </a:p>
        </p:txBody>
      </p:sp>
      <p:sp>
        <p:nvSpPr>
          <p:cNvPr id="9" name="Titel 1"/>
          <p:cNvSpPr txBox="1">
            <a:spLocks/>
          </p:cNvSpPr>
          <p:nvPr userDrawn="1"/>
        </p:nvSpPr>
        <p:spPr bwMode="gray">
          <a:xfrm>
            <a:off x="468312" y="2879623"/>
            <a:ext cx="8207375" cy="1244600"/>
          </a:xfrm>
          <a:prstGeom prst="rect">
            <a:avLst/>
          </a:prstGeom>
          <a:noFill/>
          <a:effectLst>
            <a:softEdge rad="381000"/>
          </a:effectLst>
        </p:spPr>
        <p:txBody>
          <a:bodyPr vert="horz" lIns="0" tIns="0" rIns="0" bIns="108000" rtlCol="0" anchor="b" anchorCtr="0">
            <a:noAutofit/>
          </a:bodyPr>
          <a:lstStyle>
            <a:lvl1pPr algn="l" defTabSz="914400" rtl="0" eaLnBrk="1" latinLnBrk="0" hangingPunct="1">
              <a:lnSpc>
                <a:spcPct val="90000"/>
              </a:lnSpc>
              <a:spcBef>
                <a:spcPct val="0"/>
              </a:spcBef>
              <a:buNone/>
              <a:defRPr lang="de-DE" sz="5400" b="0" kern="1200" baseline="0" dirty="0">
                <a:solidFill>
                  <a:schemeClr val="bg1"/>
                </a:solidFill>
                <a:latin typeface="+mn-lt"/>
                <a:ea typeface="+mn-ea"/>
                <a:cs typeface="+mn-cs"/>
              </a:defRPr>
            </a:lvl1pPr>
          </a:lstStyle>
          <a:p>
            <a:pPr algn="ctr"/>
            <a:r>
              <a:rPr lang="en-US" sz="4400">
                <a:solidFill>
                  <a:srgbClr val="FFFFFF"/>
                </a:solidFill>
              </a:rPr>
              <a:t>A last step is necessary</a:t>
            </a:r>
          </a:p>
          <a:p>
            <a:pPr algn="ctr"/>
            <a:r>
              <a:rPr lang="en-US" sz="4400">
                <a:solidFill>
                  <a:srgbClr val="FFFFFF"/>
                </a:solidFill>
              </a:rPr>
              <a:t>to complete the course!</a:t>
            </a:r>
          </a:p>
        </p:txBody>
      </p:sp>
      <p:sp>
        <p:nvSpPr>
          <p:cNvPr id="10" name="Untertitel 2"/>
          <p:cNvSpPr txBox="1">
            <a:spLocks/>
          </p:cNvSpPr>
          <p:nvPr userDrawn="1"/>
        </p:nvSpPr>
        <p:spPr bwMode="gray">
          <a:xfrm>
            <a:off x="1372600" y="3842235"/>
            <a:ext cx="6398800" cy="1078370"/>
          </a:xfrm>
          <a:prstGeom prst="rect">
            <a:avLst/>
          </a:prstGeom>
        </p:spPr>
        <p:txBody>
          <a:bodyPr vert="horz" lIns="0" tIns="0" rIns="0" bIns="36000" rtlCol="0" anchor="b" anchorCtr="0">
            <a:noAutofit/>
          </a:bodyPr>
          <a:lstStyle>
            <a:lvl1pPr marL="0" indent="0" algn="l" defTabSz="914400" rtl="0" eaLnBrk="1" latinLnBrk="0" hangingPunct="1">
              <a:lnSpc>
                <a:spcPct val="91000"/>
              </a:lnSpc>
              <a:spcBef>
                <a:spcPts val="0"/>
              </a:spcBef>
              <a:spcAft>
                <a:spcPts val="1200"/>
              </a:spcAft>
              <a:buFont typeface="Arial" pitchFamily="34" charset="0"/>
              <a:buNone/>
              <a:defRPr sz="1800" b="1" kern="1200" baseline="0">
                <a:solidFill>
                  <a:schemeClr val="bg1"/>
                </a:solidFill>
                <a:latin typeface="+mj-lt"/>
                <a:ea typeface="+mn-ea"/>
                <a:cs typeface="+mn-cs"/>
              </a:defRPr>
            </a:lvl1pPr>
            <a:lvl2pPr marL="457200" indent="0" algn="ctr" defTabSz="914400" rtl="0" eaLnBrk="1" latinLnBrk="0" hangingPunct="1">
              <a:lnSpc>
                <a:spcPct val="90000"/>
              </a:lnSpc>
              <a:spcBef>
                <a:spcPts val="600"/>
              </a:spcBef>
              <a:spcAft>
                <a:spcPts val="600"/>
              </a:spcAft>
              <a:buFont typeface="Arial" pitchFamily="34" charset="0"/>
              <a:buNone/>
              <a:defRPr sz="1600" b="1" kern="1200">
                <a:solidFill>
                  <a:schemeClr val="tx1">
                    <a:tint val="75000"/>
                  </a:schemeClr>
                </a:solidFill>
                <a:latin typeface="+mj-lt"/>
                <a:ea typeface="+mn-ea"/>
                <a:cs typeface="+mn-cs"/>
              </a:defRPr>
            </a:lvl2pPr>
            <a:lvl3pPr marL="914400" indent="0" algn="ctr" defTabSz="914400" rtl="0" eaLnBrk="1" latinLnBrk="0" hangingPunct="1">
              <a:lnSpc>
                <a:spcPct val="90000"/>
              </a:lnSpc>
              <a:spcBef>
                <a:spcPts val="600"/>
              </a:spcBef>
              <a:spcAft>
                <a:spcPts val="300"/>
              </a:spcAft>
              <a:buClr>
                <a:schemeClr val="tx1">
                  <a:lumMod val="65000"/>
                  <a:lumOff val="35000"/>
                </a:schemeClr>
              </a:buClr>
              <a:buSzPct val="100000"/>
              <a:buFont typeface="Arial" pitchFamily="34" charset="0"/>
              <a:buNone/>
              <a:defRPr sz="1600" kern="1200">
                <a:solidFill>
                  <a:schemeClr val="tx1">
                    <a:tint val="75000"/>
                  </a:schemeClr>
                </a:solidFill>
                <a:latin typeface="+mn-lt"/>
                <a:ea typeface="+mn-ea"/>
                <a:cs typeface="+mn-cs"/>
              </a:defRPr>
            </a:lvl3pPr>
            <a:lvl4pPr marL="1371600" indent="0" algn="ctr" defTabSz="914400" rtl="0" eaLnBrk="1" latinLnBrk="0" hangingPunct="1">
              <a:lnSpc>
                <a:spcPct val="90000"/>
              </a:lnSpc>
              <a:spcBef>
                <a:spcPts val="300"/>
              </a:spcBef>
              <a:spcAft>
                <a:spcPts val="300"/>
              </a:spcAft>
              <a:buClr>
                <a:schemeClr val="tx1">
                  <a:lumMod val="65000"/>
                  <a:lumOff val="35000"/>
                </a:schemeClr>
              </a:buClr>
              <a:buFont typeface="Symbol" pitchFamily="18" charset="2"/>
              <a:buNone/>
              <a:defRPr sz="1400" kern="1200">
                <a:solidFill>
                  <a:schemeClr val="tx1">
                    <a:tint val="75000"/>
                  </a:schemeClr>
                </a:solidFill>
                <a:latin typeface="+mn-lt"/>
                <a:ea typeface="+mn-ea"/>
                <a:cs typeface="+mn-cs"/>
              </a:defRPr>
            </a:lvl4pPr>
            <a:lvl5pPr marL="1828800" indent="0" algn="ctr" defTabSz="914400" rtl="0" eaLnBrk="1" latinLnBrk="0" hangingPunct="1">
              <a:lnSpc>
                <a:spcPct val="90000"/>
              </a:lnSpc>
              <a:spcBef>
                <a:spcPts val="1200"/>
              </a:spcBef>
              <a:spcAft>
                <a:spcPts val="1200"/>
              </a:spcAft>
              <a:buFont typeface="Arial" pitchFamily="34" charset="0"/>
              <a:buNone/>
              <a:defRPr sz="28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dirty="0">
                <a:solidFill>
                  <a:srgbClr val="FFFFFF"/>
                </a:solidFill>
              </a:rPr>
              <a:t>Please answer the questions starting on the next slide </a:t>
            </a:r>
            <a:br>
              <a:rPr lang="en-US" dirty="0">
                <a:solidFill>
                  <a:srgbClr val="FFFFFF"/>
                </a:solidFill>
              </a:rPr>
            </a:br>
            <a:r>
              <a:rPr lang="en-US" dirty="0">
                <a:solidFill>
                  <a:srgbClr val="FFFFFF"/>
                </a:solidFill>
              </a:rPr>
              <a:t>in order to complete the training unit. </a:t>
            </a:r>
          </a:p>
        </p:txBody>
      </p:sp>
    </p:spTree>
    <p:custDataLst>
      <p:tags r:id="rId1"/>
    </p:custDataLst>
    <p:extLst>
      <p:ext uri="{BB962C8B-B14F-4D97-AF65-F5344CB8AC3E}">
        <p14:creationId xmlns:p14="http://schemas.microsoft.com/office/powerpoint/2010/main" val="39056942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accel="30000" decel="7000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ppt_x"/>
                                          </p:val>
                                        </p:tav>
                                        <p:tav tm="100000">
                                          <p:val>
                                            <p:strVal val="#ppt_x"/>
                                          </p:val>
                                        </p:tav>
                                      </p:tavLst>
                                    </p:anim>
                                    <p:anim calcmode="lin" valueType="num">
                                      <p:cBhvr additive="base">
                                        <p:cTn id="8" dur="10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e-DE"/>
              <a:t>Titelmasterformat durch Klicken bearbeiten</a:t>
            </a:r>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p:cNvSpPr>
            <a:spLocks noGrp="1"/>
          </p:cNvSpPr>
          <p:nvPr>
            <p:ph type="dt" sz="half" idx="10"/>
          </p:nvPr>
        </p:nvSpPr>
        <p:spPr/>
        <p:txBody>
          <a:bodyPr/>
          <a:lstStyle>
            <a:lvl1pPr>
              <a:defRPr/>
            </a:lvl1pPr>
          </a:lstStyle>
          <a:p>
            <a:fld id="{EF2AB279-3C66-4664-82FC-328496E63576}" type="datetime1">
              <a:rPr lang="de-DE" smtClean="0">
                <a:solidFill>
                  <a:srgbClr val="000000"/>
                </a:solidFill>
              </a:rPr>
              <a:pPr/>
              <a:t>28.02.2019</a:t>
            </a:fld>
            <a:endParaRPr lang="de-DE">
              <a:solidFill>
                <a:srgbClr val="000000"/>
              </a:solidFill>
            </a:endParaRPr>
          </a:p>
        </p:txBody>
      </p:sp>
      <p:sp>
        <p:nvSpPr>
          <p:cNvPr id="8" name="Foliennummernplatzhalter 7"/>
          <p:cNvSpPr>
            <a:spLocks noGrp="1"/>
          </p:cNvSpPr>
          <p:nvPr>
            <p:ph type="sldNum" sz="quarter" idx="11"/>
          </p:nvPr>
        </p:nvSpPr>
        <p:spPr>
          <a:xfrm>
            <a:off x="8402638" y="6643688"/>
            <a:ext cx="277812" cy="161925"/>
          </a:xfrm>
          <a:prstGeom prst="rect">
            <a:avLst/>
          </a:prstGeom>
        </p:spPr>
        <p:txBody>
          <a:bodyPr/>
          <a:lstStyle>
            <a:lvl1pPr>
              <a:defRPr/>
            </a:lvl1pPr>
          </a:lstStyle>
          <a:p>
            <a:pPr eaLnBrk="0" fontAlgn="base" hangingPunct="0">
              <a:spcBef>
                <a:spcPct val="0"/>
              </a:spcBef>
              <a:spcAft>
                <a:spcPct val="0"/>
              </a:spcAft>
            </a:pPr>
            <a:fld id="{06BE5CAF-42A3-4742-B8C1-C14053CF0F0B}" type="slidenum">
              <a:rPr lang="de-DE" sz="1600">
                <a:solidFill>
                  <a:srgbClr val="000000"/>
                </a:solidFill>
              </a:rPr>
              <a:pPr eaLnBrk="0" fontAlgn="base" hangingPunct="0">
                <a:spcBef>
                  <a:spcPct val="0"/>
                </a:spcBef>
                <a:spcAft>
                  <a:spcPct val="0"/>
                </a:spcAft>
              </a:pPr>
              <a:t>‹#›</a:t>
            </a:fld>
            <a:endParaRPr lang="de-DE" sz="1600">
              <a:solidFill>
                <a:srgbClr val="000000"/>
              </a:solidFill>
            </a:endParaRPr>
          </a:p>
        </p:txBody>
      </p:sp>
      <p:sp>
        <p:nvSpPr>
          <p:cNvPr id="9" name="Fußzeilenplatzhalter 8"/>
          <p:cNvSpPr>
            <a:spLocks noGrp="1"/>
          </p:cNvSpPr>
          <p:nvPr>
            <p:ph type="ftr" sz="quarter" idx="12"/>
          </p:nvPr>
        </p:nvSpPr>
        <p:spPr/>
        <p:txBody>
          <a:bodyPr/>
          <a:lstStyle>
            <a:lvl1pPr>
              <a:defRPr/>
            </a:lvl1pPr>
          </a:lstStyle>
          <a:p>
            <a:r>
              <a:rPr lang="de-DE">
                <a:solidFill>
                  <a:srgbClr val="000000"/>
                </a:solidFill>
              </a:rPr>
              <a:t>Carl Zeiss Microscopy</a:t>
            </a:r>
          </a:p>
        </p:txBody>
      </p:sp>
    </p:spTree>
    <p:extLst>
      <p:ext uri="{BB962C8B-B14F-4D97-AF65-F5344CB8AC3E}">
        <p14:creationId xmlns:p14="http://schemas.microsoft.com/office/powerpoint/2010/main" val="168911532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Slide - CorrMic">
    <p:spTree>
      <p:nvGrpSpPr>
        <p:cNvPr id="1" name=""/>
        <p:cNvGrpSpPr/>
        <p:nvPr/>
      </p:nvGrpSpPr>
      <p:grpSpPr>
        <a:xfrm>
          <a:off x="0" y="0"/>
          <a:ext cx="0" cy="0"/>
          <a:chOff x="0" y="0"/>
          <a:chExt cx="0" cy="0"/>
        </a:xfrm>
      </p:grpSpPr>
      <p:sp>
        <p:nvSpPr>
          <p:cNvPr id="3251215" name="Freeform 15"/>
          <p:cNvSpPr>
            <a:spLocks noEditPoints="1"/>
          </p:cNvSpPr>
          <p:nvPr>
            <p:custDataLst>
              <p:tags r:id="rId2"/>
            </p:custDataLst>
          </p:nvPr>
        </p:nvSpPr>
        <p:spPr bwMode="auto">
          <a:xfrm>
            <a:off x="8209757" y="379414"/>
            <a:ext cx="463550" cy="488951"/>
          </a:xfrm>
          <a:custGeom>
            <a:avLst/>
            <a:gdLst>
              <a:gd name="T0" fmla="*/ 743 w 4092"/>
              <a:gd name="T1" fmla="*/ 3836 h 4104"/>
              <a:gd name="T2" fmla="*/ 1652 w 4092"/>
              <a:gd name="T3" fmla="*/ 3680 h 4104"/>
              <a:gd name="T4" fmla="*/ 2573 w 4092"/>
              <a:gd name="T5" fmla="*/ 3692 h 4104"/>
              <a:gd name="T6" fmla="*/ 3476 w 4092"/>
              <a:gd name="T7" fmla="*/ 3873 h 4104"/>
              <a:gd name="T8" fmla="*/ 0 w 4092"/>
              <a:gd name="T9" fmla="*/ 0 h 4104"/>
              <a:gd name="T10" fmla="*/ 3802 w 4092"/>
              <a:gd name="T11" fmla="*/ 1443 h 4104"/>
              <a:gd name="T12" fmla="*/ 3712 w 4092"/>
              <a:gd name="T13" fmla="*/ 1281 h 4104"/>
              <a:gd name="T14" fmla="*/ 3509 w 4092"/>
              <a:gd name="T15" fmla="*/ 1254 h 4104"/>
              <a:gd name="T16" fmla="*/ 3662 w 4092"/>
              <a:gd name="T17" fmla="*/ 1523 h 4104"/>
              <a:gd name="T18" fmla="*/ 3865 w 4092"/>
              <a:gd name="T19" fmla="*/ 1799 h 4104"/>
              <a:gd name="T20" fmla="*/ 3900 w 4092"/>
              <a:gd name="T21" fmla="*/ 2004 h 4104"/>
              <a:gd name="T22" fmla="*/ 3313 w 4092"/>
              <a:gd name="T23" fmla="*/ 1825 h 4104"/>
              <a:gd name="T24" fmla="*/ 3412 w 4092"/>
              <a:gd name="T25" fmla="*/ 1939 h 4104"/>
              <a:gd name="T26" fmla="*/ 3572 w 4092"/>
              <a:gd name="T27" fmla="*/ 1876 h 4104"/>
              <a:gd name="T28" fmla="*/ 3353 w 4092"/>
              <a:gd name="T29" fmla="*/ 1570 h 4104"/>
              <a:gd name="T30" fmla="*/ 3203 w 4092"/>
              <a:gd name="T31" fmla="*/ 1305 h 4104"/>
              <a:gd name="T32" fmla="*/ 2422 w 4092"/>
              <a:gd name="T33" fmla="*/ 1158 h 4104"/>
              <a:gd name="T34" fmla="*/ 2958 w 4092"/>
              <a:gd name="T35" fmla="*/ 1319 h 4104"/>
              <a:gd name="T36" fmla="*/ 2839 w 4092"/>
              <a:gd name="T37" fmla="*/ 1250 h 4104"/>
              <a:gd name="T38" fmla="*/ 2783 w 4092"/>
              <a:gd name="T39" fmla="*/ 1403 h 4104"/>
              <a:gd name="T40" fmla="*/ 2986 w 4092"/>
              <a:gd name="T41" fmla="*/ 1654 h 4104"/>
              <a:gd name="T42" fmla="*/ 3113 w 4092"/>
              <a:gd name="T43" fmla="*/ 1932 h 4104"/>
              <a:gd name="T44" fmla="*/ 2408 w 4092"/>
              <a:gd name="T45" fmla="*/ 1754 h 4104"/>
              <a:gd name="T46" fmla="*/ 2577 w 4092"/>
              <a:gd name="T47" fmla="*/ 1912 h 4104"/>
              <a:gd name="T48" fmla="*/ 2802 w 4092"/>
              <a:gd name="T49" fmla="*/ 1948 h 4104"/>
              <a:gd name="T50" fmla="*/ 2677 w 4092"/>
              <a:gd name="T51" fmla="*/ 1714 h 4104"/>
              <a:gd name="T52" fmla="*/ 2446 w 4092"/>
              <a:gd name="T53" fmla="*/ 1400 h 4104"/>
              <a:gd name="T54" fmla="*/ 1842 w 4092"/>
              <a:gd name="T55" fmla="*/ 1948 h 4104"/>
              <a:gd name="T56" fmla="*/ 1927 w 4092"/>
              <a:gd name="T57" fmla="*/ 1911 h 4104"/>
              <a:gd name="T58" fmla="*/ 1913 w 4092"/>
              <a:gd name="T59" fmla="*/ 1271 h 4104"/>
              <a:gd name="T60" fmla="*/ 2306 w 4092"/>
              <a:gd name="T61" fmla="*/ 1158 h 4104"/>
              <a:gd name="T62" fmla="*/ 2224 w 4092"/>
              <a:gd name="T63" fmla="*/ 1287 h 4104"/>
              <a:gd name="T64" fmla="*/ 2224 w 4092"/>
              <a:gd name="T65" fmla="*/ 1912 h 4104"/>
              <a:gd name="T66" fmla="*/ 2306 w 4092"/>
              <a:gd name="T67" fmla="*/ 2039 h 4104"/>
              <a:gd name="T68" fmla="*/ 1057 w 4092"/>
              <a:gd name="T69" fmla="*/ 1935 h 4104"/>
              <a:gd name="T70" fmla="*/ 1085 w 4092"/>
              <a:gd name="T71" fmla="*/ 1299 h 4104"/>
              <a:gd name="T72" fmla="*/ 1026 w 4092"/>
              <a:gd name="T73" fmla="*/ 1250 h 4104"/>
              <a:gd name="T74" fmla="*/ 1620 w 4092"/>
              <a:gd name="T75" fmla="*/ 1356 h 4104"/>
              <a:gd name="T76" fmla="*/ 1530 w 4092"/>
              <a:gd name="T77" fmla="*/ 1259 h 4104"/>
              <a:gd name="T78" fmla="*/ 1432 w 4092"/>
              <a:gd name="T79" fmla="*/ 1548 h 4104"/>
              <a:gd name="T80" fmla="*/ 1477 w 4092"/>
              <a:gd name="T81" fmla="*/ 1445 h 4104"/>
              <a:gd name="T82" fmla="*/ 1465 w 4092"/>
              <a:gd name="T83" fmla="*/ 1681 h 4104"/>
              <a:gd name="T84" fmla="*/ 1369 w 4092"/>
              <a:gd name="T85" fmla="*/ 1948 h 4104"/>
              <a:gd name="T86" fmla="*/ 1589 w 4092"/>
              <a:gd name="T87" fmla="*/ 1894 h 4104"/>
              <a:gd name="T88" fmla="*/ 1648 w 4092"/>
              <a:gd name="T89" fmla="*/ 1754 h 4104"/>
              <a:gd name="T90" fmla="*/ 180 w 4092"/>
              <a:gd name="T91" fmla="*/ 1948 h 4104"/>
              <a:gd name="T92" fmla="*/ 309 w 4092"/>
              <a:gd name="T93" fmla="*/ 1667 h 4104"/>
              <a:gd name="T94" fmla="*/ 538 w 4092"/>
              <a:gd name="T95" fmla="*/ 1368 h 4104"/>
              <a:gd name="T96" fmla="*/ 443 w 4092"/>
              <a:gd name="T97" fmla="*/ 1255 h 4104"/>
              <a:gd name="T98" fmla="*/ 315 w 4092"/>
              <a:gd name="T99" fmla="*/ 1374 h 4104"/>
              <a:gd name="T100" fmla="*/ 912 w 4092"/>
              <a:gd name="T101" fmla="*/ 1195 h 4104"/>
              <a:gd name="T102" fmla="*/ 784 w 4092"/>
              <a:gd name="T103" fmla="*/ 1516 h 4104"/>
              <a:gd name="T104" fmla="*/ 551 w 4092"/>
              <a:gd name="T105" fmla="*/ 1825 h 4104"/>
              <a:gd name="T106" fmla="*/ 707 w 4092"/>
              <a:gd name="T107" fmla="*/ 1925 h 4104"/>
              <a:gd name="T108" fmla="*/ 786 w 4092"/>
              <a:gd name="T109" fmla="*/ 1827 h 4104"/>
              <a:gd name="T110" fmla="*/ 173 w 4092"/>
              <a:gd name="T111" fmla="*/ 1998 h 4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92" h="4104">
                <a:moveTo>
                  <a:pt x="0" y="4104"/>
                </a:moveTo>
                <a:lnTo>
                  <a:pt x="121" y="4051"/>
                </a:lnTo>
                <a:lnTo>
                  <a:pt x="243" y="4001"/>
                </a:lnTo>
                <a:lnTo>
                  <a:pt x="366" y="3955"/>
                </a:lnTo>
                <a:lnTo>
                  <a:pt x="491" y="3912"/>
                </a:lnTo>
                <a:lnTo>
                  <a:pt x="617" y="3873"/>
                </a:lnTo>
                <a:lnTo>
                  <a:pt x="743" y="3836"/>
                </a:lnTo>
                <a:lnTo>
                  <a:pt x="871" y="3804"/>
                </a:lnTo>
                <a:lnTo>
                  <a:pt x="1000" y="3775"/>
                </a:lnTo>
                <a:lnTo>
                  <a:pt x="1129" y="3749"/>
                </a:lnTo>
                <a:lnTo>
                  <a:pt x="1259" y="3727"/>
                </a:lnTo>
                <a:lnTo>
                  <a:pt x="1389" y="3707"/>
                </a:lnTo>
                <a:lnTo>
                  <a:pt x="1521" y="3692"/>
                </a:lnTo>
                <a:lnTo>
                  <a:pt x="1652" y="3680"/>
                </a:lnTo>
                <a:lnTo>
                  <a:pt x="1783" y="3671"/>
                </a:lnTo>
                <a:lnTo>
                  <a:pt x="1915" y="3666"/>
                </a:lnTo>
                <a:lnTo>
                  <a:pt x="2047" y="3664"/>
                </a:lnTo>
                <a:lnTo>
                  <a:pt x="2178" y="3666"/>
                </a:lnTo>
                <a:lnTo>
                  <a:pt x="2311" y="3671"/>
                </a:lnTo>
                <a:lnTo>
                  <a:pt x="2442" y="3680"/>
                </a:lnTo>
                <a:lnTo>
                  <a:pt x="2573" y="3692"/>
                </a:lnTo>
                <a:lnTo>
                  <a:pt x="2704" y="3707"/>
                </a:lnTo>
                <a:lnTo>
                  <a:pt x="2835" y="3727"/>
                </a:lnTo>
                <a:lnTo>
                  <a:pt x="2964" y="3749"/>
                </a:lnTo>
                <a:lnTo>
                  <a:pt x="3093" y="3775"/>
                </a:lnTo>
                <a:lnTo>
                  <a:pt x="3222" y="3804"/>
                </a:lnTo>
                <a:lnTo>
                  <a:pt x="3350" y="3836"/>
                </a:lnTo>
                <a:lnTo>
                  <a:pt x="3476" y="3873"/>
                </a:lnTo>
                <a:lnTo>
                  <a:pt x="3602" y="3912"/>
                </a:lnTo>
                <a:lnTo>
                  <a:pt x="3726" y="3955"/>
                </a:lnTo>
                <a:lnTo>
                  <a:pt x="3850" y="4001"/>
                </a:lnTo>
                <a:lnTo>
                  <a:pt x="3972" y="4051"/>
                </a:lnTo>
                <a:lnTo>
                  <a:pt x="4092" y="4104"/>
                </a:lnTo>
                <a:lnTo>
                  <a:pt x="4092" y="0"/>
                </a:lnTo>
                <a:lnTo>
                  <a:pt x="0" y="0"/>
                </a:lnTo>
                <a:lnTo>
                  <a:pt x="0" y="4104"/>
                </a:lnTo>
                <a:close/>
                <a:moveTo>
                  <a:pt x="3198" y="1210"/>
                </a:moveTo>
                <a:lnTo>
                  <a:pt x="3205" y="1184"/>
                </a:lnTo>
                <a:lnTo>
                  <a:pt x="3214" y="1158"/>
                </a:lnTo>
                <a:lnTo>
                  <a:pt x="3891" y="1158"/>
                </a:lnTo>
                <a:lnTo>
                  <a:pt x="3891" y="1443"/>
                </a:lnTo>
                <a:lnTo>
                  <a:pt x="3802" y="1443"/>
                </a:lnTo>
                <a:lnTo>
                  <a:pt x="3788" y="1394"/>
                </a:lnTo>
                <a:lnTo>
                  <a:pt x="3770" y="1352"/>
                </a:lnTo>
                <a:lnTo>
                  <a:pt x="3761" y="1334"/>
                </a:lnTo>
                <a:lnTo>
                  <a:pt x="3749" y="1319"/>
                </a:lnTo>
                <a:lnTo>
                  <a:pt x="3738" y="1304"/>
                </a:lnTo>
                <a:lnTo>
                  <a:pt x="3725" y="1292"/>
                </a:lnTo>
                <a:lnTo>
                  <a:pt x="3712" y="1281"/>
                </a:lnTo>
                <a:lnTo>
                  <a:pt x="3698" y="1272"/>
                </a:lnTo>
                <a:lnTo>
                  <a:pt x="3682" y="1264"/>
                </a:lnTo>
                <a:lnTo>
                  <a:pt x="3667" y="1258"/>
                </a:lnTo>
                <a:lnTo>
                  <a:pt x="3631" y="1250"/>
                </a:lnTo>
                <a:lnTo>
                  <a:pt x="3592" y="1248"/>
                </a:lnTo>
                <a:lnTo>
                  <a:pt x="3509" y="1248"/>
                </a:lnTo>
                <a:lnTo>
                  <a:pt x="3509" y="1254"/>
                </a:lnTo>
                <a:lnTo>
                  <a:pt x="3517" y="1281"/>
                </a:lnTo>
                <a:lnTo>
                  <a:pt x="3528" y="1311"/>
                </a:lnTo>
                <a:lnTo>
                  <a:pt x="3548" y="1353"/>
                </a:lnTo>
                <a:lnTo>
                  <a:pt x="3575" y="1403"/>
                </a:lnTo>
                <a:lnTo>
                  <a:pt x="3613" y="1459"/>
                </a:lnTo>
                <a:lnTo>
                  <a:pt x="3635" y="1491"/>
                </a:lnTo>
                <a:lnTo>
                  <a:pt x="3662" y="1523"/>
                </a:lnTo>
                <a:lnTo>
                  <a:pt x="3691" y="1556"/>
                </a:lnTo>
                <a:lnTo>
                  <a:pt x="3724" y="1590"/>
                </a:lnTo>
                <a:lnTo>
                  <a:pt x="3749" y="1618"/>
                </a:lnTo>
                <a:lnTo>
                  <a:pt x="3778" y="1654"/>
                </a:lnTo>
                <a:lnTo>
                  <a:pt x="3808" y="1698"/>
                </a:lnTo>
                <a:lnTo>
                  <a:pt x="3838" y="1747"/>
                </a:lnTo>
                <a:lnTo>
                  <a:pt x="3865" y="1799"/>
                </a:lnTo>
                <a:lnTo>
                  <a:pt x="3887" y="1852"/>
                </a:lnTo>
                <a:lnTo>
                  <a:pt x="3895" y="1879"/>
                </a:lnTo>
                <a:lnTo>
                  <a:pt x="3901" y="1906"/>
                </a:lnTo>
                <a:lnTo>
                  <a:pt x="3904" y="1932"/>
                </a:lnTo>
                <a:lnTo>
                  <a:pt x="3906" y="1957"/>
                </a:lnTo>
                <a:lnTo>
                  <a:pt x="3905" y="1983"/>
                </a:lnTo>
                <a:lnTo>
                  <a:pt x="3900" y="2004"/>
                </a:lnTo>
                <a:lnTo>
                  <a:pt x="3893" y="2022"/>
                </a:lnTo>
                <a:lnTo>
                  <a:pt x="3883" y="2039"/>
                </a:lnTo>
                <a:lnTo>
                  <a:pt x="3199" y="2039"/>
                </a:lnTo>
                <a:lnTo>
                  <a:pt x="3199" y="1754"/>
                </a:lnTo>
                <a:lnTo>
                  <a:pt x="3293" y="1754"/>
                </a:lnTo>
                <a:lnTo>
                  <a:pt x="3302" y="1791"/>
                </a:lnTo>
                <a:lnTo>
                  <a:pt x="3313" y="1825"/>
                </a:lnTo>
                <a:lnTo>
                  <a:pt x="3328" y="1858"/>
                </a:lnTo>
                <a:lnTo>
                  <a:pt x="3346" y="1887"/>
                </a:lnTo>
                <a:lnTo>
                  <a:pt x="3356" y="1900"/>
                </a:lnTo>
                <a:lnTo>
                  <a:pt x="3369" y="1912"/>
                </a:lnTo>
                <a:lnTo>
                  <a:pt x="3381" y="1922"/>
                </a:lnTo>
                <a:lnTo>
                  <a:pt x="3396" y="1932"/>
                </a:lnTo>
                <a:lnTo>
                  <a:pt x="3412" y="1939"/>
                </a:lnTo>
                <a:lnTo>
                  <a:pt x="3430" y="1944"/>
                </a:lnTo>
                <a:lnTo>
                  <a:pt x="3450" y="1947"/>
                </a:lnTo>
                <a:lnTo>
                  <a:pt x="3472" y="1948"/>
                </a:lnTo>
                <a:lnTo>
                  <a:pt x="3594" y="1948"/>
                </a:lnTo>
                <a:lnTo>
                  <a:pt x="3594" y="1941"/>
                </a:lnTo>
                <a:lnTo>
                  <a:pt x="3586" y="1918"/>
                </a:lnTo>
                <a:lnTo>
                  <a:pt x="3572" y="1876"/>
                </a:lnTo>
                <a:lnTo>
                  <a:pt x="3554" y="1841"/>
                </a:lnTo>
                <a:lnTo>
                  <a:pt x="3529" y="1800"/>
                </a:lnTo>
                <a:lnTo>
                  <a:pt x="3499" y="1758"/>
                </a:lnTo>
                <a:lnTo>
                  <a:pt x="3469" y="1714"/>
                </a:lnTo>
                <a:lnTo>
                  <a:pt x="3412" y="1641"/>
                </a:lnTo>
                <a:lnTo>
                  <a:pt x="3383" y="1603"/>
                </a:lnTo>
                <a:lnTo>
                  <a:pt x="3353" y="1570"/>
                </a:lnTo>
                <a:lnTo>
                  <a:pt x="3324" y="1533"/>
                </a:lnTo>
                <a:lnTo>
                  <a:pt x="3288" y="1485"/>
                </a:lnTo>
                <a:lnTo>
                  <a:pt x="3254" y="1430"/>
                </a:lnTo>
                <a:lnTo>
                  <a:pt x="3238" y="1400"/>
                </a:lnTo>
                <a:lnTo>
                  <a:pt x="3224" y="1370"/>
                </a:lnTo>
                <a:lnTo>
                  <a:pt x="3212" y="1337"/>
                </a:lnTo>
                <a:lnTo>
                  <a:pt x="3203" y="1305"/>
                </a:lnTo>
                <a:lnTo>
                  <a:pt x="3197" y="1273"/>
                </a:lnTo>
                <a:lnTo>
                  <a:pt x="3195" y="1240"/>
                </a:lnTo>
                <a:lnTo>
                  <a:pt x="3198" y="1210"/>
                </a:lnTo>
                <a:close/>
                <a:moveTo>
                  <a:pt x="2404" y="1225"/>
                </a:moveTo>
                <a:lnTo>
                  <a:pt x="2406" y="1210"/>
                </a:lnTo>
                <a:lnTo>
                  <a:pt x="2413" y="1184"/>
                </a:lnTo>
                <a:lnTo>
                  <a:pt x="2422" y="1158"/>
                </a:lnTo>
                <a:lnTo>
                  <a:pt x="3099" y="1158"/>
                </a:lnTo>
                <a:lnTo>
                  <a:pt x="3099" y="1443"/>
                </a:lnTo>
                <a:lnTo>
                  <a:pt x="3010" y="1443"/>
                </a:lnTo>
                <a:lnTo>
                  <a:pt x="2996" y="1394"/>
                </a:lnTo>
                <a:lnTo>
                  <a:pt x="2978" y="1352"/>
                </a:lnTo>
                <a:lnTo>
                  <a:pt x="2968" y="1334"/>
                </a:lnTo>
                <a:lnTo>
                  <a:pt x="2958" y="1319"/>
                </a:lnTo>
                <a:lnTo>
                  <a:pt x="2945" y="1304"/>
                </a:lnTo>
                <a:lnTo>
                  <a:pt x="2933" y="1292"/>
                </a:lnTo>
                <a:lnTo>
                  <a:pt x="2920" y="1281"/>
                </a:lnTo>
                <a:lnTo>
                  <a:pt x="2906" y="1272"/>
                </a:lnTo>
                <a:lnTo>
                  <a:pt x="2890" y="1264"/>
                </a:lnTo>
                <a:lnTo>
                  <a:pt x="2875" y="1258"/>
                </a:lnTo>
                <a:lnTo>
                  <a:pt x="2839" y="1250"/>
                </a:lnTo>
                <a:lnTo>
                  <a:pt x="2800" y="1248"/>
                </a:lnTo>
                <a:lnTo>
                  <a:pt x="2717" y="1248"/>
                </a:lnTo>
                <a:lnTo>
                  <a:pt x="2717" y="1254"/>
                </a:lnTo>
                <a:lnTo>
                  <a:pt x="2725" y="1281"/>
                </a:lnTo>
                <a:lnTo>
                  <a:pt x="2737" y="1311"/>
                </a:lnTo>
                <a:lnTo>
                  <a:pt x="2756" y="1353"/>
                </a:lnTo>
                <a:lnTo>
                  <a:pt x="2783" y="1403"/>
                </a:lnTo>
                <a:lnTo>
                  <a:pt x="2820" y="1459"/>
                </a:lnTo>
                <a:lnTo>
                  <a:pt x="2844" y="1491"/>
                </a:lnTo>
                <a:lnTo>
                  <a:pt x="2870" y="1523"/>
                </a:lnTo>
                <a:lnTo>
                  <a:pt x="2900" y="1556"/>
                </a:lnTo>
                <a:lnTo>
                  <a:pt x="2932" y="1590"/>
                </a:lnTo>
                <a:lnTo>
                  <a:pt x="2957" y="1618"/>
                </a:lnTo>
                <a:lnTo>
                  <a:pt x="2986" y="1654"/>
                </a:lnTo>
                <a:lnTo>
                  <a:pt x="3016" y="1698"/>
                </a:lnTo>
                <a:lnTo>
                  <a:pt x="3046" y="1747"/>
                </a:lnTo>
                <a:lnTo>
                  <a:pt x="3073" y="1799"/>
                </a:lnTo>
                <a:lnTo>
                  <a:pt x="3095" y="1852"/>
                </a:lnTo>
                <a:lnTo>
                  <a:pt x="3103" y="1879"/>
                </a:lnTo>
                <a:lnTo>
                  <a:pt x="3109" y="1906"/>
                </a:lnTo>
                <a:lnTo>
                  <a:pt x="3113" y="1932"/>
                </a:lnTo>
                <a:lnTo>
                  <a:pt x="3114" y="1957"/>
                </a:lnTo>
                <a:lnTo>
                  <a:pt x="3113" y="1983"/>
                </a:lnTo>
                <a:lnTo>
                  <a:pt x="3108" y="2004"/>
                </a:lnTo>
                <a:lnTo>
                  <a:pt x="3101" y="2022"/>
                </a:lnTo>
                <a:lnTo>
                  <a:pt x="3090" y="2039"/>
                </a:lnTo>
                <a:lnTo>
                  <a:pt x="2408" y="2039"/>
                </a:lnTo>
                <a:lnTo>
                  <a:pt x="2408" y="1754"/>
                </a:lnTo>
                <a:lnTo>
                  <a:pt x="2500" y="1754"/>
                </a:lnTo>
                <a:lnTo>
                  <a:pt x="2510" y="1791"/>
                </a:lnTo>
                <a:lnTo>
                  <a:pt x="2521" y="1825"/>
                </a:lnTo>
                <a:lnTo>
                  <a:pt x="2536" y="1858"/>
                </a:lnTo>
                <a:lnTo>
                  <a:pt x="2554" y="1887"/>
                </a:lnTo>
                <a:lnTo>
                  <a:pt x="2564" y="1900"/>
                </a:lnTo>
                <a:lnTo>
                  <a:pt x="2577" y="1912"/>
                </a:lnTo>
                <a:lnTo>
                  <a:pt x="2590" y="1922"/>
                </a:lnTo>
                <a:lnTo>
                  <a:pt x="2605" y="1932"/>
                </a:lnTo>
                <a:lnTo>
                  <a:pt x="2620" y="1939"/>
                </a:lnTo>
                <a:lnTo>
                  <a:pt x="2639" y="1944"/>
                </a:lnTo>
                <a:lnTo>
                  <a:pt x="2659" y="1947"/>
                </a:lnTo>
                <a:lnTo>
                  <a:pt x="2681" y="1948"/>
                </a:lnTo>
                <a:lnTo>
                  <a:pt x="2802" y="1948"/>
                </a:lnTo>
                <a:lnTo>
                  <a:pt x="2802" y="1941"/>
                </a:lnTo>
                <a:lnTo>
                  <a:pt x="2794" y="1918"/>
                </a:lnTo>
                <a:lnTo>
                  <a:pt x="2781" y="1876"/>
                </a:lnTo>
                <a:lnTo>
                  <a:pt x="2762" y="1841"/>
                </a:lnTo>
                <a:lnTo>
                  <a:pt x="2737" y="1800"/>
                </a:lnTo>
                <a:lnTo>
                  <a:pt x="2708" y="1758"/>
                </a:lnTo>
                <a:lnTo>
                  <a:pt x="2677" y="1714"/>
                </a:lnTo>
                <a:lnTo>
                  <a:pt x="2620" y="1641"/>
                </a:lnTo>
                <a:lnTo>
                  <a:pt x="2589" y="1603"/>
                </a:lnTo>
                <a:lnTo>
                  <a:pt x="2561" y="1570"/>
                </a:lnTo>
                <a:lnTo>
                  <a:pt x="2531" y="1533"/>
                </a:lnTo>
                <a:lnTo>
                  <a:pt x="2496" y="1485"/>
                </a:lnTo>
                <a:lnTo>
                  <a:pt x="2462" y="1430"/>
                </a:lnTo>
                <a:lnTo>
                  <a:pt x="2446" y="1400"/>
                </a:lnTo>
                <a:lnTo>
                  <a:pt x="2433" y="1370"/>
                </a:lnTo>
                <a:lnTo>
                  <a:pt x="2420" y="1337"/>
                </a:lnTo>
                <a:lnTo>
                  <a:pt x="2411" y="1305"/>
                </a:lnTo>
                <a:lnTo>
                  <a:pt x="2406" y="1273"/>
                </a:lnTo>
                <a:lnTo>
                  <a:pt x="2402" y="1240"/>
                </a:lnTo>
                <a:lnTo>
                  <a:pt x="2404" y="1225"/>
                </a:lnTo>
                <a:close/>
                <a:moveTo>
                  <a:pt x="1842" y="1948"/>
                </a:moveTo>
                <a:lnTo>
                  <a:pt x="1876" y="1948"/>
                </a:lnTo>
                <a:lnTo>
                  <a:pt x="1884" y="1947"/>
                </a:lnTo>
                <a:lnTo>
                  <a:pt x="1894" y="1943"/>
                </a:lnTo>
                <a:lnTo>
                  <a:pt x="1903" y="1937"/>
                </a:lnTo>
                <a:lnTo>
                  <a:pt x="1913" y="1930"/>
                </a:lnTo>
                <a:lnTo>
                  <a:pt x="1921" y="1920"/>
                </a:lnTo>
                <a:lnTo>
                  <a:pt x="1927" y="1911"/>
                </a:lnTo>
                <a:lnTo>
                  <a:pt x="1931" y="1901"/>
                </a:lnTo>
                <a:lnTo>
                  <a:pt x="1932" y="1892"/>
                </a:lnTo>
                <a:lnTo>
                  <a:pt x="1932" y="1308"/>
                </a:lnTo>
                <a:lnTo>
                  <a:pt x="1931" y="1299"/>
                </a:lnTo>
                <a:lnTo>
                  <a:pt x="1927" y="1289"/>
                </a:lnTo>
                <a:lnTo>
                  <a:pt x="1921" y="1280"/>
                </a:lnTo>
                <a:lnTo>
                  <a:pt x="1913" y="1271"/>
                </a:lnTo>
                <a:lnTo>
                  <a:pt x="1903" y="1262"/>
                </a:lnTo>
                <a:lnTo>
                  <a:pt x="1893" y="1255"/>
                </a:lnTo>
                <a:lnTo>
                  <a:pt x="1882" y="1251"/>
                </a:lnTo>
                <a:lnTo>
                  <a:pt x="1872" y="1250"/>
                </a:lnTo>
                <a:lnTo>
                  <a:pt x="1842" y="1250"/>
                </a:lnTo>
                <a:lnTo>
                  <a:pt x="1842" y="1158"/>
                </a:lnTo>
                <a:lnTo>
                  <a:pt x="2306" y="1158"/>
                </a:lnTo>
                <a:lnTo>
                  <a:pt x="2306" y="1250"/>
                </a:lnTo>
                <a:lnTo>
                  <a:pt x="2275" y="1250"/>
                </a:lnTo>
                <a:lnTo>
                  <a:pt x="2263" y="1252"/>
                </a:lnTo>
                <a:lnTo>
                  <a:pt x="2251" y="1257"/>
                </a:lnTo>
                <a:lnTo>
                  <a:pt x="2241" y="1265"/>
                </a:lnTo>
                <a:lnTo>
                  <a:pt x="2232" y="1276"/>
                </a:lnTo>
                <a:lnTo>
                  <a:pt x="2224" y="1287"/>
                </a:lnTo>
                <a:lnTo>
                  <a:pt x="2219" y="1299"/>
                </a:lnTo>
                <a:lnTo>
                  <a:pt x="2216" y="1309"/>
                </a:lnTo>
                <a:lnTo>
                  <a:pt x="2214" y="1319"/>
                </a:lnTo>
                <a:lnTo>
                  <a:pt x="2214" y="1881"/>
                </a:lnTo>
                <a:lnTo>
                  <a:pt x="2215" y="1890"/>
                </a:lnTo>
                <a:lnTo>
                  <a:pt x="2219" y="1900"/>
                </a:lnTo>
                <a:lnTo>
                  <a:pt x="2224" y="1912"/>
                </a:lnTo>
                <a:lnTo>
                  <a:pt x="2230" y="1923"/>
                </a:lnTo>
                <a:lnTo>
                  <a:pt x="2239" y="1933"/>
                </a:lnTo>
                <a:lnTo>
                  <a:pt x="2249" y="1941"/>
                </a:lnTo>
                <a:lnTo>
                  <a:pt x="2260" y="1946"/>
                </a:lnTo>
                <a:lnTo>
                  <a:pt x="2271" y="1948"/>
                </a:lnTo>
                <a:lnTo>
                  <a:pt x="2306" y="1948"/>
                </a:lnTo>
                <a:lnTo>
                  <a:pt x="2306" y="2039"/>
                </a:lnTo>
                <a:lnTo>
                  <a:pt x="1842" y="2039"/>
                </a:lnTo>
                <a:lnTo>
                  <a:pt x="1842" y="1948"/>
                </a:lnTo>
                <a:close/>
                <a:moveTo>
                  <a:pt x="995" y="1946"/>
                </a:moveTo>
                <a:lnTo>
                  <a:pt x="1030" y="1946"/>
                </a:lnTo>
                <a:lnTo>
                  <a:pt x="1038" y="1944"/>
                </a:lnTo>
                <a:lnTo>
                  <a:pt x="1047" y="1941"/>
                </a:lnTo>
                <a:lnTo>
                  <a:pt x="1057" y="1935"/>
                </a:lnTo>
                <a:lnTo>
                  <a:pt x="1066" y="1927"/>
                </a:lnTo>
                <a:lnTo>
                  <a:pt x="1075" y="1918"/>
                </a:lnTo>
                <a:lnTo>
                  <a:pt x="1081" y="1909"/>
                </a:lnTo>
                <a:lnTo>
                  <a:pt x="1085" y="1899"/>
                </a:lnTo>
                <a:lnTo>
                  <a:pt x="1086" y="1889"/>
                </a:lnTo>
                <a:lnTo>
                  <a:pt x="1086" y="1308"/>
                </a:lnTo>
                <a:lnTo>
                  <a:pt x="1085" y="1299"/>
                </a:lnTo>
                <a:lnTo>
                  <a:pt x="1081" y="1289"/>
                </a:lnTo>
                <a:lnTo>
                  <a:pt x="1075" y="1280"/>
                </a:lnTo>
                <a:lnTo>
                  <a:pt x="1066" y="1271"/>
                </a:lnTo>
                <a:lnTo>
                  <a:pt x="1057" y="1262"/>
                </a:lnTo>
                <a:lnTo>
                  <a:pt x="1046" y="1256"/>
                </a:lnTo>
                <a:lnTo>
                  <a:pt x="1036" y="1251"/>
                </a:lnTo>
                <a:lnTo>
                  <a:pt x="1026" y="1250"/>
                </a:lnTo>
                <a:lnTo>
                  <a:pt x="995" y="1250"/>
                </a:lnTo>
                <a:lnTo>
                  <a:pt x="995" y="1158"/>
                </a:lnTo>
                <a:lnTo>
                  <a:pt x="1742" y="1158"/>
                </a:lnTo>
                <a:lnTo>
                  <a:pt x="1742" y="1443"/>
                </a:lnTo>
                <a:lnTo>
                  <a:pt x="1648" y="1443"/>
                </a:lnTo>
                <a:lnTo>
                  <a:pt x="1635" y="1397"/>
                </a:lnTo>
                <a:lnTo>
                  <a:pt x="1620" y="1356"/>
                </a:lnTo>
                <a:lnTo>
                  <a:pt x="1602" y="1323"/>
                </a:lnTo>
                <a:lnTo>
                  <a:pt x="1592" y="1308"/>
                </a:lnTo>
                <a:lnTo>
                  <a:pt x="1581" y="1296"/>
                </a:lnTo>
                <a:lnTo>
                  <a:pt x="1570" y="1284"/>
                </a:lnTo>
                <a:lnTo>
                  <a:pt x="1557" y="1275"/>
                </a:lnTo>
                <a:lnTo>
                  <a:pt x="1544" y="1267"/>
                </a:lnTo>
                <a:lnTo>
                  <a:pt x="1530" y="1259"/>
                </a:lnTo>
                <a:lnTo>
                  <a:pt x="1514" y="1254"/>
                </a:lnTo>
                <a:lnTo>
                  <a:pt x="1498" y="1251"/>
                </a:lnTo>
                <a:lnTo>
                  <a:pt x="1461" y="1248"/>
                </a:lnTo>
                <a:lnTo>
                  <a:pt x="1369" y="1248"/>
                </a:lnTo>
                <a:lnTo>
                  <a:pt x="1369" y="1553"/>
                </a:lnTo>
                <a:lnTo>
                  <a:pt x="1416" y="1553"/>
                </a:lnTo>
                <a:lnTo>
                  <a:pt x="1432" y="1548"/>
                </a:lnTo>
                <a:lnTo>
                  <a:pt x="1441" y="1542"/>
                </a:lnTo>
                <a:lnTo>
                  <a:pt x="1452" y="1533"/>
                </a:lnTo>
                <a:lnTo>
                  <a:pt x="1461" y="1524"/>
                </a:lnTo>
                <a:lnTo>
                  <a:pt x="1470" y="1513"/>
                </a:lnTo>
                <a:lnTo>
                  <a:pt x="1475" y="1500"/>
                </a:lnTo>
                <a:lnTo>
                  <a:pt x="1477" y="1485"/>
                </a:lnTo>
                <a:lnTo>
                  <a:pt x="1477" y="1445"/>
                </a:lnTo>
                <a:lnTo>
                  <a:pt x="1568" y="1445"/>
                </a:lnTo>
                <a:lnTo>
                  <a:pt x="1568" y="1752"/>
                </a:lnTo>
                <a:lnTo>
                  <a:pt x="1477" y="1752"/>
                </a:lnTo>
                <a:lnTo>
                  <a:pt x="1477" y="1714"/>
                </a:lnTo>
                <a:lnTo>
                  <a:pt x="1476" y="1704"/>
                </a:lnTo>
                <a:lnTo>
                  <a:pt x="1472" y="1693"/>
                </a:lnTo>
                <a:lnTo>
                  <a:pt x="1465" y="1681"/>
                </a:lnTo>
                <a:lnTo>
                  <a:pt x="1457" y="1671"/>
                </a:lnTo>
                <a:lnTo>
                  <a:pt x="1447" y="1661"/>
                </a:lnTo>
                <a:lnTo>
                  <a:pt x="1433" y="1652"/>
                </a:lnTo>
                <a:lnTo>
                  <a:pt x="1419" y="1646"/>
                </a:lnTo>
                <a:lnTo>
                  <a:pt x="1401" y="1644"/>
                </a:lnTo>
                <a:lnTo>
                  <a:pt x="1369" y="1644"/>
                </a:lnTo>
                <a:lnTo>
                  <a:pt x="1369" y="1948"/>
                </a:lnTo>
                <a:lnTo>
                  <a:pt x="1471" y="1948"/>
                </a:lnTo>
                <a:lnTo>
                  <a:pt x="1497" y="1946"/>
                </a:lnTo>
                <a:lnTo>
                  <a:pt x="1524" y="1939"/>
                </a:lnTo>
                <a:lnTo>
                  <a:pt x="1551" y="1925"/>
                </a:lnTo>
                <a:lnTo>
                  <a:pt x="1564" y="1917"/>
                </a:lnTo>
                <a:lnTo>
                  <a:pt x="1577" y="1907"/>
                </a:lnTo>
                <a:lnTo>
                  <a:pt x="1589" y="1894"/>
                </a:lnTo>
                <a:lnTo>
                  <a:pt x="1600" y="1881"/>
                </a:lnTo>
                <a:lnTo>
                  <a:pt x="1611" y="1865"/>
                </a:lnTo>
                <a:lnTo>
                  <a:pt x="1621" y="1847"/>
                </a:lnTo>
                <a:lnTo>
                  <a:pt x="1629" y="1827"/>
                </a:lnTo>
                <a:lnTo>
                  <a:pt x="1637" y="1805"/>
                </a:lnTo>
                <a:lnTo>
                  <a:pt x="1644" y="1781"/>
                </a:lnTo>
                <a:lnTo>
                  <a:pt x="1648" y="1754"/>
                </a:lnTo>
                <a:lnTo>
                  <a:pt x="1742" y="1754"/>
                </a:lnTo>
                <a:lnTo>
                  <a:pt x="1742" y="2039"/>
                </a:lnTo>
                <a:lnTo>
                  <a:pt x="995" y="2039"/>
                </a:lnTo>
                <a:lnTo>
                  <a:pt x="995" y="1946"/>
                </a:lnTo>
                <a:close/>
                <a:moveTo>
                  <a:pt x="173" y="1998"/>
                </a:moveTo>
                <a:lnTo>
                  <a:pt x="174" y="1983"/>
                </a:lnTo>
                <a:lnTo>
                  <a:pt x="180" y="1948"/>
                </a:lnTo>
                <a:lnTo>
                  <a:pt x="192" y="1901"/>
                </a:lnTo>
                <a:lnTo>
                  <a:pt x="201" y="1874"/>
                </a:lnTo>
                <a:lnTo>
                  <a:pt x="213" y="1846"/>
                </a:lnTo>
                <a:lnTo>
                  <a:pt x="235" y="1796"/>
                </a:lnTo>
                <a:lnTo>
                  <a:pt x="267" y="1734"/>
                </a:lnTo>
                <a:lnTo>
                  <a:pt x="287" y="1700"/>
                </a:lnTo>
                <a:lnTo>
                  <a:pt x="309" y="1667"/>
                </a:lnTo>
                <a:lnTo>
                  <a:pt x="334" y="1635"/>
                </a:lnTo>
                <a:lnTo>
                  <a:pt x="360" y="1605"/>
                </a:lnTo>
                <a:lnTo>
                  <a:pt x="392" y="1572"/>
                </a:lnTo>
                <a:lnTo>
                  <a:pt x="420" y="1540"/>
                </a:lnTo>
                <a:lnTo>
                  <a:pt x="469" y="1477"/>
                </a:lnTo>
                <a:lnTo>
                  <a:pt x="508" y="1420"/>
                </a:lnTo>
                <a:lnTo>
                  <a:pt x="538" y="1368"/>
                </a:lnTo>
                <a:lnTo>
                  <a:pt x="559" y="1324"/>
                </a:lnTo>
                <a:lnTo>
                  <a:pt x="574" y="1289"/>
                </a:lnTo>
                <a:lnTo>
                  <a:pt x="588" y="1254"/>
                </a:lnTo>
                <a:lnTo>
                  <a:pt x="588" y="1248"/>
                </a:lnTo>
                <a:lnTo>
                  <a:pt x="506" y="1248"/>
                </a:lnTo>
                <a:lnTo>
                  <a:pt x="472" y="1250"/>
                </a:lnTo>
                <a:lnTo>
                  <a:pt x="443" y="1255"/>
                </a:lnTo>
                <a:lnTo>
                  <a:pt x="418" y="1264"/>
                </a:lnTo>
                <a:lnTo>
                  <a:pt x="395" y="1276"/>
                </a:lnTo>
                <a:lnTo>
                  <a:pt x="375" y="1289"/>
                </a:lnTo>
                <a:lnTo>
                  <a:pt x="359" y="1305"/>
                </a:lnTo>
                <a:lnTo>
                  <a:pt x="344" y="1322"/>
                </a:lnTo>
                <a:lnTo>
                  <a:pt x="332" y="1340"/>
                </a:lnTo>
                <a:lnTo>
                  <a:pt x="315" y="1374"/>
                </a:lnTo>
                <a:lnTo>
                  <a:pt x="303" y="1405"/>
                </a:lnTo>
                <a:lnTo>
                  <a:pt x="295" y="1443"/>
                </a:lnTo>
                <a:lnTo>
                  <a:pt x="206" y="1443"/>
                </a:lnTo>
                <a:lnTo>
                  <a:pt x="206" y="1158"/>
                </a:lnTo>
                <a:lnTo>
                  <a:pt x="913" y="1158"/>
                </a:lnTo>
                <a:lnTo>
                  <a:pt x="913" y="1182"/>
                </a:lnTo>
                <a:lnTo>
                  <a:pt x="912" y="1195"/>
                </a:lnTo>
                <a:lnTo>
                  <a:pt x="907" y="1226"/>
                </a:lnTo>
                <a:lnTo>
                  <a:pt x="897" y="1271"/>
                </a:lnTo>
                <a:lnTo>
                  <a:pt x="881" y="1325"/>
                </a:lnTo>
                <a:lnTo>
                  <a:pt x="859" y="1379"/>
                </a:lnTo>
                <a:lnTo>
                  <a:pt x="835" y="1428"/>
                </a:lnTo>
                <a:lnTo>
                  <a:pt x="810" y="1474"/>
                </a:lnTo>
                <a:lnTo>
                  <a:pt x="784" y="1516"/>
                </a:lnTo>
                <a:lnTo>
                  <a:pt x="757" y="1554"/>
                </a:lnTo>
                <a:lnTo>
                  <a:pt x="730" y="1590"/>
                </a:lnTo>
                <a:lnTo>
                  <a:pt x="673" y="1658"/>
                </a:lnTo>
                <a:lnTo>
                  <a:pt x="620" y="1723"/>
                </a:lnTo>
                <a:lnTo>
                  <a:pt x="596" y="1756"/>
                </a:lnTo>
                <a:lnTo>
                  <a:pt x="572" y="1790"/>
                </a:lnTo>
                <a:lnTo>
                  <a:pt x="551" y="1825"/>
                </a:lnTo>
                <a:lnTo>
                  <a:pt x="533" y="1864"/>
                </a:lnTo>
                <a:lnTo>
                  <a:pt x="516" y="1904"/>
                </a:lnTo>
                <a:lnTo>
                  <a:pt x="503" y="1948"/>
                </a:lnTo>
                <a:lnTo>
                  <a:pt x="624" y="1948"/>
                </a:lnTo>
                <a:lnTo>
                  <a:pt x="651" y="1946"/>
                </a:lnTo>
                <a:lnTo>
                  <a:pt x="680" y="1939"/>
                </a:lnTo>
                <a:lnTo>
                  <a:pt x="707" y="1925"/>
                </a:lnTo>
                <a:lnTo>
                  <a:pt x="720" y="1917"/>
                </a:lnTo>
                <a:lnTo>
                  <a:pt x="733" y="1907"/>
                </a:lnTo>
                <a:lnTo>
                  <a:pt x="744" y="1894"/>
                </a:lnTo>
                <a:lnTo>
                  <a:pt x="756" y="1881"/>
                </a:lnTo>
                <a:lnTo>
                  <a:pt x="767" y="1865"/>
                </a:lnTo>
                <a:lnTo>
                  <a:pt x="777" y="1847"/>
                </a:lnTo>
                <a:lnTo>
                  <a:pt x="786" y="1827"/>
                </a:lnTo>
                <a:lnTo>
                  <a:pt x="793" y="1805"/>
                </a:lnTo>
                <a:lnTo>
                  <a:pt x="799" y="1781"/>
                </a:lnTo>
                <a:lnTo>
                  <a:pt x="805" y="1754"/>
                </a:lnTo>
                <a:lnTo>
                  <a:pt x="897" y="1754"/>
                </a:lnTo>
                <a:lnTo>
                  <a:pt x="897" y="2039"/>
                </a:lnTo>
                <a:lnTo>
                  <a:pt x="173" y="2039"/>
                </a:lnTo>
                <a:lnTo>
                  <a:pt x="173" y="1998"/>
                </a:lnTo>
                <a:close/>
              </a:path>
            </a:pathLst>
          </a:custGeom>
          <a:solidFill>
            <a:srgbClr val="0000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sz="1600">
              <a:solidFill>
                <a:srgbClr val="000000"/>
              </a:solidFill>
            </a:endParaRPr>
          </a:p>
        </p:txBody>
      </p:sp>
      <p:sp>
        <p:nvSpPr>
          <p:cNvPr id="3" name="Text Placeholder 2"/>
          <p:cNvSpPr>
            <a:spLocks noGrp="1"/>
          </p:cNvSpPr>
          <p:nvPr>
            <p:ph type="body" sz="quarter" idx="10"/>
          </p:nvPr>
        </p:nvSpPr>
        <p:spPr>
          <a:xfrm>
            <a:off x="468000" y="5940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7" name="Text Placeholder 2"/>
          <p:cNvSpPr>
            <a:spLocks noGrp="1"/>
          </p:cNvSpPr>
          <p:nvPr>
            <p:ph type="body" sz="quarter" idx="11"/>
          </p:nvPr>
        </p:nvSpPr>
        <p:spPr>
          <a:xfrm>
            <a:off x="468000" y="6192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8" name="Text Placeholder 2"/>
          <p:cNvSpPr>
            <a:spLocks noGrp="1"/>
          </p:cNvSpPr>
          <p:nvPr>
            <p:ph type="body" sz="quarter" idx="12"/>
          </p:nvPr>
        </p:nvSpPr>
        <p:spPr>
          <a:xfrm>
            <a:off x="468000" y="6444000"/>
            <a:ext cx="3024682" cy="208952"/>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4" name="Title 3"/>
          <p:cNvSpPr>
            <a:spLocks noGrp="1"/>
          </p:cNvSpPr>
          <p:nvPr>
            <p:ph type="title"/>
          </p:nvPr>
        </p:nvSpPr>
        <p:spPr/>
        <p:txBody>
          <a:bodyPr/>
          <a:lstStyle/>
          <a:p>
            <a:r>
              <a:rPr lang="en-US"/>
              <a:t>Click to edit Master title style</a:t>
            </a:r>
          </a:p>
        </p:txBody>
      </p:sp>
      <p:pic>
        <p:nvPicPr>
          <p:cNvPr id="9" name="Picture 49" descr="Microscopy"/>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0" y="1350965"/>
            <a:ext cx="9144000" cy="4351337"/>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bwMode="gray">
          <a:xfrm>
            <a:off x="-865458" y="1773238"/>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1" name="TextBox 10"/>
          <p:cNvSpPr txBox="1"/>
          <p:nvPr userDrawn="1"/>
        </p:nvSpPr>
        <p:spPr bwMode="gray">
          <a:xfrm>
            <a:off x="-956830" y="1554163"/>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2" name="Straight Connector 11"/>
          <p:cNvCxnSpPr/>
          <p:nvPr userDrawn="1"/>
        </p:nvCxnSpPr>
        <p:spPr bwMode="gray">
          <a:xfrm flipH="1">
            <a:off x="-288540" y="17732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bwMode="gray">
          <a:xfrm flipH="1">
            <a:off x="-288540" y="15573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userDrawn="1"/>
        </p:nvSpPr>
        <p:spPr bwMode="gray">
          <a:xfrm>
            <a:off x="-865458" y="6093281"/>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5" name="TextBox 14"/>
          <p:cNvSpPr txBox="1"/>
          <p:nvPr userDrawn="1"/>
        </p:nvSpPr>
        <p:spPr bwMode="gray">
          <a:xfrm>
            <a:off x="-956829" y="6524625"/>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6" name="Straight Connector 15"/>
          <p:cNvCxnSpPr/>
          <p:nvPr userDrawn="1"/>
        </p:nvCxnSpPr>
        <p:spPr bwMode="gray">
          <a:xfrm flipH="1">
            <a:off x="-288540" y="6522107"/>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gray">
          <a:xfrm flipH="1">
            <a:off x="-288540" y="6306344"/>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nvGrpSpPr>
          <p:cNvPr id="25" name="Group 24"/>
          <p:cNvGrpSpPr/>
          <p:nvPr userDrawn="1"/>
        </p:nvGrpSpPr>
        <p:grpSpPr>
          <a:xfrm rot="5400000">
            <a:off x="-43126" y="-645663"/>
            <a:ext cx="807434" cy="215444"/>
            <a:chOff x="-1248737" y="516171"/>
            <a:chExt cx="807434" cy="215444"/>
          </a:xfrm>
        </p:grpSpPr>
        <p:sp>
          <p:nvSpPr>
            <p:cNvPr id="26" name="TextBox 25"/>
            <p:cNvSpPr txBox="1"/>
            <p:nvPr userDrawn="1"/>
          </p:nvSpPr>
          <p:spPr bwMode="gray">
            <a:xfrm>
              <a:off x="-1248737" y="516171"/>
              <a:ext cx="766557"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Lef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27" name="Straight Connector 26"/>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28" name="Group 27"/>
          <p:cNvGrpSpPr/>
          <p:nvPr userDrawn="1"/>
        </p:nvGrpSpPr>
        <p:grpSpPr>
          <a:xfrm rot="5400000">
            <a:off x="8185327" y="-625720"/>
            <a:ext cx="767548" cy="215444"/>
            <a:chOff x="-1285606" y="516176"/>
            <a:chExt cx="844303" cy="215444"/>
          </a:xfrm>
        </p:grpSpPr>
        <p:sp>
          <p:nvSpPr>
            <p:cNvPr id="29" name="TextBox 28"/>
            <p:cNvSpPr txBox="1"/>
            <p:nvPr userDrawn="1"/>
          </p:nvSpPr>
          <p:spPr bwMode="gray">
            <a:xfrm>
              <a:off x="-1285606" y="516176"/>
              <a:ext cx="840295"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Righ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30" name="Straight Connector 29"/>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61447084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Slide - Training">
    <p:spTree>
      <p:nvGrpSpPr>
        <p:cNvPr id="1" name=""/>
        <p:cNvGrpSpPr/>
        <p:nvPr/>
      </p:nvGrpSpPr>
      <p:grpSpPr>
        <a:xfrm>
          <a:off x="0" y="0"/>
          <a:ext cx="0" cy="0"/>
          <a:chOff x="0" y="0"/>
          <a:chExt cx="0" cy="0"/>
        </a:xfrm>
      </p:grpSpPr>
      <p:sp>
        <p:nvSpPr>
          <p:cNvPr id="3251215" name="Freeform 15"/>
          <p:cNvSpPr>
            <a:spLocks noEditPoints="1"/>
          </p:cNvSpPr>
          <p:nvPr>
            <p:custDataLst>
              <p:tags r:id="rId2"/>
            </p:custDataLst>
          </p:nvPr>
        </p:nvSpPr>
        <p:spPr bwMode="auto">
          <a:xfrm>
            <a:off x="8216900" y="379414"/>
            <a:ext cx="463550" cy="488951"/>
          </a:xfrm>
          <a:custGeom>
            <a:avLst/>
            <a:gdLst>
              <a:gd name="T0" fmla="*/ 743 w 4092"/>
              <a:gd name="T1" fmla="*/ 3836 h 4104"/>
              <a:gd name="T2" fmla="*/ 1652 w 4092"/>
              <a:gd name="T3" fmla="*/ 3680 h 4104"/>
              <a:gd name="T4" fmla="*/ 2573 w 4092"/>
              <a:gd name="T5" fmla="*/ 3692 h 4104"/>
              <a:gd name="T6" fmla="*/ 3476 w 4092"/>
              <a:gd name="T7" fmla="*/ 3873 h 4104"/>
              <a:gd name="T8" fmla="*/ 0 w 4092"/>
              <a:gd name="T9" fmla="*/ 0 h 4104"/>
              <a:gd name="T10" fmla="*/ 3802 w 4092"/>
              <a:gd name="T11" fmla="*/ 1443 h 4104"/>
              <a:gd name="T12" fmla="*/ 3712 w 4092"/>
              <a:gd name="T13" fmla="*/ 1281 h 4104"/>
              <a:gd name="T14" fmla="*/ 3509 w 4092"/>
              <a:gd name="T15" fmla="*/ 1254 h 4104"/>
              <a:gd name="T16" fmla="*/ 3662 w 4092"/>
              <a:gd name="T17" fmla="*/ 1523 h 4104"/>
              <a:gd name="T18" fmla="*/ 3865 w 4092"/>
              <a:gd name="T19" fmla="*/ 1799 h 4104"/>
              <a:gd name="T20" fmla="*/ 3900 w 4092"/>
              <a:gd name="T21" fmla="*/ 2004 h 4104"/>
              <a:gd name="T22" fmla="*/ 3313 w 4092"/>
              <a:gd name="T23" fmla="*/ 1825 h 4104"/>
              <a:gd name="T24" fmla="*/ 3412 w 4092"/>
              <a:gd name="T25" fmla="*/ 1939 h 4104"/>
              <a:gd name="T26" fmla="*/ 3572 w 4092"/>
              <a:gd name="T27" fmla="*/ 1876 h 4104"/>
              <a:gd name="T28" fmla="*/ 3353 w 4092"/>
              <a:gd name="T29" fmla="*/ 1570 h 4104"/>
              <a:gd name="T30" fmla="*/ 3203 w 4092"/>
              <a:gd name="T31" fmla="*/ 1305 h 4104"/>
              <a:gd name="T32" fmla="*/ 2422 w 4092"/>
              <a:gd name="T33" fmla="*/ 1158 h 4104"/>
              <a:gd name="T34" fmla="*/ 2958 w 4092"/>
              <a:gd name="T35" fmla="*/ 1319 h 4104"/>
              <a:gd name="T36" fmla="*/ 2839 w 4092"/>
              <a:gd name="T37" fmla="*/ 1250 h 4104"/>
              <a:gd name="T38" fmla="*/ 2783 w 4092"/>
              <a:gd name="T39" fmla="*/ 1403 h 4104"/>
              <a:gd name="T40" fmla="*/ 2986 w 4092"/>
              <a:gd name="T41" fmla="*/ 1654 h 4104"/>
              <a:gd name="T42" fmla="*/ 3113 w 4092"/>
              <a:gd name="T43" fmla="*/ 1932 h 4104"/>
              <a:gd name="T44" fmla="*/ 2408 w 4092"/>
              <a:gd name="T45" fmla="*/ 1754 h 4104"/>
              <a:gd name="T46" fmla="*/ 2577 w 4092"/>
              <a:gd name="T47" fmla="*/ 1912 h 4104"/>
              <a:gd name="T48" fmla="*/ 2802 w 4092"/>
              <a:gd name="T49" fmla="*/ 1948 h 4104"/>
              <a:gd name="T50" fmla="*/ 2677 w 4092"/>
              <a:gd name="T51" fmla="*/ 1714 h 4104"/>
              <a:gd name="T52" fmla="*/ 2446 w 4092"/>
              <a:gd name="T53" fmla="*/ 1400 h 4104"/>
              <a:gd name="T54" fmla="*/ 1842 w 4092"/>
              <a:gd name="T55" fmla="*/ 1948 h 4104"/>
              <a:gd name="T56" fmla="*/ 1927 w 4092"/>
              <a:gd name="T57" fmla="*/ 1911 h 4104"/>
              <a:gd name="T58" fmla="*/ 1913 w 4092"/>
              <a:gd name="T59" fmla="*/ 1271 h 4104"/>
              <a:gd name="T60" fmla="*/ 2306 w 4092"/>
              <a:gd name="T61" fmla="*/ 1158 h 4104"/>
              <a:gd name="T62" fmla="*/ 2224 w 4092"/>
              <a:gd name="T63" fmla="*/ 1287 h 4104"/>
              <a:gd name="T64" fmla="*/ 2224 w 4092"/>
              <a:gd name="T65" fmla="*/ 1912 h 4104"/>
              <a:gd name="T66" fmla="*/ 2306 w 4092"/>
              <a:gd name="T67" fmla="*/ 2039 h 4104"/>
              <a:gd name="T68" fmla="*/ 1057 w 4092"/>
              <a:gd name="T69" fmla="*/ 1935 h 4104"/>
              <a:gd name="T70" fmla="*/ 1085 w 4092"/>
              <a:gd name="T71" fmla="*/ 1299 h 4104"/>
              <a:gd name="T72" fmla="*/ 1026 w 4092"/>
              <a:gd name="T73" fmla="*/ 1250 h 4104"/>
              <a:gd name="T74" fmla="*/ 1620 w 4092"/>
              <a:gd name="T75" fmla="*/ 1356 h 4104"/>
              <a:gd name="T76" fmla="*/ 1530 w 4092"/>
              <a:gd name="T77" fmla="*/ 1259 h 4104"/>
              <a:gd name="T78" fmla="*/ 1432 w 4092"/>
              <a:gd name="T79" fmla="*/ 1548 h 4104"/>
              <a:gd name="T80" fmla="*/ 1477 w 4092"/>
              <a:gd name="T81" fmla="*/ 1445 h 4104"/>
              <a:gd name="T82" fmla="*/ 1465 w 4092"/>
              <a:gd name="T83" fmla="*/ 1681 h 4104"/>
              <a:gd name="T84" fmla="*/ 1369 w 4092"/>
              <a:gd name="T85" fmla="*/ 1948 h 4104"/>
              <a:gd name="T86" fmla="*/ 1589 w 4092"/>
              <a:gd name="T87" fmla="*/ 1894 h 4104"/>
              <a:gd name="T88" fmla="*/ 1648 w 4092"/>
              <a:gd name="T89" fmla="*/ 1754 h 4104"/>
              <a:gd name="T90" fmla="*/ 180 w 4092"/>
              <a:gd name="T91" fmla="*/ 1948 h 4104"/>
              <a:gd name="T92" fmla="*/ 309 w 4092"/>
              <a:gd name="T93" fmla="*/ 1667 h 4104"/>
              <a:gd name="T94" fmla="*/ 538 w 4092"/>
              <a:gd name="T95" fmla="*/ 1368 h 4104"/>
              <a:gd name="T96" fmla="*/ 443 w 4092"/>
              <a:gd name="T97" fmla="*/ 1255 h 4104"/>
              <a:gd name="T98" fmla="*/ 315 w 4092"/>
              <a:gd name="T99" fmla="*/ 1374 h 4104"/>
              <a:gd name="T100" fmla="*/ 912 w 4092"/>
              <a:gd name="T101" fmla="*/ 1195 h 4104"/>
              <a:gd name="T102" fmla="*/ 784 w 4092"/>
              <a:gd name="T103" fmla="*/ 1516 h 4104"/>
              <a:gd name="T104" fmla="*/ 551 w 4092"/>
              <a:gd name="T105" fmla="*/ 1825 h 4104"/>
              <a:gd name="T106" fmla="*/ 707 w 4092"/>
              <a:gd name="T107" fmla="*/ 1925 h 4104"/>
              <a:gd name="T108" fmla="*/ 786 w 4092"/>
              <a:gd name="T109" fmla="*/ 1827 h 4104"/>
              <a:gd name="T110" fmla="*/ 173 w 4092"/>
              <a:gd name="T111" fmla="*/ 1998 h 4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92" h="4104">
                <a:moveTo>
                  <a:pt x="0" y="4104"/>
                </a:moveTo>
                <a:lnTo>
                  <a:pt x="121" y="4051"/>
                </a:lnTo>
                <a:lnTo>
                  <a:pt x="243" y="4001"/>
                </a:lnTo>
                <a:lnTo>
                  <a:pt x="366" y="3955"/>
                </a:lnTo>
                <a:lnTo>
                  <a:pt x="491" y="3912"/>
                </a:lnTo>
                <a:lnTo>
                  <a:pt x="617" y="3873"/>
                </a:lnTo>
                <a:lnTo>
                  <a:pt x="743" y="3836"/>
                </a:lnTo>
                <a:lnTo>
                  <a:pt x="871" y="3804"/>
                </a:lnTo>
                <a:lnTo>
                  <a:pt x="1000" y="3775"/>
                </a:lnTo>
                <a:lnTo>
                  <a:pt x="1129" y="3749"/>
                </a:lnTo>
                <a:lnTo>
                  <a:pt x="1259" y="3727"/>
                </a:lnTo>
                <a:lnTo>
                  <a:pt x="1389" y="3707"/>
                </a:lnTo>
                <a:lnTo>
                  <a:pt x="1521" y="3692"/>
                </a:lnTo>
                <a:lnTo>
                  <a:pt x="1652" y="3680"/>
                </a:lnTo>
                <a:lnTo>
                  <a:pt x="1783" y="3671"/>
                </a:lnTo>
                <a:lnTo>
                  <a:pt x="1915" y="3666"/>
                </a:lnTo>
                <a:lnTo>
                  <a:pt x="2047" y="3664"/>
                </a:lnTo>
                <a:lnTo>
                  <a:pt x="2178" y="3666"/>
                </a:lnTo>
                <a:lnTo>
                  <a:pt x="2311" y="3671"/>
                </a:lnTo>
                <a:lnTo>
                  <a:pt x="2442" y="3680"/>
                </a:lnTo>
                <a:lnTo>
                  <a:pt x="2573" y="3692"/>
                </a:lnTo>
                <a:lnTo>
                  <a:pt x="2704" y="3707"/>
                </a:lnTo>
                <a:lnTo>
                  <a:pt x="2835" y="3727"/>
                </a:lnTo>
                <a:lnTo>
                  <a:pt x="2964" y="3749"/>
                </a:lnTo>
                <a:lnTo>
                  <a:pt x="3093" y="3775"/>
                </a:lnTo>
                <a:lnTo>
                  <a:pt x="3222" y="3804"/>
                </a:lnTo>
                <a:lnTo>
                  <a:pt x="3350" y="3836"/>
                </a:lnTo>
                <a:lnTo>
                  <a:pt x="3476" y="3873"/>
                </a:lnTo>
                <a:lnTo>
                  <a:pt x="3602" y="3912"/>
                </a:lnTo>
                <a:lnTo>
                  <a:pt x="3726" y="3955"/>
                </a:lnTo>
                <a:lnTo>
                  <a:pt x="3850" y="4001"/>
                </a:lnTo>
                <a:lnTo>
                  <a:pt x="3972" y="4051"/>
                </a:lnTo>
                <a:lnTo>
                  <a:pt x="4092" y="4104"/>
                </a:lnTo>
                <a:lnTo>
                  <a:pt x="4092" y="0"/>
                </a:lnTo>
                <a:lnTo>
                  <a:pt x="0" y="0"/>
                </a:lnTo>
                <a:lnTo>
                  <a:pt x="0" y="4104"/>
                </a:lnTo>
                <a:close/>
                <a:moveTo>
                  <a:pt x="3198" y="1210"/>
                </a:moveTo>
                <a:lnTo>
                  <a:pt x="3205" y="1184"/>
                </a:lnTo>
                <a:lnTo>
                  <a:pt x="3214" y="1158"/>
                </a:lnTo>
                <a:lnTo>
                  <a:pt x="3891" y="1158"/>
                </a:lnTo>
                <a:lnTo>
                  <a:pt x="3891" y="1443"/>
                </a:lnTo>
                <a:lnTo>
                  <a:pt x="3802" y="1443"/>
                </a:lnTo>
                <a:lnTo>
                  <a:pt x="3788" y="1394"/>
                </a:lnTo>
                <a:lnTo>
                  <a:pt x="3770" y="1352"/>
                </a:lnTo>
                <a:lnTo>
                  <a:pt x="3761" y="1334"/>
                </a:lnTo>
                <a:lnTo>
                  <a:pt x="3749" y="1319"/>
                </a:lnTo>
                <a:lnTo>
                  <a:pt x="3738" y="1304"/>
                </a:lnTo>
                <a:lnTo>
                  <a:pt x="3725" y="1292"/>
                </a:lnTo>
                <a:lnTo>
                  <a:pt x="3712" y="1281"/>
                </a:lnTo>
                <a:lnTo>
                  <a:pt x="3698" y="1272"/>
                </a:lnTo>
                <a:lnTo>
                  <a:pt x="3682" y="1264"/>
                </a:lnTo>
                <a:lnTo>
                  <a:pt x="3667" y="1258"/>
                </a:lnTo>
                <a:lnTo>
                  <a:pt x="3631" y="1250"/>
                </a:lnTo>
                <a:lnTo>
                  <a:pt x="3592" y="1248"/>
                </a:lnTo>
                <a:lnTo>
                  <a:pt x="3509" y="1248"/>
                </a:lnTo>
                <a:lnTo>
                  <a:pt x="3509" y="1254"/>
                </a:lnTo>
                <a:lnTo>
                  <a:pt x="3517" y="1281"/>
                </a:lnTo>
                <a:lnTo>
                  <a:pt x="3528" y="1311"/>
                </a:lnTo>
                <a:lnTo>
                  <a:pt x="3548" y="1353"/>
                </a:lnTo>
                <a:lnTo>
                  <a:pt x="3575" y="1403"/>
                </a:lnTo>
                <a:lnTo>
                  <a:pt x="3613" y="1459"/>
                </a:lnTo>
                <a:lnTo>
                  <a:pt x="3635" y="1491"/>
                </a:lnTo>
                <a:lnTo>
                  <a:pt x="3662" y="1523"/>
                </a:lnTo>
                <a:lnTo>
                  <a:pt x="3691" y="1556"/>
                </a:lnTo>
                <a:lnTo>
                  <a:pt x="3724" y="1590"/>
                </a:lnTo>
                <a:lnTo>
                  <a:pt x="3749" y="1618"/>
                </a:lnTo>
                <a:lnTo>
                  <a:pt x="3778" y="1654"/>
                </a:lnTo>
                <a:lnTo>
                  <a:pt x="3808" y="1698"/>
                </a:lnTo>
                <a:lnTo>
                  <a:pt x="3838" y="1747"/>
                </a:lnTo>
                <a:lnTo>
                  <a:pt x="3865" y="1799"/>
                </a:lnTo>
                <a:lnTo>
                  <a:pt x="3887" y="1852"/>
                </a:lnTo>
                <a:lnTo>
                  <a:pt x="3895" y="1879"/>
                </a:lnTo>
                <a:lnTo>
                  <a:pt x="3901" y="1906"/>
                </a:lnTo>
                <a:lnTo>
                  <a:pt x="3904" y="1932"/>
                </a:lnTo>
                <a:lnTo>
                  <a:pt x="3906" y="1957"/>
                </a:lnTo>
                <a:lnTo>
                  <a:pt x="3905" y="1983"/>
                </a:lnTo>
                <a:lnTo>
                  <a:pt x="3900" y="2004"/>
                </a:lnTo>
                <a:lnTo>
                  <a:pt x="3893" y="2022"/>
                </a:lnTo>
                <a:lnTo>
                  <a:pt x="3883" y="2039"/>
                </a:lnTo>
                <a:lnTo>
                  <a:pt x="3199" y="2039"/>
                </a:lnTo>
                <a:lnTo>
                  <a:pt x="3199" y="1754"/>
                </a:lnTo>
                <a:lnTo>
                  <a:pt x="3293" y="1754"/>
                </a:lnTo>
                <a:lnTo>
                  <a:pt x="3302" y="1791"/>
                </a:lnTo>
                <a:lnTo>
                  <a:pt x="3313" y="1825"/>
                </a:lnTo>
                <a:lnTo>
                  <a:pt x="3328" y="1858"/>
                </a:lnTo>
                <a:lnTo>
                  <a:pt x="3346" y="1887"/>
                </a:lnTo>
                <a:lnTo>
                  <a:pt x="3356" y="1900"/>
                </a:lnTo>
                <a:lnTo>
                  <a:pt x="3369" y="1912"/>
                </a:lnTo>
                <a:lnTo>
                  <a:pt x="3381" y="1922"/>
                </a:lnTo>
                <a:lnTo>
                  <a:pt x="3396" y="1932"/>
                </a:lnTo>
                <a:lnTo>
                  <a:pt x="3412" y="1939"/>
                </a:lnTo>
                <a:lnTo>
                  <a:pt x="3430" y="1944"/>
                </a:lnTo>
                <a:lnTo>
                  <a:pt x="3450" y="1947"/>
                </a:lnTo>
                <a:lnTo>
                  <a:pt x="3472" y="1948"/>
                </a:lnTo>
                <a:lnTo>
                  <a:pt x="3594" y="1948"/>
                </a:lnTo>
                <a:lnTo>
                  <a:pt x="3594" y="1941"/>
                </a:lnTo>
                <a:lnTo>
                  <a:pt x="3586" y="1918"/>
                </a:lnTo>
                <a:lnTo>
                  <a:pt x="3572" y="1876"/>
                </a:lnTo>
                <a:lnTo>
                  <a:pt x="3554" y="1841"/>
                </a:lnTo>
                <a:lnTo>
                  <a:pt x="3529" y="1800"/>
                </a:lnTo>
                <a:lnTo>
                  <a:pt x="3499" y="1758"/>
                </a:lnTo>
                <a:lnTo>
                  <a:pt x="3469" y="1714"/>
                </a:lnTo>
                <a:lnTo>
                  <a:pt x="3412" y="1641"/>
                </a:lnTo>
                <a:lnTo>
                  <a:pt x="3383" y="1603"/>
                </a:lnTo>
                <a:lnTo>
                  <a:pt x="3353" y="1570"/>
                </a:lnTo>
                <a:lnTo>
                  <a:pt x="3324" y="1533"/>
                </a:lnTo>
                <a:lnTo>
                  <a:pt x="3288" y="1485"/>
                </a:lnTo>
                <a:lnTo>
                  <a:pt x="3254" y="1430"/>
                </a:lnTo>
                <a:lnTo>
                  <a:pt x="3238" y="1400"/>
                </a:lnTo>
                <a:lnTo>
                  <a:pt x="3224" y="1370"/>
                </a:lnTo>
                <a:lnTo>
                  <a:pt x="3212" y="1337"/>
                </a:lnTo>
                <a:lnTo>
                  <a:pt x="3203" y="1305"/>
                </a:lnTo>
                <a:lnTo>
                  <a:pt x="3197" y="1273"/>
                </a:lnTo>
                <a:lnTo>
                  <a:pt x="3195" y="1240"/>
                </a:lnTo>
                <a:lnTo>
                  <a:pt x="3198" y="1210"/>
                </a:lnTo>
                <a:close/>
                <a:moveTo>
                  <a:pt x="2404" y="1225"/>
                </a:moveTo>
                <a:lnTo>
                  <a:pt x="2406" y="1210"/>
                </a:lnTo>
                <a:lnTo>
                  <a:pt x="2413" y="1184"/>
                </a:lnTo>
                <a:lnTo>
                  <a:pt x="2422" y="1158"/>
                </a:lnTo>
                <a:lnTo>
                  <a:pt x="3099" y="1158"/>
                </a:lnTo>
                <a:lnTo>
                  <a:pt x="3099" y="1443"/>
                </a:lnTo>
                <a:lnTo>
                  <a:pt x="3010" y="1443"/>
                </a:lnTo>
                <a:lnTo>
                  <a:pt x="2996" y="1394"/>
                </a:lnTo>
                <a:lnTo>
                  <a:pt x="2978" y="1352"/>
                </a:lnTo>
                <a:lnTo>
                  <a:pt x="2968" y="1334"/>
                </a:lnTo>
                <a:lnTo>
                  <a:pt x="2958" y="1319"/>
                </a:lnTo>
                <a:lnTo>
                  <a:pt x="2945" y="1304"/>
                </a:lnTo>
                <a:lnTo>
                  <a:pt x="2933" y="1292"/>
                </a:lnTo>
                <a:lnTo>
                  <a:pt x="2920" y="1281"/>
                </a:lnTo>
                <a:lnTo>
                  <a:pt x="2906" y="1272"/>
                </a:lnTo>
                <a:lnTo>
                  <a:pt x="2890" y="1264"/>
                </a:lnTo>
                <a:lnTo>
                  <a:pt x="2875" y="1258"/>
                </a:lnTo>
                <a:lnTo>
                  <a:pt x="2839" y="1250"/>
                </a:lnTo>
                <a:lnTo>
                  <a:pt x="2800" y="1248"/>
                </a:lnTo>
                <a:lnTo>
                  <a:pt x="2717" y="1248"/>
                </a:lnTo>
                <a:lnTo>
                  <a:pt x="2717" y="1254"/>
                </a:lnTo>
                <a:lnTo>
                  <a:pt x="2725" y="1281"/>
                </a:lnTo>
                <a:lnTo>
                  <a:pt x="2737" y="1311"/>
                </a:lnTo>
                <a:lnTo>
                  <a:pt x="2756" y="1353"/>
                </a:lnTo>
                <a:lnTo>
                  <a:pt x="2783" y="1403"/>
                </a:lnTo>
                <a:lnTo>
                  <a:pt x="2820" y="1459"/>
                </a:lnTo>
                <a:lnTo>
                  <a:pt x="2844" y="1491"/>
                </a:lnTo>
                <a:lnTo>
                  <a:pt x="2870" y="1523"/>
                </a:lnTo>
                <a:lnTo>
                  <a:pt x="2900" y="1556"/>
                </a:lnTo>
                <a:lnTo>
                  <a:pt x="2932" y="1590"/>
                </a:lnTo>
                <a:lnTo>
                  <a:pt x="2957" y="1618"/>
                </a:lnTo>
                <a:lnTo>
                  <a:pt x="2986" y="1654"/>
                </a:lnTo>
                <a:lnTo>
                  <a:pt x="3016" y="1698"/>
                </a:lnTo>
                <a:lnTo>
                  <a:pt x="3046" y="1747"/>
                </a:lnTo>
                <a:lnTo>
                  <a:pt x="3073" y="1799"/>
                </a:lnTo>
                <a:lnTo>
                  <a:pt x="3095" y="1852"/>
                </a:lnTo>
                <a:lnTo>
                  <a:pt x="3103" y="1879"/>
                </a:lnTo>
                <a:lnTo>
                  <a:pt x="3109" y="1906"/>
                </a:lnTo>
                <a:lnTo>
                  <a:pt x="3113" y="1932"/>
                </a:lnTo>
                <a:lnTo>
                  <a:pt x="3114" y="1957"/>
                </a:lnTo>
                <a:lnTo>
                  <a:pt x="3113" y="1983"/>
                </a:lnTo>
                <a:lnTo>
                  <a:pt x="3108" y="2004"/>
                </a:lnTo>
                <a:lnTo>
                  <a:pt x="3101" y="2022"/>
                </a:lnTo>
                <a:lnTo>
                  <a:pt x="3090" y="2039"/>
                </a:lnTo>
                <a:lnTo>
                  <a:pt x="2408" y="2039"/>
                </a:lnTo>
                <a:lnTo>
                  <a:pt x="2408" y="1754"/>
                </a:lnTo>
                <a:lnTo>
                  <a:pt x="2500" y="1754"/>
                </a:lnTo>
                <a:lnTo>
                  <a:pt x="2510" y="1791"/>
                </a:lnTo>
                <a:lnTo>
                  <a:pt x="2521" y="1825"/>
                </a:lnTo>
                <a:lnTo>
                  <a:pt x="2536" y="1858"/>
                </a:lnTo>
                <a:lnTo>
                  <a:pt x="2554" y="1887"/>
                </a:lnTo>
                <a:lnTo>
                  <a:pt x="2564" y="1900"/>
                </a:lnTo>
                <a:lnTo>
                  <a:pt x="2577" y="1912"/>
                </a:lnTo>
                <a:lnTo>
                  <a:pt x="2590" y="1922"/>
                </a:lnTo>
                <a:lnTo>
                  <a:pt x="2605" y="1932"/>
                </a:lnTo>
                <a:lnTo>
                  <a:pt x="2620" y="1939"/>
                </a:lnTo>
                <a:lnTo>
                  <a:pt x="2639" y="1944"/>
                </a:lnTo>
                <a:lnTo>
                  <a:pt x="2659" y="1947"/>
                </a:lnTo>
                <a:lnTo>
                  <a:pt x="2681" y="1948"/>
                </a:lnTo>
                <a:lnTo>
                  <a:pt x="2802" y="1948"/>
                </a:lnTo>
                <a:lnTo>
                  <a:pt x="2802" y="1941"/>
                </a:lnTo>
                <a:lnTo>
                  <a:pt x="2794" y="1918"/>
                </a:lnTo>
                <a:lnTo>
                  <a:pt x="2781" y="1876"/>
                </a:lnTo>
                <a:lnTo>
                  <a:pt x="2762" y="1841"/>
                </a:lnTo>
                <a:lnTo>
                  <a:pt x="2737" y="1800"/>
                </a:lnTo>
                <a:lnTo>
                  <a:pt x="2708" y="1758"/>
                </a:lnTo>
                <a:lnTo>
                  <a:pt x="2677" y="1714"/>
                </a:lnTo>
                <a:lnTo>
                  <a:pt x="2620" y="1641"/>
                </a:lnTo>
                <a:lnTo>
                  <a:pt x="2589" y="1603"/>
                </a:lnTo>
                <a:lnTo>
                  <a:pt x="2561" y="1570"/>
                </a:lnTo>
                <a:lnTo>
                  <a:pt x="2531" y="1533"/>
                </a:lnTo>
                <a:lnTo>
                  <a:pt x="2496" y="1485"/>
                </a:lnTo>
                <a:lnTo>
                  <a:pt x="2462" y="1430"/>
                </a:lnTo>
                <a:lnTo>
                  <a:pt x="2446" y="1400"/>
                </a:lnTo>
                <a:lnTo>
                  <a:pt x="2433" y="1370"/>
                </a:lnTo>
                <a:lnTo>
                  <a:pt x="2420" y="1337"/>
                </a:lnTo>
                <a:lnTo>
                  <a:pt x="2411" y="1305"/>
                </a:lnTo>
                <a:lnTo>
                  <a:pt x="2406" y="1273"/>
                </a:lnTo>
                <a:lnTo>
                  <a:pt x="2402" y="1240"/>
                </a:lnTo>
                <a:lnTo>
                  <a:pt x="2404" y="1225"/>
                </a:lnTo>
                <a:close/>
                <a:moveTo>
                  <a:pt x="1842" y="1948"/>
                </a:moveTo>
                <a:lnTo>
                  <a:pt x="1876" y="1948"/>
                </a:lnTo>
                <a:lnTo>
                  <a:pt x="1884" y="1947"/>
                </a:lnTo>
                <a:lnTo>
                  <a:pt x="1894" y="1943"/>
                </a:lnTo>
                <a:lnTo>
                  <a:pt x="1903" y="1937"/>
                </a:lnTo>
                <a:lnTo>
                  <a:pt x="1913" y="1930"/>
                </a:lnTo>
                <a:lnTo>
                  <a:pt x="1921" y="1920"/>
                </a:lnTo>
                <a:lnTo>
                  <a:pt x="1927" y="1911"/>
                </a:lnTo>
                <a:lnTo>
                  <a:pt x="1931" y="1901"/>
                </a:lnTo>
                <a:lnTo>
                  <a:pt x="1932" y="1892"/>
                </a:lnTo>
                <a:lnTo>
                  <a:pt x="1932" y="1308"/>
                </a:lnTo>
                <a:lnTo>
                  <a:pt x="1931" y="1299"/>
                </a:lnTo>
                <a:lnTo>
                  <a:pt x="1927" y="1289"/>
                </a:lnTo>
                <a:lnTo>
                  <a:pt x="1921" y="1280"/>
                </a:lnTo>
                <a:lnTo>
                  <a:pt x="1913" y="1271"/>
                </a:lnTo>
                <a:lnTo>
                  <a:pt x="1903" y="1262"/>
                </a:lnTo>
                <a:lnTo>
                  <a:pt x="1893" y="1255"/>
                </a:lnTo>
                <a:lnTo>
                  <a:pt x="1882" y="1251"/>
                </a:lnTo>
                <a:lnTo>
                  <a:pt x="1872" y="1250"/>
                </a:lnTo>
                <a:lnTo>
                  <a:pt x="1842" y="1250"/>
                </a:lnTo>
                <a:lnTo>
                  <a:pt x="1842" y="1158"/>
                </a:lnTo>
                <a:lnTo>
                  <a:pt x="2306" y="1158"/>
                </a:lnTo>
                <a:lnTo>
                  <a:pt x="2306" y="1250"/>
                </a:lnTo>
                <a:lnTo>
                  <a:pt x="2275" y="1250"/>
                </a:lnTo>
                <a:lnTo>
                  <a:pt x="2263" y="1252"/>
                </a:lnTo>
                <a:lnTo>
                  <a:pt x="2251" y="1257"/>
                </a:lnTo>
                <a:lnTo>
                  <a:pt x="2241" y="1265"/>
                </a:lnTo>
                <a:lnTo>
                  <a:pt x="2232" y="1276"/>
                </a:lnTo>
                <a:lnTo>
                  <a:pt x="2224" y="1287"/>
                </a:lnTo>
                <a:lnTo>
                  <a:pt x="2219" y="1299"/>
                </a:lnTo>
                <a:lnTo>
                  <a:pt x="2216" y="1309"/>
                </a:lnTo>
                <a:lnTo>
                  <a:pt x="2214" y="1319"/>
                </a:lnTo>
                <a:lnTo>
                  <a:pt x="2214" y="1881"/>
                </a:lnTo>
                <a:lnTo>
                  <a:pt x="2215" y="1890"/>
                </a:lnTo>
                <a:lnTo>
                  <a:pt x="2219" y="1900"/>
                </a:lnTo>
                <a:lnTo>
                  <a:pt x="2224" y="1912"/>
                </a:lnTo>
                <a:lnTo>
                  <a:pt x="2230" y="1923"/>
                </a:lnTo>
                <a:lnTo>
                  <a:pt x="2239" y="1933"/>
                </a:lnTo>
                <a:lnTo>
                  <a:pt x="2249" y="1941"/>
                </a:lnTo>
                <a:lnTo>
                  <a:pt x="2260" y="1946"/>
                </a:lnTo>
                <a:lnTo>
                  <a:pt x="2271" y="1948"/>
                </a:lnTo>
                <a:lnTo>
                  <a:pt x="2306" y="1948"/>
                </a:lnTo>
                <a:lnTo>
                  <a:pt x="2306" y="2039"/>
                </a:lnTo>
                <a:lnTo>
                  <a:pt x="1842" y="2039"/>
                </a:lnTo>
                <a:lnTo>
                  <a:pt x="1842" y="1948"/>
                </a:lnTo>
                <a:close/>
                <a:moveTo>
                  <a:pt x="995" y="1946"/>
                </a:moveTo>
                <a:lnTo>
                  <a:pt x="1030" y="1946"/>
                </a:lnTo>
                <a:lnTo>
                  <a:pt x="1038" y="1944"/>
                </a:lnTo>
                <a:lnTo>
                  <a:pt x="1047" y="1941"/>
                </a:lnTo>
                <a:lnTo>
                  <a:pt x="1057" y="1935"/>
                </a:lnTo>
                <a:lnTo>
                  <a:pt x="1066" y="1927"/>
                </a:lnTo>
                <a:lnTo>
                  <a:pt x="1075" y="1918"/>
                </a:lnTo>
                <a:lnTo>
                  <a:pt x="1081" y="1909"/>
                </a:lnTo>
                <a:lnTo>
                  <a:pt x="1085" y="1899"/>
                </a:lnTo>
                <a:lnTo>
                  <a:pt x="1086" y="1889"/>
                </a:lnTo>
                <a:lnTo>
                  <a:pt x="1086" y="1308"/>
                </a:lnTo>
                <a:lnTo>
                  <a:pt x="1085" y="1299"/>
                </a:lnTo>
                <a:lnTo>
                  <a:pt x="1081" y="1289"/>
                </a:lnTo>
                <a:lnTo>
                  <a:pt x="1075" y="1280"/>
                </a:lnTo>
                <a:lnTo>
                  <a:pt x="1066" y="1271"/>
                </a:lnTo>
                <a:lnTo>
                  <a:pt x="1057" y="1262"/>
                </a:lnTo>
                <a:lnTo>
                  <a:pt x="1046" y="1256"/>
                </a:lnTo>
                <a:lnTo>
                  <a:pt x="1036" y="1251"/>
                </a:lnTo>
                <a:lnTo>
                  <a:pt x="1026" y="1250"/>
                </a:lnTo>
                <a:lnTo>
                  <a:pt x="995" y="1250"/>
                </a:lnTo>
                <a:lnTo>
                  <a:pt x="995" y="1158"/>
                </a:lnTo>
                <a:lnTo>
                  <a:pt x="1742" y="1158"/>
                </a:lnTo>
                <a:lnTo>
                  <a:pt x="1742" y="1443"/>
                </a:lnTo>
                <a:lnTo>
                  <a:pt x="1648" y="1443"/>
                </a:lnTo>
                <a:lnTo>
                  <a:pt x="1635" y="1397"/>
                </a:lnTo>
                <a:lnTo>
                  <a:pt x="1620" y="1356"/>
                </a:lnTo>
                <a:lnTo>
                  <a:pt x="1602" y="1323"/>
                </a:lnTo>
                <a:lnTo>
                  <a:pt x="1592" y="1308"/>
                </a:lnTo>
                <a:lnTo>
                  <a:pt x="1581" y="1296"/>
                </a:lnTo>
                <a:lnTo>
                  <a:pt x="1570" y="1284"/>
                </a:lnTo>
                <a:lnTo>
                  <a:pt x="1557" y="1275"/>
                </a:lnTo>
                <a:lnTo>
                  <a:pt x="1544" y="1267"/>
                </a:lnTo>
                <a:lnTo>
                  <a:pt x="1530" y="1259"/>
                </a:lnTo>
                <a:lnTo>
                  <a:pt x="1514" y="1254"/>
                </a:lnTo>
                <a:lnTo>
                  <a:pt x="1498" y="1251"/>
                </a:lnTo>
                <a:lnTo>
                  <a:pt x="1461" y="1248"/>
                </a:lnTo>
                <a:lnTo>
                  <a:pt x="1369" y="1248"/>
                </a:lnTo>
                <a:lnTo>
                  <a:pt x="1369" y="1553"/>
                </a:lnTo>
                <a:lnTo>
                  <a:pt x="1416" y="1553"/>
                </a:lnTo>
                <a:lnTo>
                  <a:pt x="1432" y="1548"/>
                </a:lnTo>
                <a:lnTo>
                  <a:pt x="1441" y="1542"/>
                </a:lnTo>
                <a:lnTo>
                  <a:pt x="1452" y="1533"/>
                </a:lnTo>
                <a:lnTo>
                  <a:pt x="1461" y="1524"/>
                </a:lnTo>
                <a:lnTo>
                  <a:pt x="1470" y="1513"/>
                </a:lnTo>
                <a:lnTo>
                  <a:pt x="1475" y="1500"/>
                </a:lnTo>
                <a:lnTo>
                  <a:pt x="1477" y="1485"/>
                </a:lnTo>
                <a:lnTo>
                  <a:pt x="1477" y="1445"/>
                </a:lnTo>
                <a:lnTo>
                  <a:pt x="1568" y="1445"/>
                </a:lnTo>
                <a:lnTo>
                  <a:pt x="1568" y="1752"/>
                </a:lnTo>
                <a:lnTo>
                  <a:pt x="1477" y="1752"/>
                </a:lnTo>
                <a:lnTo>
                  <a:pt x="1477" y="1714"/>
                </a:lnTo>
                <a:lnTo>
                  <a:pt x="1476" y="1704"/>
                </a:lnTo>
                <a:lnTo>
                  <a:pt x="1472" y="1693"/>
                </a:lnTo>
                <a:lnTo>
                  <a:pt x="1465" y="1681"/>
                </a:lnTo>
                <a:lnTo>
                  <a:pt x="1457" y="1671"/>
                </a:lnTo>
                <a:lnTo>
                  <a:pt x="1447" y="1661"/>
                </a:lnTo>
                <a:lnTo>
                  <a:pt x="1433" y="1652"/>
                </a:lnTo>
                <a:lnTo>
                  <a:pt x="1419" y="1646"/>
                </a:lnTo>
                <a:lnTo>
                  <a:pt x="1401" y="1644"/>
                </a:lnTo>
                <a:lnTo>
                  <a:pt x="1369" y="1644"/>
                </a:lnTo>
                <a:lnTo>
                  <a:pt x="1369" y="1948"/>
                </a:lnTo>
                <a:lnTo>
                  <a:pt x="1471" y="1948"/>
                </a:lnTo>
                <a:lnTo>
                  <a:pt x="1497" y="1946"/>
                </a:lnTo>
                <a:lnTo>
                  <a:pt x="1524" y="1939"/>
                </a:lnTo>
                <a:lnTo>
                  <a:pt x="1551" y="1925"/>
                </a:lnTo>
                <a:lnTo>
                  <a:pt x="1564" y="1917"/>
                </a:lnTo>
                <a:lnTo>
                  <a:pt x="1577" y="1907"/>
                </a:lnTo>
                <a:lnTo>
                  <a:pt x="1589" y="1894"/>
                </a:lnTo>
                <a:lnTo>
                  <a:pt x="1600" y="1881"/>
                </a:lnTo>
                <a:lnTo>
                  <a:pt x="1611" y="1865"/>
                </a:lnTo>
                <a:lnTo>
                  <a:pt x="1621" y="1847"/>
                </a:lnTo>
                <a:lnTo>
                  <a:pt x="1629" y="1827"/>
                </a:lnTo>
                <a:lnTo>
                  <a:pt x="1637" y="1805"/>
                </a:lnTo>
                <a:lnTo>
                  <a:pt x="1644" y="1781"/>
                </a:lnTo>
                <a:lnTo>
                  <a:pt x="1648" y="1754"/>
                </a:lnTo>
                <a:lnTo>
                  <a:pt x="1742" y="1754"/>
                </a:lnTo>
                <a:lnTo>
                  <a:pt x="1742" y="2039"/>
                </a:lnTo>
                <a:lnTo>
                  <a:pt x="995" y="2039"/>
                </a:lnTo>
                <a:lnTo>
                  <a:pt x="995" y="1946"/>
                </a:lnTo>
                <a:close/>
                <a:moveTo>
                  <a:pt x="173" y="1998"/>
                </a:moveTo>
                <a:lnTo>
                  <a:pt x="174" y="1983"/>
                </a:lnTo>
                <a:lnTo>
                  <a:pt x="180" y="1948"/>
                </a:lnTo>
                <a:lnTo>
                  <a:pt x="192" y="1901"/>
                </a:lnTo>
                <a:lnTo>
                  <a:pt x="201" y="1874"/>
                </a:lnTo>
                <a:lnTo>
                  <a:pt x="213" y="1846"/>
                </a:lnTo>
                <a:lnTo>
                  <a:pt x="235" y="1796"/>
                </a:lnTo>
                <a:lnTo>
                  <a:pt x="267" y="1734"/>
                </a:lnTo>
                <a:lnTo>
                  <a:pt x="287" y="1700"/>
                </a:lnTo>
                <a:lnTo>
                  <a:pt x="309" y="1667"/>
                </a:lnTo>
                <a:lnTo>
                  <a:pt x="334" y="1635"/>
                </a:lnTo>
                <a:lnTo>
                  <a:pt x="360" y="1605"/>
                </a:lnTo>
                <a:lnTo>
                  <a:pt x="392" y="1572"/>
                </a:lnTo>
                <a:lnTo>
                  <a:pt x="420" y="1540"/>
                </a:lnTo>
                <a:lnTo>
                  <a:pt x="469" y="1477"/>
                </a:lnTo>
                <a:lnTo>
                  <a:pt x="508" y="1420"/>
                </a:lnTo>
                <a:lnTo>
                  <a:pt x="538" y="1368"/>
                </a:lnTo>
                <a:lnTo>
                  <a:pt x="559" y="1324"/>
                </a:lnTo>
                <a:lnTo>
                  <a:pt x="574" y="1289"/>
                </a:lnTo>
                <a:lnTo>
                  <a:pt x="588" y="1254"/>
                </a:lnTo>
                <a:lnTo>
                  <a:pt x="588" y="1248"/>
                </a:lnTo>
                <a:lnTo>
                  <a:pt x="506" y="1248"/>
                </a:lnTo>
                <a:lnTo>
                  <a:pt x="472" y="1250"/>
                </a:lnTo>
                <a:lnTo>
                  <a:pt x="443" y="1255"/>
                </a:lnTo>
                <a:lnTo>
                  <a:pt x="418" y="1264"/>
                </a:lnTo>
                <a:lnTo>
                  <a:pt x="395" y="1276"/>
                </a:lnTo>
                <a:lnTo>
                  <a:pt x="375" y="1289"/>
                </a:lnTo>
                <a:lnTo>
                  <a:pt x="359" y="1305"/>
                </a:lnTo>
                <a:lnTo>
                  <a:pt x="344" y="1322"/>
                </a:lnTo>
                <a:lnTo>
                  <a:pt x="332" y="1340"/>
                </a:lnTo>
                <a:lnTo>
                  <a:pt x="315" y="1374"/>
                </a:lnTo>
                <a:lnTo>
                  <a:pt x="303" y="1405"/>
                </a:lnTo>
                <a:lnTo>
                  <a:pt x="295" y="1443"/>
                </a:lnTo>
                <a:lnTo>
                  <a:pt x="206" y="1443"/>
                </a:lnTo>
                <a:lnTo>
                  <a:pt x="206" y="1158"/>
                </a:lnTo>
                <a:lnTo>
                  <a:pt x="913" y="1158"/>
                </a:lnTo>
                <a:lnTo>
                  <a:pt x="913" y="1182"/>
                </a:lnTo>
                <a:lnTo>
                  <a:pt x="912" y="1195"/>
                </a:lnTo>
                <a:lnTo>
                  <a:pt x="907" y="1226"/>
                </a:lnTo>
                <a:lnTo>
                  <a:pt x="897" y="1271"/>
                </a:lnTo>
                <a:lnTo>
                  <a:pt x="881" y="1325"/>
                </a:lnTo>
                <a:lnTo>
                  <a:pt x="859" y="1379"/>
                </a:lnTo>
                <a:lnTo>
                  <a:pt x="835" y="1428"/>
                </a:lnTo>
                <a:lnTo>
                  <a:pt x="810" y="1474"/>
                </a:lnTo>
                <a:lnTo>
                  <a:pt x="784" y="1516"/>
                </a:lnTo>
                <a:lnTo>
                  <a:pt x="757" y="1554"/>
                </a:lnTo>
                <a:lnTo>
                  <a:pt x="730" y="1590"/>
                </a:lnTo>
                <a:lnTo>
                  <a:pt x="673" y="1658"/>
                </a:lnTo>
                <a:lnTo>
                  <a:pt x="620" y="1723"/>
                </a:lnTo>
                <a:lnTo>
                  <a:pt x="596" y="1756"/>
                </a:lnTo>
                <a:lnTo>
                  <a:pt x="572" y="1790"/>
                </a:lnTo>
                <a:lnTo>
                  <a:pt x="551" y="1825"/>
                </a:lnTo>
                <a:lnTo>
                  <a:pt x="533" y="1864"/>
                </a:lnTo>
                <a:lnTo>
                  <a:pt x="516" y="1904"/>
                </a:lnTo>
                <a:lnTo>
                  <a:pt x="503" y="1948"/>
                </a:lnTo>
                <a:lnTo>
                  <a:pt x="624" y="1948"/>
                </a:lnTo>
                <a:lnTo>
                  <a:pt x="651" y="1946"/>
                </a:lnTo>
                <a:lnTo>
                  <a:pt x="680" y="1939"/>
                </a:lnTo>
                <a:lnTo>
                  <a:pt x="707" y="1925"/>
                </a:lnTo>
                <a:lnTo>
                  <a:pt x="720" y="1917"/>
                </a:lnTo>
                <a:lnTo>
                  <a:pt x="733" y="1907"/>
                </a:lnTo>
                <a:lnTo>
                  <a:pt x="744" y="1894"/>
                </a:lnTo>
                <a:lnTo>
                  <a:pt x="756" y="1881"/>
                </a:lnTo>
                <a:lnTo>
                  <a:pt x="767" y="1865"/>
                </a:lnTo>
                <a:lnTo>
                  <a:pt x="777" y="1847"/>
                </a:lnTo>
                <a:lnTo>
                  <a:pt x="786" y="1827"/>
                </a:lnTo>
                <a:lnTo>
                  <a:pt x="793" y="1805"/>
                </a:lnTo>
                <a:lnTo>
                  <a:pt x="799" y="1781"/>
                </a:lnTo>
                <a:lnTo>
                  <a:pt x="805" y="1754"/>
                </a:lnTo>
                <a:lnTo>
                  <a:pt x="897" y="1754"/>
                </a:lnTo>
                <a:lnTo>
                  <a:pt x="897" y="2039"/>
                </a:lnTo>
                <a:lnTo>
                  <a:pt x="173" y="2039"/>
                </a:lnTo>
                <a:lnTo>
                  <a:pt x="173" y="1998"/>
                </a:lnTo>
                <a:close/>
              </a:path>
            </a:pathLst>
          </a:custGeom>
          <a:solidFill>
            <a:srgbClr val="0000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sz="1600">
              <a:solidFill>
                <a:srgbClr val="000000"/>
              </a:solidFill>
            </a:endParaRPr>
          </a:p>
        </p:txBody>
      </p:sp>
      <p:sp>
        <p:nvSpPr>
          <p:cNvPr id="3" name="Text Placeholder 2"/>
          <p:cNvSpPr>
            <a:spLocks noGrp="1"/>
          </p:cNvSpPr>
          <p:nvPr>
            <p:ph type="body" sz="quarter" idx="10"/>
          </p:nvPr>
        </p:nvSpPr>
        <p:spPr>
          <a:xfrm>
            <a:off x="468000" y="5940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7" name="Text Placeholder 2"/>
          <p:cNvSpPr>
            <a:spLocks noGrp="1"/>
          </p:cNvSpPr>
          <p:nvPr>
            <p:ph type="body" sz="quarter" idx="11"/>
          </p:nvPr>
        </p:nvSpPr>
        <p:spPr>
          <a:xfrm>
            <a:off x="468000" y="6192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8" name="Text Placeholder 2"/>
          <p:cNvSpPr>
            <a:spLocks noGrp="1"/>
          </p:cNvSpPr>
          <p:nvPr>
            <p:ph type="body" sz="quarter" idx="12"/>
          </p:nvPr>
        </p:nvSpPr>
        <p:spPr>
          <a:xfrm>
            <a:off x="468000" y="6444000"/>
            <a:ext cx="3024682" cy="208952"/>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4" name="Title 3"/>
          <p:cNvSpPr>
            <a:spLocks noGrp="1"/>
          </p:cNvSpPr>
          <p:nvPr>
            <p:ph type="title"/>
          </p:nvPr>
        </p:nvSpPr>
        <p:spPr/>
        <p:txBody>
          <a:bodyPr/>
          <a:lstStyle/>
          <a:p>
            <a:r>
              <a:rPr lang="en-US"/>
              <a:t>Click to edit Master title style</a:t>
            </a:r>
          </a:p>
        </p:txBody>
      </p:sp>
      <p:pic>
        <p:nvPicPr>
          <p:cNvPr id="1026" name="Picture 2" descr="C:\Users\m1fka1\Documents\01_Projects\Trainingskatalog\Templates\New Pictures_17.12.2012\IMG_0049_sw.jpg"/>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t="10682" r="563" b="18335"/>
          <a:stretch/>
        </p:blipFill>
        <p:spPr bwMode="auto">
          <a:xfrm>
            <a:off x="0" y="1350965"/>
            <a:ext cx="9144000" cy="4351337"/>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96189609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Slide - Vision">
    <p:spTree>
      <p:nvGrpSpPr>
        <p:cNvPr id="1" name=""/>
        <p:cNvGrpSpPr/>
        <p:nvPr/>
      </p:nvGrpSpPr>
      <p:grpSpPr>
        <a:xfrm>
          <a:off x="0" y="0"/>
          <a:ext cx="0" cy="0"/>
          <a:chOff x="0" y="0"/>
          <a:chExt cx="0" cy="0"/>
        </a:xfrm>
      </p:grpSpPr>
      <p:sp>
        <p:nvSpPr>
          <p:cNvPr id="3251215" name="Freeform 15"/>
          <p:cNvSpPr>
            <a:spLocks noEditPoints="1"/>
          </p:cNvSpPr>
          <p:nvPr>
            <p:custDataLst>
              <p:tags r:id="rId2"/>
            </p:custDataLst>
          </p:nvPr>
        </p:nvSpPr>
        <p:spPr bwMode="auto">
          <a:xfrm>
            <a:off x="8216900" y="379414"/>
            <a:ext cx="463550" cy="488951"/>
          </a:xfrm>
          <a:custGeom>
            <a:avLst/>
            <a:gdLst>
              <a:gd name="T0" fmla="*/ 743 w 4092"/>
              <a:gd name="T1" fmla="*/ 3836 h 4104"/>
              <a:gd name="T2" fmla="*/ 1652 w 4092"/>
              <a:gd name="T3" fmla="*/ 3680 h 4104"/>
              <a:gd name="T4" fmla="*/ 2573 w 4092"/>
              <a:gd name="T5" fmla="*/ 3692 h 4104"/>
              <a:gd name="T6" fmla="*/ 3476 w 4092"/>
              <a:gd name="T7" fmla="*/ 3873 h 4104"/>
              <a:gd name="T8" fmla="*/ 0 w 4092"/>
              <a:gd name="T9" fmla="*/ 0 h 4104"/>
              <a:gd name="T10" fmla="*/ 3802 w 4092"/>
              <a:gd name="T11" fmla="*/ 1443 h 4104"/>
              <a:gd name="T12" fmla="*/ 3712 w 4092"/>
              <a:gd name="T13" fmla="*/ 1281 h 4104"/>
              <a:gd name="T14" fmla="*/ 3509 w 4092"/>
              <a:gd name="T15" fmla="*/ 1254 h 4104"/>
              <a:gd name="T16" fmla="*/ 3662 w 4092"/>
              <a:gd name="T17" fmla="*/ 1523 h 4104"/>
              <a:gd name="T18" fmla="*/ 3865 w 4092"/>
              <a:gd name="T19" fmla="*/ 1799 h 4104"/>
              <a:gd name="T20" fmla="*/ 3900 w 4092"/>
              <a:gd name="T21" fmla="*/ 2004 h 4104"/>
              <a:gd name="T22" fmla="*/ 3313 w 4092"/>
              <a:gd name="T23" fmla="*/ 1825 h 4104"/>
              <a:gd name="T24" fmla="*/ 3412 w 4092"/>
              <a:gd name="T25" fmla="*/ 1939 h 4104"/>
              <a:gd name="T26" fmla="*/ 3572 w 4092"/>
              <a:gd name="T27" fmla="*/ 1876 h 4104"/>
              <a:gd name="T28" fmla="*/ 3353 w 4092"/>
              <a:gd name="T29" fmla="*/ 1570 h 4104"/>
              <a:gd name="T30" fmla="*/ 3203 w 4092"/>
              <a:gd name="T31" fmla="*/ 1305 h 4104"/>
              <a:gd name="T32" fmla="*/ 2422 w 4092"/>
              <a:gd name="T33" fmla="*/ 1158 h 4104"/>
              <a:gd name="T34" fmla="*/ 2958 w 4092"/>
              <a:gd name="T35" fmla="*/ 1319 h 4104"/>
              <a:gd name="T36" fmla="*/ 2839 w 4092"/>
              <a:gd name="T37" fmla="*/ 1250 h 4104"/>
              <a:gd name="T38" fmla="*/ 2783 w 4092"/>
              <a:gd name="T39" fmla="*/ 1403 h 4104"/>
              <a:gd name="T40" fmla="*/ 2986 w 4092"/>
              <a:gd name="T41" fmla="*/ 1654 h 4104"/>
              <a:gd name="T42" fmla="*/ 3113 w 4092"/>
              <a:gd name="T43" fmla="*/ 1932 h 4104"/>
              <a:gd name="T44" fmla="*/ 2408 w 4092"/>
              <a:gd name="T45" fmla="*/ 1754 h 4104"/>
              <a:gd name="T46" fmla="*/ 2577 w 4092"/>
              <a:gd name="T47" fmla="*/ 1912 h 4104"/>
              <a:gd name="T48" fmla="*/ 2802 w 4092"/>
              <a:gd name="T49" fmla="*/ 1948 h 4104"/>
              <a:gd name="T50" fmla="*/ 2677 w 4092"/>
              <a:gd name="T51" fmla="*/ 1714 h 4104"/>
              <a:gd name="T52" fmla="*/ 2446 w 4092"/>
              <a:gd name="T53" fmla="*/ 1400 h 4104"/>
              <a:gd name="T54" fmla="*/ 1842 w 4092"/>
              <a:gd name="T55" fmla="*/ 1948 h 4104"/>
              <a:gd name="T56" fmla="*/ 1927 w 4092"/>
              <a:gd name="T57" fmla="*/ 1911 h 4104"/>
              <a:gd name="T58" fmla="*/ 1913 w 4092"/>
              <a:gd name="T59" fmla="*/ 1271 h 4104"/>
              <a:gd name="T60" fmla="*/ 2306 w 4092"/>
              <a:gd name="T61" fmla="*/ 1158 h 4104"/>
              <a:gd name="T62" fmla="*/ 2224 w 4092"/>
              <a:gd name="T63" fmla="*/ 1287 h 4104"/>
              <a:gd name="T64" fmla="*/ 2224 w 4092"/>
              <a:gd name="T65" fmla="*/ 1912 h 4104"/>
              <a:gd name="T66" fmla="*/ 2306 w 4092"/>
              <a:gd name="T67" fmla="*/ 2039 h 4104"/>
              <a:gd name="T68" fmla="*/ 1057 w 4092"/>
              <a:gd name="T69" fmla="*/ 1935 h 4104"/>
              <a:gd name="T70" fmla="*/ 1085 w 4092"/>
              <a:gd name="T71" fmla="*/ 1299 h 4104"/>
              <a:gd name="T72" fmla="*/ 1026 w 4092"/>
              <a:gd name="T73" fmla="*/ 1250 h 4104"/>
              <a:gd name="T74" fmla="*/ 1620 w 4092"/>
              <a:gd name="T75" fmla="*/ 1356 h 4104"/>
              <a:gd name="T76" fmla="*/ 1530 w 4092"/>
              <a:gd name="T77" fmla="*/ 1259 h 4104"/>
              <a:gd name="T78" fmla="*/ 1432 w 4092"/>
              <a:gd name="T79" fmla="*/ 1548 h 4104"/>
              <a:gd name="T80" fmla="*/ 1477 w 4092"/>
              <a:gd name="T81" fmla="*/ 1445 h 4104"/>
              <a:gd name="T82" fmla="*/ 1465 w 4092"/>
              <a:gd name="T83" fmla="*/ 1681 h 4104"/>
              <a:gd name="T84" fmla="*/ 1369 w 4092"/>
              <a:gd name="T85" fmla="*/ 1948 h 4104"/>
              <a:gd name="T86" fmla="*/ 1589 w 4092"/>
              <a:gd name="T87" fmla="*/ 1894 h 4104"/>
              <a:gd name="T88" fmla="*/ 1648 w 4092"/>
              <a:gd name="T89" fmla="*/ 1754 h 4104"/>
              <a:gd name="T90" fmla="*/ 180 w 4092"/>
              <a:gd name="T91" fmla="*/ 1948 h 4104"/>
              <a:gd name="T92" fmla="*/ 309 w 4092"/>
              <a:gd name="T93" fmla="*/ 1667 h 4104"/>
              <a:gd name="T94" fmla="*/ 538 w 4092"/>
              <a:gd name="T95" fmla="*/ 1368 h 4104"/>
              <a:gd name="T96" fmla="*/ 443 w 4092"/>
              <a:gd name="T97" fmla="*/ 1255 h 4104"/>
              <a:gd name="T98" fmla="*/ 315 w 4092"/>
              <a:gd name="T99" fmla="*/ 1374 h 4104"/>
              <a:gd name="T100" fmla="*/ 912 w 4092"/>
              <a:gd name="T101" fmla="*/ 1195 h 4104"/>
              <a:gd name="T102" fmla="*/ 784 w 4092"/>
              <a:gd name="T103" fmla="*/ 1516 h 4104"/>
              <a:gd name="T104" fmla="*/ 551 w 4092"/>
              <a:gd name="T105" fmla="*/ 1825 h 4104"/>
              <a:gd name="T106" fmla="*/ 707 w 4092"/>
              <a:gd name="T107" fmla="*/ 1925 h 4104"/>
              <a:gd name="T108" fmla="*/ 786 w 4092"/>
              <a:gd name="T109" fmla="*/ 1827 h 4104"/>
              <a:gd name="T110" fmla="*/ 173 w 4092"/>
              <a:gd name="T111" fmla="*/ 1998 h 4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92" h="4104">
                <a:moveTo>
                  <a:pt x="0" y="4104"/>
                </a:moveTo>
                <a:lnTo>
                  <a:pt x="121" y="4051"/>
                </a:lnTo>
                <a:lnTo>
                  <a:pt x="243" y="4001"/>
                </a:lnTo>
                <a:lnTo>
                  <a:pt x="366" y="3955"/>
                </a:lnTo>
                <a:lnTo>
                  <a:pt x="491" y="3912"/>
                </a:lnTo>
                <a:lnTo>
                  <a:pt x="617" y="3873"/>
                </a:lnTo>
                <a:lnTo>
                  <a:pt x="743" y="3836"/>
                </a:lnTo>
                <a:lnTo>
                  <a:pt x="871" y="3804"/>
                </a:lnTo>
                <a:lnTo>
                  <a:pt x="1000" y="3775"/>
                </a:lnTo>
                <a:lnTo>
                  <a:pt x="1129" y="3749"/>
                </a:lnTo>
                <a:lnTo>
                  <a:pt x="1259" y="3727"/>
                </a:lnTo>
                <a:lnTo>
                  <a:pt x="1389" y="3707"/>
                </a:lnTo>
                <a:lnTo>
                  <a:pt x="1521" y="3692"/>
                </a:lnTo>
                <a:lnTo>
                  <a:pt x="1652" y="3680"/>
                </a:lnTo>
                <a:lnTo>
                  <a:pt x="1783" y="3671"/>
                </a:lnTo>
                <a:lnTo>
                  <a:pt x="1915" y="3666"/>
                </a:lnTo>
                <a:lnTo>
                  <a:pt x="2047" y="3664"/>
                </a:lnTo>
                <a:lnTo>
                  <a:pt x="2178" y="3666"/>
                </a:lnTo>
                <a:lnTo>
                  <a:pt x="2311" y="3671"/>
                </a:lnTo>
                <a:lnTo>
                  <a:pt x="2442" y="3680"/>
                </a:lnTo>
                <a:lnTo>
                  <a:pt x="2573" y="3692"/>
                </a:lnTo>
                <a:lnTo>
                  <a:pt x="2704" y="3707"/>
                </a:lnTo>
                <a:lnTo>
                  <a:pt x="2835" y="3727"/>
                </a:lnTo>
                <a:lnTo>
                  <a:pt x="2964" y="3749"/>
                </a:lnTo>
                <a:lnTo>
                  <a:pt x="3093" y="3775"/>
                </a:lnTo>
                <a:lnTo>
                  <a:pt x="3222" y="3804"/>
                </a:lnTo>
                <a:lnTo>
                  <a:pt x="3350" y="3836"/>
                </a:lnTo>
                <a:lnTo>
                  <a:pt x="3476" y="3873"/>
                </a:lnTo>
                <a:lnTo>
                  <a:pt x="3602" y="3912"/>
                </a:lnTo>
                <a:lnTo>
                  <a:pt x="3726" y="3955"/>
                </a:lnTo>
                <a:lnTo>
                  <a:pt x="3850" y="4001"/>
                </a:lnTo>
                <a:lnTo>
                  <a:pt x="3972" y="4051"/>
                </a:lnTo>
                <a:lnTo>
                  <a:pt x="4092" y="4104"/>
                </a:lnTo>
                <a:lnTo>
                  <a:pt x="4092" y="0"/>
                </a:lnTo>
                <a:lnTo>
                  <a:pt x="0" y="0"/>
                </a:lnTo>
                <a:lnTo>
                  <a:pt x="0" y="4104"/>
                </a:lnTo>
                <a:close/>
                <a:moveTo>
                  <a:pt x="3198" y="1210"/>
                </a:moveTo>
                <a:lnTo>
                  <a:pt x="3205" y="1184"/>
                </a:lnTo>
                <a:lnTo>
                  <a:pt x="3214" y="1158"/>
                </a:lnTo>
                <a:lnTo>
                  <a:pt x="3891" y="1158"/>
                </a:lnTo>
                <a:lnTo>
                  <a:pt x="3891" y="1443"/>
                </a:lnTo>
                <a:lnTo>
                  <a:pt x="3802" y="1443"/>
                </a:lnTo>
                <a:lnTo>
                  <a:pt x="3788" y="1394"/>
                </a:lnTo>
                <a:lnTo>
                  <a:pt x="3770" y="1352"/>
                </a:lnTo>
                <a:lnTo>
                  <a:pt x="3761" y="1334"/>
                </a:lnTo>
                <a:lnTo>
                  <a:pt x="3749" y="1319"/>
                </a:lnTo>
                <a:lnTo>
                  <a:pt x="3738" y="1304"/>
                </a:lnTo>
                <a:lnTo>
                  <a:pt x="3725" y="1292"/>
                </a:lnTo>
                <a:lnTo>
                  <a:pt x="3712" y="1281"/>
                </a:lnTo>
                <a:lnTo>
                  <a:pt x="3698" y="1272"/>
                </a:lnTo>
                <a:lnTo>
                  <a:pt x="3682" y="1264"/>
                </a:lnTo>
                <a:lnTo>
                  <a:pt x="3667" y="1258"/>
                </a:lnTo>
                <a:lnTo>
                  <a:pt x="3631" y="1250"/>
                </a:lnTo>
                <a:lnTo>
                  <a:pt x="3592" y="1248"/>
                </a:lnTo>
                <a:lnTo>
                  <a:pt x="3509" y="1248"/>
                </a:lnTo>
                <a:lnTo>
                  <a:pt x="3509" y="1254"/>
                </a:lnTo>
                <a:lnTo>
                  <a:pt x="3517" y="1281"/>
                </a:lnTo>
                <a:lnTo>
                  <a:pt x="3528" y="1311"/>
                </a:lnTo>
                <a:lnTo>
                  <a:pt x="3548" y="1353"/>
                </a:lnTo>
                <a:lnTo>
                  <a:pt x="3575" y="1403"/>
                </a:lnTo>
                <a:lnTo>
                  <a:pt x="3613" y="1459"/>
                </a:lnTo>
                <a:lnTo>
                  <a:pt x="3635" y="1491"/>
                </a:lnTo>
                <a:lnTo>
                  <a:pt x="3662" y="1523"/>
                </a:lnTo>
                <a:lnTo>
                  <a:pt x="3691" y="1556"/>
                </a:lnTo>
                <a:lnTo>
                  <a:pt x="3724" y="1590"/>
                </a:lnTo>
                <a:lnTo>
                  <a:pt x="3749" y="1618"/>
                </a:lnTo>
                <a:lnTo>
                  <a:pt x="3778" y="1654"/>
                </a:lnTo>
                <a:lnTo>
                  <a:pt x="3808" y="1698"/>
                </a:lnTo>
                <a:lnTo>
                  <a:pt x="3838" y="1747"/>
                </a:lnTo>
                <a:lnTo>
                  <a:pt x="3865" y="1799"/>
                </a:lnTo>
                <a:lnTo>
                  <a:pt x="3887" y="1852"/>
                </a:lnTo>
                <a:lnTo>
                  <a:pt x="3895" y="1879"/>
                </a:lnTo>
                <a:lnTo>
                  <a:pt x="3901" y="1906"/>
                </a:lnTo>
                <a:lnTo>
                  <a:pt x="3904" y="1932"/>
                </a:lnTo>
                <a:lnTo>
                  <a:pt x="3906" y="1957"/>
                </a:lnTo>
                <a:lnTo>
                  <a:pt x="3905" y="1983"/>
                </a:lnTo>
                <a:lnTo>
                  <a:pt x="3900" y="2004"/>
                </a:lnTo>
                <a:lnTo>
                  <a:pt x="3893" y="2022"/>
                </a:lnTo>
                <a:lnTo>
                  <a:pt x="3883" y="2039"/>
                </a:lnTo>
                <a:lnTo>
                  <a:pt x="3199" y="2039"/>
                </a:lnTo>
                <a:lnTo>
                  <a:pt x="3199" y="1754"/>
                </a:lnTo>
                <a:lnTo>
                  <a:pt x="3293" y="1754"/>
                </a:lnTo>
                <a:lnTo>
                  <a:pt x="3302" y="1791"/>
                </a:lnTo>
                <a:lnTo>
                  <a:pt x="3313" y="1825"/>
                </a:lnTo>
                <a:lnTo>
                  <a:pt x="3328" y="1858"/>
                </a:lnTo>
                <a:lnTo>
                  <a:pt x="3346" y="1887"/>
                </a:lnTo>
                <a:lnTo>
                  <a:pt x="3356" y="1900"/>
                </a:lnTo>
                <a:lnTo>
                  <a:pt x="3369" y="1912"/>
                </a:lnTo>
                <a:lnTo>
                  <a:pt x="3381" y="1922"/>
                </a:lnTo>
                <a:lnTo>
                  <a:pt x="3396" y="1932"/>
                </a:lnTo>
                <a:lnTo>
                  <a:pt x="3412" y="1939"/>
                </a:lnTo>
                <a:lnTo>
                  <a:pt x="3430" y="1944"/>
                </a:lnTo>
                <a:lnTo>
                  <a:pt x="3450" y="1947"/>
                </a:lnTo>
                <a:lnTo>
                  <a:pt x="3472" y="1948"/>
                </a:lnTo>
                <a:lnTo>
                  <a:pt x="3594" y="1948"/>
                </a:lnTo>
                <a:lnTo>
                  <a:pt x="3594" y="1941"/>
                </a:lnTo>
                <a:lnTo>
                  <a:pt x="3586" y="1918"/>
                </a:lnTo>
                <a:lnTo>
                  <a:pt x="3572" y="1876"/>
                </a:lnTo>
                <a:lnTo>
                  <a:pt x="3554" y="1841"/>
                </a:lnTo>
                <a:lnTo>
                  <a:pt x="3529" y="1800"/>
                </a:lnTo>
                <a:lnTo>
                  <a:pt x="3499" y="1758"/>
                </a:lnTo>
                <a:lnTo>
                  <a:pt x="3469" y="1714"/>
                </a:lnTo>
                <a:lnTo>
                  <a:pt x="3412" y="1641"/>
                </a:lnTo>
                <a:lnTo>
                  <a:pt x="3383" y="1603"/>
                </a:lnTo>
                <a:lnTo>
                  <a:pt x="3353" y="1570"/>
                </a:lnTo>
                <a:lnTo>
                  <a:pt x="3324" y="1533"/>
                </a:lnTo>
                <a:lnTo>
                  <a:pt x="3288" y="1485"/>
                </a:lnTo>
                <a:lnTo>
                  <a:pt x="3254" y="1430"/>
                </a:lnTo>
                <a:lnTo>
                  <a:pt x="3238" y="1400"/>
                </a:lnTo>
                <a:lnTo>
                  <a:pt x="3224" y="1370"/>
                </a:lnTo>
                <a:lnTo>
                  <a:pt x="3212" y="1337"/>
                </a:lnTo>
                <a:lnTo>
                  <a:pt x="3203" y="1305"/>
                </a:lnTo>
                <a:lnTo>
                  <a:pt x="3197" y="1273"/>
                </a:lnTo>
                <a:lnTo>
                  <a:pt x="3195" y="1240"/>
                </a:lnTo>
                <a:lnTo>
                  <a:pt x="3198" y="1210"/>
                </a:lnTo>
                <a:close/>
                <a:moveTo>
                  <a:pt x="2404" y="1225"/>
                </a:moveTo>
                <a:lnTo>
                  <a:pt x="2406" y="1210"/>
                </a:lnTo>
                <a:lnTo>
                  <a:pt x="2413" y="1184"/>
                </a:lnTo>
                <a:lnTo>
                  <a:pt x="2422" y="1158"/>
                </a:lnTo>
                <a:lnTo>
                  <a:pt x="3099" y="1158"/>
                </a:lnTo>
                <a:lnTo>
                  <a:pt x="3099" y="1443"/>
                </a:lnTo>
                <a:lnTo>
                  <a:pt x="3010" y="1443"/>
                </a:lnTo>
                <a:lnTo>
                  <a:pt x="2996" y="1394"/>
                </a:lnTo>
                <a:lnTo>
                  <a:pt x="2978" y="1352"/>
                </a:lnTo>
                <a:lnTo>
                  <a:pt x="2968" y="1334"/>
                </a:lnTo>
                <a:lnTo>
                  <a:pt x="2958" y="1319"/>
                </a:lnTo>
                <a:lnTo>
                  <a:pt x="2945" y="1304"/>
                </a:lnTo>
                <a:lnTo>
                  <a:pt x="2933" y="1292"/>
                </a:lnTo>
                <a:lnTo>
                  <a:pt x="2920" y="1281"/>
                </a:lnTo>
                <a:lnTo>
                  <a:pt x="2906" y="1272"/>
                </a:lnTo>
                <a:lnTo>
                  <a:pt x="2890" y="1264"/>
                </a:lnTo>
                <a:lnTo>
                  <a:pt x="2875" y="1258"/>
                </a:lnTo>
                <a:lnTo>
                  <a:pt x="2839" y="1250"/>
                </a:lnTo>
                <a:lnTo>
                  <a:pt x="2800" y="1248"/>
                </a:lnTo>
                <a:lnTo>
                  <a:pt x="2717" y="1248"/>
                </a:lnTo>
                <a:lnTo>
                  <a:pt x="2717" y="1254"/>
                </a:lnTo>
                <a:lnTo>
                  <a:pt x="2725" y="1281"/>
                </a:lnTo>
                <a:lnTo>
                  <a:pt x="2737" y="1311"/>
                </a:lnTo>
                <a:lnTo>
                  <a:pt x="2756" y="1353"/>
                </a:lnTo>
                <a:lnTo>
                  <a:pt x="2783" y="1403"/>
                </a:lnTo>
                <a:lnTo>
                  <a:pt x="2820" y="1459"/>
                </a:lnTo>
                <a:lnTo>
                  <a:pt x="2844" y="1491"/>
                </a:lnTo>
                <a:lnTo>
                  <a:pt x="2870" y="1523"/>
                </a:lnTo>
                <a:lnTo>
                  <a:pt x="2900" y="1556"/>
                </a:lnTo>
                <a:lnTo>
                  <a:pt x="2932" y="1590"/>
                </a:lnTo>
                <a:lnTo>
                  <a:pt x="2957" y="1618"/>
                </a:lnTo>
                <a:lnTo>
                  <a:pt x="2986" y="1654"/>
                </a:lnTo>
                <a:lnTo>
                  <a:pt x="3016" y="1698"/>
                </a:lnTo>
                <a:lnTo>
                  <a:pt x="3046" y="1747"/>
                </a:lnTo>
                <a:lnTo>
                  <a:pt x="3073" y="1799"/>
                </a:lnTo>
                <a:lnTo>
                  <a:pt x="3095" y="1852"/>
                </a:lnTo>
                <a:lnTo>
                  <a:pt x="3103" y="1879"/>
                </a:lnTo>
                <a:lnTo>
                  <a:pt x="3109" y="1906"/>
                </a:lnTo>
                <a:lnTo>
                  <a:pt x="3113" y="1932"/>
                </a:lnTo>
                <a:lnTo>
                  <a:pt x="3114" y="1957"/>
                </a:lnTo>
                <a:lnTo>
                  <a:pt x="3113" y="1983"/>
                </a:lnTo>
                <a:lnTo>
                  <a:pt x="3108" y="2004"/>
                </a:lnTo>
                <a:lnTo>
                  <a:pt x="3101" y="2022"/>
                </a:lnTo>
                <a:lnTo>
                  <a:pt x="3090" y="2039"/>
                </a:lnTo>
                <a:lnTo>
                  <a:pt x="2408" y="2039"/>
                </a:lnTo>
                <a:lnTo>
                  <a:pt x="2408" y="1754"/>
                </a:lnTo>
                <a:lnTo>
                  <a:pt x="2500" y="1754"/>
                </a:lnTo>
                <a:lnTo>
                  <a:pt x="2510" y="1791"/>
                </a:lnTo>
                <a:lnTo>
                  <a:pt x="2521" y="1825"/>
                </a:lnTo>
                <a:lnTo>
                  <a:pt x="2536" y="1858"/>
                </a:lnTo>
                <a:lnTo>
                  <a:pt x="2554" y="1887"/>
                </a:lnTo>
                <a:lnTo>
                  <a:pt x="2564" y="1900"/>
                </a:lnTo>
                <a:lnTo>
                  <a:pt x="2577" y="1912"/>
                </a:lnTo>
                <a:lnTo>
                  <a:pt x="2590" y="1922"/>
                </a:lnTo>
                <a:lnTo>
                  <a:pt x="2605" y="1932"/>
                </a:lnTo>
                <a:lnTo>
                  <a:pt x="2620" y="1939"/>
                </a:lnTo>
                <a:lnTo>
                  <a:pt x="2639" y="1944"/>
                </a:lnTo>
                <a:lnTo>
                  <a:pt x="2659" y="1947"/>
                </a:lnTo>
                <a:lnTo>
                  <a:pt x="2681" y="1948"/>
                </a:lnTo>
                <a:lnTo>
                  <a:pt x="2802" y="1948"/>
                </a:lnTo>
                <a:lnTo>
                  <a:pt x="2802" y="1941"/>
                </a:lnTo>
                <a:lnTo>
                  <a:pt x="2794" y="1918"/>
                </a:lnTo>
                <a:lnTo>
                  <a:pt x="2781" y="1876"/>
                </a:lnTo>
                <a:lnTo>
                  <a:pt x="2762" y="1841"/>
                </a:lnTo>
                <a:lnTo>
                  <a:pt x="2737" y="1800"/>
                </a:lnTo>
                <a:lnTo>
                  <a:pt x="2708" y="1758"/>
                </a:lnTo>
                <a:lnTo>
                  <a:pt x="2677" y="1714"/>
                </a:lnTo>
                <a:lnTo>
                  <a:pt x="2620" y="1641"/>
                </a:lnTo>
                <a:lnTo>
                  <a:pt x="2589" y="1603"/>
                </a:lnTo>
                <a:lnTo>
                  <a:pt x="2561" y="1570"/>
                </a:lnTo>
                <a:lnTo>
                  <a:pt x="2531" y="1533"/>
                </a:lnTo>
                <a:lnTo>
                  <a:pt x="2496" y="1485"/>
                </a:lnTo>
                <a:lnTo>
                  <a:pt x="2462" y="1430"/>
                </a:lnTo>
                <a:lnTo>
                  <a:pt x="2446" y="1400"/>
                </a:lnTo>
                <a:lnTo>
                  <a:pt x="2433" y="1370"/>
                </a:lnTo>
                <a:lnTo>
                  <a:pt x="2420" y="1337"/>
                </a:lnTo>
                <a:lnTo>
                  <a:pt x="2411" y="1305"/>
                </a:lnTo>
                <a:lnTo>
                  <a:pt x="2406" y="1273"/>
                </a:lnTo>
                <a:lnTo>
                  <a:pt x="2402" y="1240"/>
                </a:lnTo>
                <a:lnTo>
                  <a:pt x="2404" y="1225"/>
                </a:lnTo>
                <a:close/>
                <a:moveTo>
                  <a:pt x="1842" y="1948"/>
                </a:moveTo>
                <a:lnTo>
                  <a:pt x="1876" y="1948"/>
                </a:lnTo>
                <a:lnTo>
                  <a:pt x="1884" y="1947"/>
                </a:lnTo>
                <a:lnTo>
                  <a:pt x="1894" y="1943"/>
                </a:lnTo>
                <a:lnTo>
                  <a:pt x="1903" y="1937"/>
                </a:lnTo>
                <a:lnTo>
                  <a:pt x="1913" y="1930"/>
                </a:lnTo>
                <a:lnTo>
                  <a:pt x="1921" y="1920"/>
                </a:lnTo>
                <a:lnTo>
                  <a:pt x="1927" y="1911"/>
                </a:lnTo>
                <a:lnTo>
                  <a:pt x="1931" y="1901"/>
                </a:lnTo>
                <a:lnTo>
                  <a:pt x="1932" y="1892"/>
                </a:lnTo>
                <a:lnTo>
                  <a:pt x="1932" y="1308"/>
                </a:lnTo>
                <a:lnTo>
                  <a:pt x="1931" y="1299"/>
                </a:lnTo>
                <a:lnTo>
                  <a:pt x="1927" y="1289"/>
                </a:lnTo>
                <a:lnTo>
                  <a:pt x="1921" y="1280"/>
                </a:lnTo>
                <a:lnTo>
                  <a:pt x="1913" y="1271"/>
                </a:lnTo>
                <a:lnTo>
                  <a:pt x="1903" y="1262"/>
                </a:lnTo>
                <a:lnTo>
                  <a:pt x="1893" y="1255"/>
                </a:lnTo>
                <a:lnTo>
                  <a:pt x="1882" y="1251"/>
                </a:lnTo>
                <a:lnTo>
                  <a:pt x="1872" y="1250"/>
                </a:lnTo>
                <a:lnTo>
                  <a:pt x="1842" y="1250"/>
                </a:lnTo>
                <a:lnTo>
                  <a:pt x="1842" y="1158"/>
                </a:lnTo>
                <a:lnTo>
                  <a:pt x="2306" y="1158"/>
                </a:lnTo>
                <a:lnTo>
                  <a:pt x="2306" y="1250"/>
                </a:lnTo>
                <a:lnTo>
                  <a:pt x="2275" y="1250"/>
                </a:lnTo>
                <a:lnTo>
                  <a:pt x="2263" y="1252"/>
                </a:lnTo>
                <a:lnTo>
                  <a:pt x="2251" y="1257"/>
                </a:lnTo>
                <a:lnTo>
                  <a:pt x="2241" y="1265"/>
                </a:lnTo>
                <a:lnTo>
                  <a:pt x="2232" y="1276"/>
                </a:lnTo>
                <a:lnTo>
                  <a:pt x="2224" y="1287"/>
                </a:lnTo>
                <a:lnTo>
                  <a:pt x="2219" y="1299"/>
                </a:lnTo>
                <a:lnTo>
                  <a:pt x="2216" y="1309"/>
                </a:lnTo>
                <a:lnTo>
                  <a:pt x="2214" y="1319"/>
                </a:lnTo>
                <a:lnTo>
                  <a:pt x="2214" y="1881"/>
                </a:lnTo>
                <a:lnTo>
                  <a:pt x="2215" y="1890"/>
                </a:lnTo>
                <a:lnTo>
                  <a:pt x="2219" y="1900"/>
                </a:lnTo>
                <a:lnTo>
                  <a:pt x="2224" y="1912"/>
                </a:lnTo>
                <a:lnTo>
                  <a:pt x="2230" y="1923"/>
                </a:lnTo>
                <a:lnTo>
                  <a:pt x="2239" y="1933"/>
                </a:lnTo>
                <a:lnTo>
                  <a:pt x="2249" y="1941"/>
                </a:lnTo>
                <a:lnTo>
                  <a:pt x="2260" y="1946"/>
                </a:lnTo>
                <a:lnTo>
                  <a:pt x="2271" y="1948"/>
                </a:lnTo>
                <a:lnTo>
                  <a:pt x="2306" y="1948"/>
                </a:lnTo>
                <a:lnTo>
                  <a:pt x="2306" y="2039"/>
                </a:lnTo>
                <a:lnTo>
                  <a:pt x="1842" y="2039"/>
                </a:lnTo>
                <a:lnTo>
                  <a:pt x="1842" y="1948"/>
                </a:lnTo>
                <a:close/>
                <a:moveTo>
                  <a:pt x="995" y="1946"/>
                </a:moveTo>
                <a:lnTo>
                  <a:pt x="1030" y="1946"/>
                </a:lnTo>
                <a:lnTo>
                  <a:pt x="1038" y="1944"/>
                </a:lnTo>
                <a:lnTo>
                  <a:pt x="1047" y="1941"/>
                </a:lnTo>
                <a:lnTo>
                  <a:pt x="1057" y="1935"/>
                </a:lnTo>
                <a:lnTo>
                  <a:pt x="1066" y="1927"/>
                </a:lnTo>
                <a:lnTo>
                  <a:pt x="1075" y="1918"/>
                </a:lnTo>
                <a:lnTo>
                  <a:pt x="1081" y="1909"/>
                </a:lnTo>
                <a:lnTo>
                  <a:pt x="1085" y="1899"/>
                </a:lnTo>
                <a:lnTo>
                  <a:pt x="1086" y="1889"/>
                </a:lnTo>
                <a:lnTo>
                  <a:pt x="1086" y="1308"/>
                </a:lnTo>
                <a:lnTo>
                  <a:pt x="1085" y="1299"/>
                </a:lnTo>
                <a:lnTo>
                  <a:pt x="1081" y="1289"/>
                </a:lnTo>
                <a:lnTo>
                  <a:pt x="1075" y="1280"/>
                </a:lnTo>
                <a:lnTo>
                  <a:pt x="1066" y="1271"/>
                </a:lnTo>
                <a:lnTo>
                  <a:pt x="1057" y="1262"/>
                </a:lnTo>
                <a:lnTo>
                  <a:pt x="1046" y="1256"/>
                </a:lnTo>
                <a:lnTo>
                  <a:pt x="1036" y="1251"/>
                </a:lnTo>
                <a:lnTo>
                  <a:pt x="1026" y="1250"/>
                </a:lnTo>
                <a:lnTo>
                  <a:pt x="995" y="1250"/>
                </a:lnTo>
                <a:lnTo>
                  <a:pt x="995" y="1158"/>
                </a:lnTo>
                <a:lnTo>
                  <a:pt x="1742" y="1158"/>
                </a:lnTo>
                <a:lnTo>
                  <a:pt x="1742" y="1443"/>
                </a:lnTo>
                <a:lnTo>
                  <a:pt x="1648" y="1443"/>
                </a:lnTo>
                <a:lnTo>
                  <a:pt x="1635" y="1397"/>
                </a:lnTo>
                <a:lnTo>
                  <a:pt x="1620" y="1356"/>
                </a:lnTo>
                <a:lnTo>
                  <a:pt x="1602" y="1323"/>
                </a:lnTo>
                <a:lnTo>
                  <a:pt x="1592" y="1308"/>
                </a:lnTo>
                <a:lnTo>
                  <a:pt x="1581" y="1296"/>
                </a:lnTo>
                <a:lnTo>
                  <a:pt x="1570" y="1284"/>
                </a:lnTo>
                <a:lnTo>
                  <a:pt x="1557" y="1275"/>
                </a:lnTo>
                <a:lnTo>
                  <a:pt x="1544" y="1267"/>
                </a:lnTo>
                <a:lnTo>
                  <a:pt x="1530" y="1259"/>
                </a:lnTo>
                <a:lnTo>
                  <a:pt x="1514" y="1254"/>
                </a:lnTo>
                <a:lnTo>
                  <a:pt x="1498" y="1251"/>
                </a:lnTo>
                <a:lnTo>
                  <a:pt x="1461" y="1248"/>
                </a:lnTo>
                <a:lnTo>
                  <a:pt x="1369" y="1248"/>
                </a:lnTo>
                <a:lnTo>
                  <a:pt x="1369" y="1553"/>
                </a:lnTo>
                <a:lnTo>
                  <a:pt x="1416" y="1553"/>
                </a:lnTo>
                <a:lnTo>
                  <a:pt x="1432" y="1548"/>
                </a:lnTo>
                <a:lnTo>
                  <a:pt x="1441" y="1542"/>
                </a:lnTo>
                <a:lnTo>
                  <a:pt x="1452" y="1533"/>
                </a:lnTo>
                <a:lnTo>
                  <a:pt x="1461" y="1524"/>
                </a:lnTo>
                <a:lnTo>
                  <a:pt x="1470" y="1513"/>
                </a:lnTo>
                <a:lnTo>
                  <a:pt x="1475" y="1500"/>
                </a:lnTo>
                <a:lnTo>
                  <a:pt x="1477" y="1485"/>
                </a:lnTo>
                <a:lnTo>
                  <a:pt x="1477" y="1445"/>
                </a:lnTo>
                <a:lnTo>
                  <a:pt x="1568" y="1445"/>
                </a:lnTo>
                <a:lnTo>
                  <a:pt x="1568" y="1752"/>
                </a:lnTo>
                <a:lnTo>
                  <a:pt x="1477" y="1752"/>
                </a:lnTo>
                <a:lnTo>
                  <a:pt x="1477" y="1714"/>
                </a:lnTo>
                <a:lnTo>
                  <a:pt x="1476" y="1704"/>
                </a:lnTo>
                <a:lnTo>
                  <a:pt x="1472" y="1693"/>
                </a:lnTo>
                <a:lnTo>
                  <a:pt x="1465" y="1681"/>
                </a:lnTo>
                <a:lnTo>
                  <a:pt x="1457" y="1671"/>
                </a:lnTo>
                <a:lnTo>
                  <a:pt x="1447" y="1661"/>
                </a:lnTo>
                <a:lnTo>
                  <a:pt x="1433" y="1652"/>
                </a:lnTo>
                <a:lnTo>
                  <a:pt x="1419" y="1646"/>
                </a:lnTo>
                <a:lnTo>
                  <a:pt x="1401" y="1644"/>
                </a:lnTo>
                <a:lnTo>
                  <a:pt x="1369" y="1644"/>
                </a:lnTo>
                <a:lnTo>
                  <a:pt x="1369" y="1948"/>
                </a:lnTo>
                <a:lnTo>
                  <a:pt x="1471" y="1948"/>
                </a:lnTo>
                <a:lnTo>
                  <a:pt x="1497" y="1946"/>
                </a:lnTo>
                <a:lnTo>
                  <a:pt x="1524" y="1939"/>
                </a:lnTo>
                <a:lnTo>
                  <a:pt x="1551" y="1925"/>
                </a:lnTo>
                <a:lnTo>
                  <a:pt x="1564" y="1917"/>
                </a:lnTo>
                <a:lnTo>
                  <a:pt x="1577" y="1907"/>
                </a:lnTo>
                <a:lnTo>
                  <a:pt x="1589" y="1894"/>
                </a:lnTo>
                <a:lnTo>
                  <a:pt x="1600" y="1881"/>
                </a:lnTo>
                <a:lnTo>
                  <a:pt x="1611" y="1865"/>
                </a:lnTo>
                <a:lnTo>
                  <a:pt x="1621" y="1847"/>
                </a:lnTo>
                <a:lnTo>
                  <a:pt x="1629" y="1827"/>
                </a:lnTo>
                <a:lnTo>
                  <a:pt x="1637" y="1805"/>
                </a:lnTo>
                <a:lnTo>
                  <a:pt x="1644" y="1781"/>
                </a:lnTo>
                <a:lnTo>
                  <a:pt x="1648" y="1754"/>
                </a:lnTo>
                <a:lnTo>
                  <a:pt x="1742" y="1754"/>
                </a:lnTo>
                <a:lnTo>
                  <a:pt x="1742" y="2039"/>
                </a:lnTo>
                <a:lnTo>
                  <a:pt x="995" y="2039"/>
                </a:lnTo>
                <a:lnTo>
                  <a:pt x="995" y="1946"/>
                </a:lnTo>
                <a:close/>
                <a:moveTo>
                  <a:pt x="173" y="1998"/>
                </a:moveTo>
                <a:lnTo>
                  <a:pt x="174" y="1983"/>
                </a:lnTo>
                <a:lnTo>
                  <a:pt x="180" y="1948"/>
                </a:lnTo>
                <a:lnTo>
                  <a:pt x="192" y="1901"/>
                </a:lnTo>
                <a:lnTo>
                  <a:pt x="201" y="1874"/>
                </a:lnTo>
                <a:lnTo>
                  <a:pt x="213" y="1846"/>
                </a:lnTo>
                <a:lnTo>
                  <a:pt x="235" y="1796"/>
                </a:lnTo>
                <a:lnTo>
                  <a:pt x="267" y="1734"/>
                </a:lnTo>
                <a:lnTo>
                  <a:pt x="287" y="1700"/>
                </a:lnTo>
                <a:lnTo>
                  <a:pt x="309" y="1667"/>
                </a:lnTo>
                <a:lnTo>
                  <a:pt x="334" y="1635"/>
                </a:lnTo>
                <a:lnTo>
                  <a:pt x="360" y="1605"/>
                </a:lnTo>
                <a:lnTo>
                  <a:pt x="392" y="1572"/>
                </a:lnTo>
                <a:lnTo>
                  <a:pt x="420" y="1540"/>
                </a:lnTo>
                <a:lnTo>
                  <a:pt x="469" y="1477"/>
                </a:lnTo>
                <a:lnTo>
                  <a:pt x="508" y="1420"/>
                </a:lnTo>
                <a:lnTo>
                  <a:pt x="538" y="1368"/>
                </a:lnTo>
                <a:lnTo>
                  <a:pt x="559" y="1324"/>
                </a:lnTo>
                <a:lnTo>
                  <a:pt x="574" y="1289"/>
                </a:lnTo>
                <a:lnTo>
                  <a:pt x="588" y="1254"/>
                </a:lnTo>
                <a:lnTo>
                  <a:pt x="588" y="1248"/>
                </a:lnTo>
                <a:lnTo>
                  <a:pt x="506" y="1248"/>
                </a:lnTo>
                <a:lnTo>
                  <a:pt x="472" y="1250"/>
                </a:lnTo>
                <a:lnTo>
                  <a:pt x="443" y="1255"/>
                </a:lnTo>
                <a:lnTo>
                  <a:pt x="418" y="1264"/>
                </a:lnTo>
                <a:lnTo>
                  <a:pt x="395" y="1276"/>
                </a:lnTo>
                <a:lnTo>
                  <a:pt x="375" y="1289"/>
                </a:lnTo>
                <a:lnTo>
                  <a:pt x="359" y="1305"/>
                </a:lnTo>
                <a:lnTo>
                  <a:pt x="344" y="1322"/>
                </a:lnTo>
                <a:lnTo>
                  <a:pt x="332" y="1340"/>
                </a:lnTo>
                <a:lnTo>
                  <a:pt x="315" y="1374"/>
                </a:lnTo>
                <a:lnTo>
                  <a:pt x="303" y="1405"/>
                </a:lnTo>
                <a:lnTo>
                  <a:pt x="295" y="1443"/>
                </a:lnTo>
                <a:lnTo>
                  <a:pt x="206" y="1443"/>
                </a:lnTo>
                <a:lnTo>
                  <a:pt x="206" y="1158"/>
                </a:lnTo>
                <a:lnTo>
                  <a:pt x="913" y="1158"/>
                </a:lnTo>
                <a:lnTo>
                  <a:pt x="913" y="1182"/>
                </a:lnTo>
                <a:lnTo>
                  <a:pt x="912" y="1195"/>
                </a:lnTo>
                <a:lnTo>
                  <a:pt x="907" y="1226"/>
                </a:lnTo>
                <a:lnTo>
                  <a:pt x="897" y="1271"/>
                </a:lnTo>
                <a:lnTo>
                  <a:pt x="881" y="1325"/>
                </a:lnTo>
                <a:lnTo>
                  <a:pt x="859" y="1379"/>
                </a:lnTo>
                <a:lnTo>
                  <a:pt x="835" y="1428"/>
                </a:lnTo>
                <a:lnTo>
                  <a:pt x="810" y="1474"/>
                </a:lnTo>
                <a:lnTo>
                  <a:pt x="784" y="1516"/>
                </a:lnTo>
                <a:lnTo>
                  <a:pt x="757" y="1554"/>
                </a:lnTo>
                <a:lnTo>
                  <a:pt x="730" y="1590"/>
                </a:lnTo>
                <a:lnTo>
                  <a:pt x="673" y="1658"/>
                </a:lnTo>
                <a:lnTo>
                  <a:pt x="620" y="1723"/>
                </a:lnTo>
                <a:lnTo>
                  <a:pt x="596" y="1756"/>
                </a:lnTo>
                <a:lnTo>
                  <a:pt x="572" y="1790"/>
                </a:lnTo>
                <a:lnTo>
                  <a:pt x="551" y="1825"/>
                </a:lnTo>
                <a:lnTo>
                  <a:pt x="533" y="1864"/>
                </a:lnTo>
                <a:lnTo>
                  <a:pt x="516" y="1904"/>
                </a:lnTo>
                <a:lnTo>
                  <a:pt x="503" y="1948"/>
                </a:lnTo>
                <a:lnTo>
                  <a:pt x="624" y="1948"/>
                </a:lnTo>
                <a:lnTo>
                  <a:pt x="651" y="1946"/>
                </a:lnTo>
                <a:lnTo>
                  <a:pt x="680" y="1939"/>
                </a:lnTo>
                <a:lnTo>
                  <a:pt x="707" y="1925"/>
                </a:lnTo>
                <a:lnTo>
                  <a:pt x="720" y="1917"/>
                </a:lnTo>
                <a:lnTo>
                  <a:pt x="733" y="1907"/>
                </a:lnTo>
                <a:lnTo>
                  <a:pt x="744" y="1894"/>
                </a:lnTo>
                <a:lnTo>
                  <a:pt x="756" y="1881"/>
                </a:lnTo>
                <a:lnTo>
                  <a:pt x="767" y="1865"/>
                </a:lnTo>
                <a:lnTo>
                  <a:pt x="777" y="1847"/>
                </a:lnTo>
                <a:lnTo>
                  <a:pt x="786" y="1827"/>
                </a:lnTo>
                <a:lnTo>
                  <a:pt x="793" y="1805"/>
                </a:lnTo>
                <a:lnTo>
                  <a:pt x="799" y="1781"/>
                </a:lnTo>
                <a:lnTo>
                  <a:pt x="805" y="1754"/>
                </a:lnTo>
                <a:lnTo>
                  <a:pt x="897" y="1754"/>
                </a:lnTo>
                <a:lnTo>
                  <a:pt x="897" y="2039"/>
                </a:lnTo>
                <a:lnTo>
                  <a:pt x="173" y="2039"/>
                </a:lnTo>
                <a:lnTo>
                  <a:pt x="173" y="1998"/>
                </a:lnTo>
                <a:close/>
              </a:path>
            </a:pathLst>
          </a:custGeom>
          <a:solidFill>
            <a:srgbClr val="0000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sz="1600">
              <a:solidFill>
                <a:srgbClr val="000000"/>
              </a:solidFill>
            </a:endParaRPr>
          </a:p>
        </p:txBody>
      </p:sp>
      <p:sp>
        <p:nvSpPr>
          <p:cNvPr id="3" name="Text Placeholder 2"/>
          <p:cNvSpPr>
            <a:spLocks noGrp="1"/>
          </p:cNvSpPr>
          <p:nvPr>
            <p:ph type="body" sz="quarter" idx="10"/>
          </p:nvPr>
        </p:nvSpPr>
        <p:spPr>
          <a:xfrm>
            <a:off x="468000" y="5940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7" name="Text Placeholder 2"/>
          <p:cNvSpPr>
            <a:spLocks noGrp="1"/>
          </p:cNvSpPr>
          <p:nvPr>
            <p:ph type="body" sz="quarter" idx="11"/>
          </p:nvPr>
        </p:nvSpPr>
        <p:spPr>
          <a:xfrm>
            <a:off x="468000" y="6192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8" name="Text Placeholder 2"/>
          <p:cNvSpPr>
            <a:spLocks noGrp="1"/>
          </p:cNvSpPr>
          <p:nvPr>
            <p:ph type="body" sz="quarter" idx="12"/>
          </p:nvPr>
        </p:nvSpPr>
        <p:spPr>
          <a:xfrm>
            <a:off x="468000" y="6444000"/>
            <a:ext cx="3024682" cy="208952"/>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4" name="Title 3"/>
          <p:cNvSpPr>
            <a:spLocks noGrp="1"/>
          </p:cNvSpPr>
          <p:nvPr>
            <p:ph type="title"/>
          </p:nvPr>
        </p:nvSpPr>
        <p:spPr/>
        <p:txBody>
          <a:bodyPr/>
          <a:lstStyle/>
          <a:p>
            <a:r>
              <a:rPr lang="en-US"/>
              <a:t>Click to edit Master title style</a:t>
            </a:r>
          </a:p>
        </p:txBody>
      </p:sp>
      <p:pic>
        <p:nvPicPr>
          <p:cNvPr id="11" name="Picture 52" descr="Bild1"/>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0" y="1350965"/>
            <a:ext cx="9144000" cy="435133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TextBox 8"/>
          <p:cNvSpPr txBox="1"/>
          <p:nvPr userDrawn="1"/>
        </p:nvSpPr>
        <p:spPr bwMode="gray">
          <a:xfrm>
            <a:off x="-865458" y="1773238"/>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0" name="TextBox 9"/>
          <p:cNvSpPr txBox="1"/>
          <p:nvPr userDrawn="1"/>
        </p:nvSpPr>
        <p:spPr bwMode="gray">
          <a:xfrm>
            <a:off x="-956829" y="1554163"/>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2" name="Straight Connector 11"/>
          <p:cNvCxnSpPr/>
          <p:nvPr userDrawn="1"/>
        </p:nvCxnSpPr>
        <p:spPr bwMode="gray">
          <a:xfrm flipH="1">
            <a:off x="-288540" y="17732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bwMode="gray">
          <a:xfrm flipH="1">
            <a:off x="-288540" y="15573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userDrawn="1"/>
        </p:nvSpPr>
        <p:spPr bwMode="gray">
          <a:xfrm>
            <a:off x="-865458" y="6093281"/>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5" name="TextBox 14"/>
          <p:cNvSpPr txBox="1"/>
          <p:nvPr userDrawn="1"/>
        </p:nvSpPr>
        <p:spPr bwMode="gray">
          <a:xfrm>
            <a:off x="-956829" y="6524625"/>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6" name="Straight Connector 15"/>
          <p:cNvCxnSpPr/>
          <p:nvPr userDrawn="1"/>
        </p:nvCxnSpPr>
        <p:spPr bwMode="gray">
          <a:xfrm flipH="1">
            <a:off x="-288540" y="6522107"/>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gray">
          <a:xfrm flipH="1">
            <a:off x="-288540" y="6308725"/>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nvGrpSpPr>
          <p:cNvPr id="18" name="Group 17"/>
          <p:cNvGrpSpPr/>
          <p:nvPr userDrawn="1"/>
        </p:nvGrpSpPr>
        <p:grpSpPr>
          <a:xfrm rot="5400000">
            <a:off x="-43126" y="-645663"/>
            <a:ext cx="807434" cy="215444"/>
            <a:chOff x="-1248737" y="516171"/>
            <a:chExt cx="807434" cy="215444"/>
          </a:xfrm>
        </p:grpSpPr>
        <p:sp>
          <p:nvSpPr>
            <p:cNvPr id="19" name="TextBox 18"/>
            <p:cNvSpPr txBox="1"/>
            <p:nvPr userDrawn="1"/>
          </p:nvSpPr>
          <p:spPr bwMode="gray">
            <a:xfrm>
              <a:off x="-1248737" y="516171"/>
              <a:ext cx="766557"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Lef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20" name="Straight Connector 19"/>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21" name="Group 20"/>
          <p:cNvGrpSpPr/>
          <p:nvPr userDrawn="1"/>
        </p:nvGrpSpPr>
        <p:grpSpPr>
          <a:xfrm rot="5400000">
            <a:off x="8185327" y="-625720"/>
            <a:ext cx="767548" cy="215444"/>
            <a:chOff x="-1285606" y="516176"/>
            <a:chExt cx="844303" cy="215444"/>
          </a:xfrm>
        </p:grpSpPr>
        <p:sp>
          <p:nvSpPr>
            <p:cNvPr id="22" name="TextBox 21"/>
            <p:cNvSpPr txBox="1"/>
            <p:nvPr userDrawn="1"/>
          </p:nvSpPr>
          <p:spPr bwMode="gray">
            <a:xfrm>
              <a:off x="-1285606" y="516176"/>
              <a:ext cx="840295"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Righ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23" name="Straight Connector 22"/>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91340947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 We make it visible.">
    <p:spTree>
      <p:nvGrpSpPr>
        <p:cNvPr id="1" name=""/>
        <p:cNvGrpSpPr/>
        <p:nvPr/>
      </p:nvGrpSpPr>
      <p:grpSpPr>
        <a:xfrm>
          <a:off x="0" y="0"/>
          <a:ext cx="0" cy="0"/>
          <a:chOff x="0" y="0"/>
          <a:chExt cx="0" cy="0"/>
        </a:xfrm>
      </p:grpSpPr>
      <p:sp>
        <p:nvSpPr>
          <p:cNvPr id="3251215" name="Freeform 15"/>
          <p:cNvSpPr>
            <a:spLocks noEditPoints="1"/>
          </p:cNvSpPr>
          <p:nvPr>
            <p:custDataLst>
              <p:tags r:id="rId2"/>
            </p:custDataLst>
          </p:nvPr>
        </p:nvSpPr>
        <p:spPr bwMode="auto">
          <a:xfrm>
            <a:off x="8216900" y="379414"/>
            <a:ext cx="463550" cy="488951"/>
          </a:xfrm>
          <a:custGeom>
            <a:avLst/>
            <a:gdLst>
              <a:gd name="T0" fmla="*/ 743 w 4092"/>
              <a:gd name="T1" fmla="*/ 3836 h 4104"/>
              <a:gd name="T2" fmla="*/ 1652 w 4092"/>
              <a:gd name="T3" fmla="*/ 3680 h 4104"/>
              <a:gd name="T4" fmla="*/ 2573 w 4092"/>
              <a:gd name="T5" fmla="*/ 3692 h 4104"/>
              <a:gd name="T6" fmla="*/ 3476 w 4092"/>
              <a:gd name="T7" fmla="*/ 3873 h 4104"/>
              <a:gd name="T8" fmla="*/ 0 w 4092"/>
              <a:gd name="T9" fmla="*/ 0 h 4104"/>
              <a:gd name="T10" fmla="*/ 3802 w 4092"/>
              <a:gd name="T11" fmla="*/ 1443 h 4104"/>
              <a:gd name="T12" fmla="*/ 3712 w 4092"/>
              <a:gd name="T13" fmla="*/ 1281 h 4104"/>
              <a:gd name="T14" fmla="*/ 3509 w 4092"/>
              <a:gd name="T15" fmla="*/ 1254 h 4104"/>
              <a:gd name="T16" fmla="*/ 3662 w 4092"/>
              <a:gd name="T17" fmla="*/ 1523 h 4104"/>
              <a:gd name="T18" fmla="*/ 3865 w 4092"/>
              <a:gd name="T19" fmla="*/ 1799 h 4104"/>
              <a:gd name="T20" fmla="*/ 3900 w 4092"/>
              <a:gd name="T21" fmla="*/ 2004 h 4104"/>
              <a:gd name="T22" fmla="*/ 3313 w 4092"/>
              <a:gd name="T23" fmla="*/ 1825 h 4104"/>
              <a:gd name="T24" fmla="*/ 3412 w 4092"/>
              <a:gd name="T25" fmla="*/ 1939 h 4104"/>
              <a:gd name="T26" fmla="*/ 3572 w 4092"/>
              <a:gd name="T27" fmla="*/ 1876 h 4104"/>
              <a:gd name="T28" fmla="*/ 3353 w 4092"/>
              <a:gd name="T29" fmla="*/ 1570 h 4104"/>
              <a:gd name="T30" fmla="*/ 3203 w 4092"/>
              <a:gd name="T31" fmla="*/ 1305 h 4104"/>
              <a:gd name="T32" fmla="*/ 2422 w 4092"/>
              <a:gd name="T33" fmla="*/ 1158 h 4104"/>
              <a:gd name="T34" fmla="*/ 2958 w 4092"/>
              <a:gd name="T35" fmla="*/ 1319 h 4104"/>
              <a:gd name="T36" fmla="*/ 2839 w 4092"/>
              <a:gd name="T37" fmla="*/ 1250 h 4104"/>
              <a:gd name="T38" fmla="*/ 2783 w 4092"/>
              <a:gd name="T39" fmla="*/ 1403 h 4104"/>
              <a:gd name="T40" fmla="*/ 2986 w 4092"/>
              <a:gd name="T41" fmla="*/ 1654 h 4104"/>
              <a:gd name="T42" fmla="*/ 3113 w 4092"/>
              <a:gd name="T43" fmla="*/ 1932 h 4104"/>
              <a:gd name="T44" fmla="*/ 2408 w 4092"/>
              <a:gd name="T45" fmla="*/ 1754 h 4104"/>
              <a:gd name="T46" fmla="*/ 2577 w 4092"/>
              <a:gd name="T47" fmla="*/ 1912 h 4104"/>
              <a:gd name="T48" fmla="*/ 2802 w 4092"/>
              <a:gd name="T49" fmla="*/ 1948 h 4104"/>
              <a:gd name="T50" fmla="*/ 2677 w 4092"/>
              <a:gd name="T51" fmla="*/ 1714 h 4104"/>
              <a:gd name="T52" fmla="*/ 2446 w 4092"/>
              <a:gd name="T53" fmla="*/ 1400 h 4104"/>
              <a:gd name="T54" fmla="*/ 1842 w 4092"/>
              <a:gd name="T55" fmla="*/ 1948 h 4104"/>
              <a:gd name="T56" fmla="*/ 1927 w 4092"/>
              <a:gd name="T57" fmla="*/ 1911 h 4104"/>
              <a:gd name="T58" fmla="*/ 1913 w 4092"/>
              <a:gd name="T59" fmla="*/ 1271 h 4104"/>
              <a:gd name="T60" fmla="*/ 2306 w 4092"/>
              <a:gd name="T61" fmla="*/ 1158 h 4104"/>
              <a:gd name="T62" fmla="*/ 2224 w 4092"/>
              <a:gd name="T63" fmla="*/ 1287 h 4104"/>
              <a:gd name="T64" fmla="*/ 2224 w 4092"/>
              <a:gd name="T65" fmla="*/ 1912 h 4104"/>
              <a:gd name="T66" fmla="*/ 2306 w 4092"/>
              <a:gd name="T67" fmla="*/ 2039 h 4104"/>
              <a:gd name="T68" fmla="*/ 1057 w 4092"/>
              <a:gd name="T69" fmla="*/ 1935 h 4104"/>
              <a:gd name="T70" fmla="*/ 1085 w 4092"/>
              <a:gd name="T71" fmla="*/ 1299 h 4104"/>
              <a:gd name="T72" fmla="*/ 1026 w 4092"/>
              <a:gd name="T73" fmla="*/ 1250 h 4104"/>
              <a:gd name="T74" fmla="*/ 1620 w 4092"/>
              <a:gd name="T75" fmla="*/ 1356 h 4104"/>
              <a:gd name="T76" fmla="*/ 1530 w 4092"/>
              <a:gd name="T77" fmla="*/ 1259 h 4104"/>
              <a:gd name="T78" fmla="*/ 1432 w 4092"/>
              <a:gd name="T79" fmla="*/ 1548 h 4104"/>
              <a:gd name="T80" fmla="*/ 1477 w 4092"/>
              <a:gd name="T81" fmla="*/ 1445 h 4104"/>
              <a:gd name="T82" fmla="*/ 1465 w 4092"/>
              <a:gd name="T83" fmla="*/ 1681 h 4104"/>
              <a:gd name="T84" fmla="*/ 1369 w 4092"/>
              <a:gd name="T85" fmla="*/ 1948 h 4104"/>
              <a:gd name="T86" fmla="*/ 1589 w 4092"/>
              <a:gd name="T87" fmla="*/ 1894 h 4104"/>
              <a:gd name="T88" fmla="*/ 1648 w 4092"/>
              <a:gd name="T89" fmla="*/ 1754 h 4104"/>
              <a:gd name="T90" fmla="*/ 180 w 4092"/>
              <a:gd name="T91" fmla="*/ 1948 h 4104"/>
              <a:gd name="T92" fmla="*/ 309 w 4092"/>
              <a:gd name="T93" fmla="*/ 1667 h 4104"/>
              <a:gd name="T94" fmla="*/ 538 w 4092"/>
              <a:gd name="T95" fmla="*/ 1368 h 4104"/>
              <a:gd name="T96" fmla="*/ 443 w 4092"/>
              <a:gd name="T97" fmla="*/ 1255 h 4104"/>
              <a:gd name="T98" fmla="*/ 315 w 4092"/>
              <a:gd name="T99" fmla="*/ 1374 h 4104"/>
              <a:gd name="T100" fmla="*/ 912 w 4092"/>
              <a:gd name="T101" fmla="*/ 1195 h 4104"/>
              <a:gd name="T102" fmla="*/ 784 w 4092"/>
              <a:gd name="T103" fmla="*/ 1516 h 4104"/>
              <a:gd name="T104" fmla="*/ 551 w 4092"/>
              <a:gd name="T105" fmla="*/ 1825 h 4104"/>
              <a:gd name="T106" fmla="*/ 707 w 4092"/>
              <a:gd name="T107" fmla="*/ 1925 h 4104"/>
              <a:gd name="T108" fmla="*/ 786 w 4092"/>
              <a:gd name="T109" fmla="*/ 1827 h 4104"/>
              <a:gd name="T110" fmla="*/ 173 w 4092"/>
              <a:gd name="T111" fmla="*/ 1998 h 4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92" h="4104">
                <a:moveTo>
                  <a:pt x="0" y="4104"/>
                </a:moveTo>
                <a:lnTo>
                  <a:pt x="121" y="4051"/>
                </a:lnTo>
                <a:lnTo>
                  <a:pt x="243" y="4001"/>
                </a:lnTo>
                <a:lnTo>
                  <a:pt x="366" y="3955"/>
                </a:lnTo>
                <a:lnTo>
                  <a:pt x="491" y="3912"/>
                </a:lnTo>
                <a:lnTo>
                  <a:pt x="617" y="3873"/>
                </a:lnTo>
                <a:lnTo>
                  <a:pt x="743" y="3836"/>
                </a:lnTo>
                <a:lnTo>
                  <a:pt x="871" y="3804"/>
                </a:lnTo>
                <a:lnTo>
                  <a:pt x="1000" y="3775"/>
                </a:lnTo>
                <a:lnTo>
                  <a:pt x="1129" y="3749"/>
                </a:lnTo>
                <a:lnTo>
                  <a:pt x="1259" y="3727"/>
                </a:lnTo>
                <a:lnTo>
                  <a:pt x="1389" y="3707"/>
                </a:lnTo>
                <a:lnTo>
                  <a:pt x="1521" y="3692"/>
                </a:lnTo>
                <a:lnTo>
                  <a:pt x="1652" y="3680"/>
                </a:lnTo>
                <a:lnTo>
                  <a:pt x="1783" y="3671"/>
                </a:lnTo>
                <a:lnTo>
                  <a:pt x="1915" y="3666"/>
                </a:lnTo>
                <a:lnTo>
                  <a:pt x="2047" y="3664"/>
                </a:lnTo>
                <a:lnTo>
                  <a:pt x="2178" y="3666"/>
                </a:lnTo>
                <a:lnTo>
                  <a:pt x="2311" y="3671"/>
                </a:lnTo>
                <a:lnTo>
                  <a:pt x="2442" y="3680"/>
                </a:lnTo>
                <a:lnTo>
                  <a:pt x="2573" y="3692"/>
                </a:lnTo>
                <a:lnTo>
                  <a:pt x="2704" y="3707"/>
                </a:lnTo>
                <a:lnTo>
                  <a:pt x="2835" y="3727"/>
                </a:lnTo>
                <a:lnTo>
                  <a:pt x="2964" y="3749"/>
                </a:lnTo>
                <a:lnTo>
                  <a:pt x="3093" y="3775"/>
                </a:lnTo>
                <a:lnTo>
                  <a:pt x="3222" y="3804"/>
                </a:lnTo>
                <a:lnTo>
                  <a:pt x="3350" y="3836"/>
                </a:lnTo>
                <a:lnTo>
                  <a:pt x="3476" y="3873"/>
                </a:lnTo>
                <a:lnTo>
                  <a:pt x="3602" y="3912"/>
                </a:lnTo>
                <a:lnTo>
                  <a:pt x="3726" y="3955"/>
                </a:lnTo>
                <a:lnTo>
                  <a:pt x="3850" y="4001"/>
                </a:lnTo>
                <a:lnTo>
                  <a:pt x="3972" y="4051"/>
                </a:lnTo>
                <a:lnTo>
                  <a:pt x="4092" y="4104"/>
                </a:lnTo>
                <a:lnTo>
                  <a:pt x="4092" y="0"/>
                </a:lnTo>
                <a:lnTo>
                  <a:pt x="0" y="0"/>
                </a:lnTo>
                <a:lnTo>
                  <a:pt x="0" y="4104"/>
                </a:lnTo>
                <a:close/>
                <a:moveTo>
                  <a:pt x="3198" y="1210"/>
                </a:moveTo>
                <a:lnTo>
                  <a:pt x="3205" y="1184"/>
                </a:lnTo>
                <a:lnTo>
                  <a:pt x="3214" y="1158"/>
                </a:lnTo>
                <a:lnTo>
                  <a:pt x="3891" y="1158"/>
                </a:lnTo>
                <a:lnTo>
                  <a:pt x="3891" y="1443"/>
                </a:lnTo>
                <a:lnTo>
                  <a:pt x="3802" y="1443"/>
                </a:lnTo>
                <a:lnTo>
                  <a:pt x="3788" y="1394"/>
                </a:lnTo>
                <a:lnTo>
                  <a:pt x="3770" y="1352"/>
                </a:lnTo>
                <a:lnTo>
                  <a:pt x="3761" y="1334"/>
                </a:lnTo>
                <a:lnTo>
                  <a:pt x="3749" y="1319"/>
                </a:lnTo>
                <a:lnTo>
                  <a:pt x="3738" y="1304"/>
                </a:lnTo>
                <a:lnTo>
                  <a:pt x="3725" y="1292"/>
                </a:lnTo>
                <a:lnTo>
                  <a:pt x="3712" y="1281"/>
                </a:lnTo>
                <a:lnTo>
                  <a:pt x="3698" y="1272"/>
                </a:lnTo>
                <a:lnTo>
                  <a:pt x="3682" y="1264"/>
                </a:lnTo>
                <a:lnTo>
                  <a:pt x="3667" y="1258"/>
                </a:lnTo>
                <a:lnTo>
                  <a:pt x="3631" y="1250"/>
                </a:lnTo>
                <a:lnTo>
                  <a:pt x="3592" y="1248"/>
                </a:lnTo>
                <a:lnTo>
                  <a:pt x="3509" y="1248"/>
                </a:lnTo>
                <a:lnTo>
                  <a:pt x="3509" y="1254"/>
                </a:lnTo>
                <a:lnTo>
                  <a:pt x="3517" y="1281"/>
                </a:lnTo>
                <a:lnTo>
                  <a:pt x="3528" y="1311"/>
                </a:lnTo>
                <a:lnTo>
                  <a:pt x="3548" y="1353"/>
                </a:lnTo>
                <a:lnTo>
                  <a:pt x="3575" y="1403"/>
                </a:lnTo>
                <a:lnTo>
                  <a:pt x="3613" y="1459"/>
                </a:lnTo>
                <a:lnTo>
                  <a:pt x="3635" y="1491"/>
                </a:lnTo>
                <a:lnTo>
                  <a:pt x="3662" y="1523"/>
                </a:lnTo>
                <a:lnTo>
                  <a:pt x="3691" y="1556"/>
                </a:lnTo>
                <a:lnTo>
                  <a:pt x="3724" y="1590"/>
                </a:lnTo>
                <a:lnTo>
                  <a:pt x="3749" y="1618"/>
                </a:lnTo>
                <a:lnTo>
                  <a:pt x="3778" y="1654"/>
                </a:lnTo>
                <a:lnTo>
                  <a:pt x="3808" y="1698"/>
                </a:lnTo>
                <a:lnTo>
                  <a:pt x="3838" y="1747"/>
                </a:lnTo>
                <a:lnTo>
                  <a:pt x="3865" y="1799"/>
                </a:lnTo>
                <a:lnTo>
                  <a:pt x="3887" y="1852"/>
                </a:lnTo>
                <a:lnTo>
                  <a:pt x="3895" y="1879"/>
                </a:lnTo>
                <a:lnTo>
                  <a:pt x="3901" y="1906"/>
                </a:lnTo>
                <a:lnTo>
                  <a:pt x="3904" y="1932"/>
                </a:lnTo>
                <a:lnTo>
                  <a:pt x="3906" y="1957"/>
                </a:lnTo>
                <a:lnTo>
                  <a:pt x="3905" y="1983"/>
                </a:lnTo>
                <a:lnTo>
                  <a:pt x="3900" y="2004"/>
                </a:lnTo>
                <a:lnTo>
                  <a:pt x="3893" y="2022"/>
                </a:lnTo>
                <a:lnTo>
                  <a:pt x="3883" y="2039"/>
                </a:lnTo>
                <a:lnTo>
                  <a:pt x="3199" y="2039"/>
                </a:lnTo>
                <a:lnTo>
                  <a:pt x="3199" y="1754"/>
                </a:lnTo>
                <a:lnTo>
                  <a:pt x="3293" y="1754"/>
                </a:lnTo>
                <a:lnTo>
                  <a:pt x="3302" y="1791"/>
                </a:lnTo>
                <a:lnTo>
                  <a:pt x="3313" y="1825"/>
                </a:lnTo>
                <a:lnTo>
                  <a:pt x="3328" y="1858"/>
                </a:lnTo>
                <a:lnTo>
                  <a:pt x="3346" y="1887"/>
                </a:lnTo>
                <a:lnTo>
                  <a:pt x="3356" y="1900"/>
                </a:lnTo>
                <a:lnTo>
                  <a:pt x="3369" y="1912"/>
                </a:lnTo>
                <a:lnTo>
                  <a:pt x="3381" y="1922"/>
                </a:lnTo>
                <a:lnTo>
                  <a:pt x="3396" y="1932"/>
                </a:lnTo>
                <a:lnTo>
                  <a:pt x="3412" y="1939"/>
                </a:lnTo>
                <a:lnTo>
                  <a:pt x="3430" y="1944"/>
                </a:lnTo>
                <a:lnTo>
                  <a:pt x="3450" y="1947"/>
                </a:lnTo>
                <a:lnTo>
                  <a:pt x="3472" y="1948"/>
                </a:lnTo>
                <a:lnTo>
                  <a:pt x="3594" y="1948"/>
                </a:lnTo>
                <a:lnTo>
                  <a:pt x="3594" y="1941"/>
                </a:lnTo>
                <a:lnTo>
                  <a:pt x="3586" y="1918"/>
                </a:lnTo>
                <a:lnTo>
                  <a:pt x="3572" y="1876"/>
                </a:lnTo>
                <a:lnTo>
                  <a:pt x="3554" y="1841"/>
                </a:lnTo>
                <a:lnTo>
                  <a:pt x="3529" y="1800"/>
                </a:lnTo>
                <a:lnTo>
                  <a:pt x="3499" y="1758"/>
                </a:lnTo>
                <a:lnTo>
                  <a:pt x="3469" y="1714"/>
                </a:lnTo>
                <a:lnTo>
                  <a:pt x="3412" y="1641"/>
                </a:lnTo>
                <a:lnTo>
                  <a:pt x="3383" y="1603"/>
                </a:lnTo>
                <a:lnTo>
                  <a:pt x="3353" y="1570"/>
                </a:lnTo>
                <a:lnTo>
                  <a:pt x="3324" y="1533"/>
                </a:lnTo>
                <a:lnTo>
                  <a:pt x="3288" y="1485"/>
                </a:lnTo>
                <a:lnTo>
                  <a:pt x="3254" y="1430"/>
                </a:lnTo>
                <a:lnTo>
                  <a:pt x="3238" y="1400"/>
                </a:lnTo>
                <a:lnTo>
                  <a:pt x="3224" y="1370"/>
                </a:lnTo>
                <a:lnTo>
                  <a:pt x="3212" y="1337"/>
                </a:lnTo>
                <a:lnTo>
                  <a:pt x="3203" y="1305"/>
                </a:lnTo>
                <a:lnTo>
                  <a:pt x="3197" y="1273"/>
                </a:lnTo>
                <a:lnTo>
                  <a:pt x="3195" y="1240"/>
                </a:lnTo>
                <a:lnTo>
                  <a:pt x="3198" y="1210"/>
                </a:lnTo>
                <a:close/>
                <a:moveTo>
                  <a:pt x="2404" y="1225"/>
                </a:moveTo>
                <a:lnTo>
                  <a:pt x="2406" y="1210"/>
                </a:lnTo>
                <a:lnTo>
                  <a:pt x="2413" y="1184"/>
                </a:lnTo>
                <a:lnTo>
                  <a:pt x="2422" y="1158"/>
                </a:lnTo>
                <a:lnTo>
                  <a:pt x="3099" y="1158"/>
                </a:lnTo>
                <a:lnTo>
                  <a:pt x="3099" y="1443"/>
                </a:lnTo>
                <a:lnTo>
                  <a:pt x="3010" y="1443"/>
                </a:lnTo>
                <a:lnTo>
                  <a:pt x="2996" y="1394"/>
                </a:lnTo>
                <a:lnTo>
                  <a:pt x="2978" y="1352"/>
                </a:lnTo>
                <a:lnTo>
                  <a:pt x="2968" y="1334"/>
                </a:lnTo>
                <a:lnTo>
                  <a:pt x="2958" y="1319"/>
                </a:lnTo>
                <a:lnTo>
                  <a:pt x="2945" y="1304"/>
                </a:lnTo>
                <a:lnTo>
                  <a:pt x="2933" y="1292"/>
                </a:lnTo>
                <a:lnTo>
                  <a:pt x="2920" y="1281"/>
                </a:lnTo>
                <a:lnTo>
                  <a:pt x="2906" y="1272"/>
                </a:lnTo>
                <a:lnTo>
                  <a:pt x="2890" y="1264"/>
                </a:lnTo>
                <a:lnTo>
                  <a:pt x="2875" y="1258"/>
                </a:lnTo>
                <a:lnTo>
                  <a:pt x="2839" y="1250"/>
                </a:lnTo>
                <a:lnTo>
                  <a:pt x="2800" y="1248"/>
                </a:lnTo>
                <a:lnTo>
                  <a:pt x="2717" y="1248"/>
                </a:lnTo>
                <a:lnTo>
                  <a:pt x="2717" y="1254"/>
                </a:lnTo>
                <a:lnTo>
                  <a:pt x="2725" y="1281"/>
                </a:lnTo>
                <a:lnTo>
                  <a:pt x="2737" y="1311"/>
                </a:lnTo>
                <a:lnTo>
                  <a:pt x="2756" y="1353"/>
                </a:lnTo>
                <a:lnTo>
                  <a:pt x="2783" y="1403"/>
                </a:lnTo>
                <a:lnTo>
                  <a:pt x="2820" y="1459"/>
                </a:lnTo>
                <a:lnTo>
                  <a:pt x="2844" y="1491"/>
                </a:lnTo>
                <a:lnTo>
                  <a:pt x="2870" y="1523"/>
                </a:lnTo>
                <a:lnTo>
                  <a:pt x="2900" y="1556"/>
                </a:lnTo>
                <a:lnTo>
                  <a:pt x="2932" y="1590"/>
                </a:lnTo>
                <a:lnTo>
                  <a:pt x="2957" y="1618"/>
                </a:lnTo>
                <a:lnTo>
                  <a:pt x="2986" y="1654"/>
                </a:lnTo>
                <a:lnTo>
                  <a:pt x="3016" y="1698"/>
                </a:lnTo>
                <a:lnTo>
                  <a:pt x="3046" y="1747"/>
                </a:lnTo>
                <a:lnTo>
                  <a:pt x="3073" y="1799"/>
                </a:lnTo>
                <a:lnTo>
                  <a:pt x="3095" y="1852"/>
                </a:lnTo>
                <a:lnTo>
                  <a:pt x="3103" y="1879"/>
                </a:lnTo>
                <a:lnTo>
                  <a:pt x="3109" y="1906"/>
                </a:lnTo>
                <a:lnTo>
                  <a:pt x="3113" y="1932"/>
                </a:lnTo>
                <a:lnTo>
                  <a:pt x="3114" y="1957"/>
                </a:lnTo>
                <a:lnTo>
                  <a:pt x="3113" y="1983"/>
                </a:lnTo>
                <a:lnTo>
                  <a:pt x="3108" y="2004"/>
                </a:lnTo>
                <a:lnTo>
                  <a:pt x="3101" y="2022"/>
                </a:lnTo>
                <a:lnTo>
                  <a:pt x="3090" y="2039"/>
                </a:lnTo>
                <a:lnTo>
                  <a:pt x="2408" y="2039"/>
                </a:lnTo>
                <a:lnTo>
                  <a:pt x="2408" y="1754"/>
                </a:lnTo>
                <a:lnTo>
                  <a:pt x="2500" y="1754"/>
                </a:lnTo>
                <a:lnTo>
                  <a:pt x="2510" y="1791"/>
                </a:lnTo>
                <a:lnTo>
                  <a:pt x="2521" y="1825"/>
                </a:lnTo>
                <a:lnTo>
                  <a:pt x="2536" y="1858"/>
                </a:lnTo>
                <a:lnTo>
                  <a:pt x="2554" y="1887"/>
                </a:lnTo>
                <a:lnTo>
                  <a:pt x="2564" y="1900"/>
                </a:lnTo>
                <a:lnTo>
                  <a:pt x="2577" y="1912"/>
                </a:lnTo>
                <a:lnTo>
                  <a:pt x="2590" y="1922"/>
                </a:lnTo>
                <a:lnTo>
                  <a:pt x="2605" y="1932"/>
                </a:lnTo>
                <a:lnTo>
                  <a:pt x="2620" y="1939"/>
                </a:lnTo>
                <a:lnTo>
                  <a:pt x="2639" y="1944"/>
                </a:lnTo>
                <a:lnTo>
                  <a:pt x="2659" y="1947"/>
                </a:lnTo>
                <a:lnTo>
                  <a:pt x="2681" y="1948"/>
                </a:lnTo>
                <a:lnTo>
                  <a:pt x="2802" y="1948"/>
                </a:lnTo>
                <a:lnTo>
                  <a:pt x="2802" y="1941"/>
                </a:lnTo>
                <a:lnTo>
                  <a:pt x="2794" y="1918"/>
                </a:lnTo>
                <a:lnTo>
                  <a:pt x="2781" y="1876"/>
                </a:lnTo>
                <a:lnTo>
                  <a:pt x="2762" y="1841"/>
                </a:lnTo>
                <a:lnTo>
                  <a:pt x="2737" y="1800"/>
                </a:lnTo>
                <a:lnTo>
                  <a:pt x="2708" y="1758"/>
                </a:lnTo>
                <a:lnTo>
                  <a:pt x="2677" y="1714"/>
                </a:lnTo>
                <a:lnTo>
                  <a:pt x="2620" y="1641"/>
                </a:lnTo>
                <a:lnTo>
                  <a:pt x="2589" y="1603"/>
                </a:lnTo>
                <a:lnTo>
                  <a:pt x="2561" y="1570"/>
                </a:lnTo>
                <a:lnTo>
                  <a:pt x="2531" y="1533"/>
                </a:lnTo>
                <a:lnTo>
                  <a:pt x="2496" y="1485"/>
                </a:lnTo>
                <a:lnTo>
                  <a:pt x="2462" y="1430"/>
                </a:lnTo>
                <a:lnTo>
                  <a:pt x="2446" y="1400"/>
                </a:lnTo>
                <a:lnTo>
                  <a:pt x="2433" y="1370"/>
                </a:lnTo>
                <a:lnTo>
                  <a:pt x="2420" y="1337"/>
                </a:lnTo>
                <a:lnTo>
                  <a:pt x="2411" y="1305"/>
                </a:lnTo>
                <a:lnTo>
                  <a:pt x="2406" y="1273"/>
                </a:lnTo>
                <a:lnTo>
                  <a:pt x="2402" y="1240"/>
                </a:lnTo>
                <a:lnTo>
                  <a:pt x="2404" y="1225"/>
                </a:lnTo>
                <a:close/>
                <a:moveTo>
                  <a:pt x="1842" y="1948"/>
                </a:moveTo>
                <a:lnTo>
                  <a:pt x="1876" y="1948"/>
                </a:lnTo>
                <a:lnTo>
                  <a:pt x="1884" y="1947"/>
                </a:lnTo>
                <a:lnTo>
                  <a:pt x="1894" y="1943"/>
                </a:lnTo>
                <a:lnTo>
                  <a:pt x="1903" y="1937"/>
                </a:lnTo>
                <a:lnTo>
                  <a:pt x="1913" y="1930"/>
                </a:lnTo>
                <a:lnTo>
                  <a:pt x="1921" y="1920"/>
                </a:lnTo>
                <a:lnTo>
                  <a:pt x="1927" y="1911"/>
                </a:lnTo>
                <a:lnTo>
                  <a:pt x="1931" y="1901"/>
                </a:lnTo>
                <a:lnTo>
                  <a:pt x="1932" y="1892"/>
                </a:lnTo>
                <a:lnTo>
                  <a:pt x="1932" y="1308"/>
                </a:lnTo>
                <a:lnTo>
                  <a:pt x="1931" y="1299"/>
                </a:lnTo>
                <a:lnTo>
                  <a:pt x="1927" y="1289"/>
                </a:lnTo>
                <a:lnTo>
                  <a:pt x="1921" y="1280"/>
                </a:lnTo>
                <a:lnTo>
                  <a:pt x="1913" y="1271"/>
                </a:lnTo>
                <a:lnTo>
                  <a:pt x="1903" y="1262"/>
                </a:lnTo>
                <a:lnTo>
                  <a:pt x="1893" y="1255"/>
                </a:lnTo>
                <a:lnTo>
                  <a:pt x="1882" y="1251"/>
                </a:lnTo>
                <a:lnTo>
                  <a:pt x="1872" y="1250"/>
                </a:lnTo>
                <a:lnTo>
                  <a:pt x="1842" y="1250"/>
                </a:lnTo>
                <a:lnTo>
                  <a:pt x="1842" y="1158"/>
                </a:lnTo>
                <a:lnTo>
                  <a:pt x="2306" y="1158"/>
                </a:lnTo>
                <a:lnTo>
                  <a:pt x="2306" y="1250"/>
                </a:lnTo>
                <a:lnTo>
                  <a:pt x="2275" y="1250"/>
                </a:lnTo>
                <a:lnTo>
                  <a:pt x="2263" y="1252"/>
                </a:lnTo>
                <a:lnTo>
                  <a:pt x="2251" y="1257"/>
                </a:lnTo>
                <a:lnTo>
                  <a:pt x="2241" y="1265"/>
                </a:lnTo>
                <a:lnTo>
                  <a:pt x="2232" y="1276"/>
                </a:lnTo>
                <a:lnTo>
                  <a:pt x="2224" y="1287"/>
                </a:lnTo>
                <a:lnTo>
                  <a:pt x="2219" y="1299"/>
                </a:lnTo>
                <a:lnTo>
                  <a:pt x="2216" y="1309"/>
                </a:lnTo>
                <a:lnTo>
                  <a:pt x="2214" y="1319"/>
                </a:lnTo>
                <a:lnTo>
                  <a:pt x="2214" y="1881"/>
                </a:lnTo>
                <a:lnTo>
                  <a:pt x="2215" y="1890"/>
                </a:lnTo>
                <a:lnTo>
                  <a:pt x="2219" y="1900"/>
                </a:lnTo>
                <a:lnTo>
                  <a:pt x="2224" y="1912"/>
                </a:lnTo>
                <a:lnTo>
                  <a:pt x="2230" y="1923"/>
                </a:lnTo>
                <a:lnTo>
                  <a:pt x="2239" y="1933"/>
                </a:lnTo>
                <a:lnTo>
                  <a:pt x="2249" y="1941"/>
                </a:lnTo>
                <a:lnTo>
                  <a:pt x="2260" y="1946"/>
                </a:lnTo>
                <a:lnTo>
                  <a:pt x="2271" y="1948"/>
                </a:lnTo>
                <a:lnTo>
                  <a:pt x="2306" y="1948"/>
                </a:lnTo>
                <a:lnTo>
                  <a:pt x="2306" y="2039"/>
                </a:lnTo>
                <a:lnTo>
                  <a:pt x="1842" y="2039"/>
                </a:lnTo>
                <a:lnTo>
                  <a:pt x="1842" y="1948"/>
                </a:lnTo>
                <a:close/>
                <a:moveTo>
                  <a:pt x="995" y="1946"/>
                </a:moveTo>
                <a:lnTo>
                  <a:pt x="1030" y="1946"/>
                </a:lnTo>
                <a:lnTo>
                  <a:pt x="1038" y="1944"/>
                </a:lnTo>
                <a:lnTo>
                  <a:pt x="1047" y="1941"/>
                </a:lnTo>
                <a:lnTo>
                  <a:pt x="1057" y="1935"/>
                </a:lnTo>
                <a:lnTo>
                  <a:pt x="1066" y="1927"/>
                </a:lnTo>
                <a:lnTo>
                  <a:pt x="1075" y="1918"/>
                </a:lnTo>
                <a:lnTo>
                  <a:pt x="1081" y="1909"/>
                </a:lnTo>
                <a:lnTo>
                  <a:pt x="1085" y="1899"/>
                </a:lnTo>
                <a:lnTo>
                  <a:pt x="1086" y="1889"/>
                </a:lnTo>
                <a:lnTo>
                  <a:pt x="1086" y="1308"/>
                </a:lnTo>
                <a:lnTo>
                  <a:pt x="1085" y="1299"/>
                </a:lnTo>
                <a:lnTo>
                  <a:pt x="1081" y="1289"/>
                </a:lnTo>
                <a:lnTo>
                  <a:pt x="1075" y="1280"/>
                </a:lnTo>
                <a:lnTo>
                  <a:pt x="1066" y="1271"/>
                </a:lnTo>
                <a:lnTo>
                  <a:pt x="1057" y="1262"/>
                </a:lnTo>
                <a:lnTo>
                  <a:pt x="1046" y="1256"/>
                </a:lnTo>
                <a:lnTo>
                  <a:pt x="1036" y="1251"/>
                </a:lnTo>
                <a:lnTo>
                  <a:pt x="1026" y="1250"/>
                </a:lnTo>
                <a:lnTo>
                  <a:pt x="995" y="1250"/>
                </a:lnTo>
                <a:lnTo>
                  <a:pt x="995" y="1158"/>
                </a:lnTo>
                <a:lnTo>
                  <a:pt x="1742" y="1158"/>
                </a:lnTo>
                <a:lnTo>
                  <a:pt x="1742" y="1443"/>
                </a:lnTo>
                <a:lnTo>
                  <a:pt x="1648" y="1443"/>
                </a:lnTo>
                <a:lnTo>
                  <a:pt x="1635" y="1397"/>
                </a:lnTo>
                <a:lnTo>
                  <a:pt x="1620" y="1356"/>
                </a:lnTo>
                <a:lnTo>
                  <a:pt x="1602" y="1323"/>
                </a:lnTo>
                <a:lnTo>
                  <a:pt x="1592" y="1308"/>
                </a:lnTo>
                <a:lnTo>
                  <a:pt x="1581" y="1296"/>
                </a:lnTo>
                <a:lnTo>
                  <a:pt x="1570" y="1284"/>
                </a:lnTo>
                <a:lnTo>
                  <a:pt x="1557" y="1275"/>
                </a:lnTo>
                <a:lnTo>
                  <a:pt x="1544" y="1267"/>
                </a:lnTo>
                <a:lnTo>
                  <a:pt x="1530" y="1259"/>
                </a:lnTo>
                <a:lnTo>
                  <a:pt x="1514" y="1254"/>
                </a:lnTo>
                <a:lnTo>
                  <a:pt x="1498" y="1251"/>
                </a:lnTo>
                <a:lnTo>
                  <a:pt x="1461" y="1248"/>
                </a:lnTo>
                <a:lnTo>
                  <a:pt x="1369" y="1248"/>
                </a:lnTo>
                <a:lnTo>
                  <a:pt x="1369" y="1553"/>
                </a:lnTo>
                <a:lnTo>
                  <a:pt x="1416" y="1553"/>
                </a:lnTo>
                <a:lnTo>
                  <a:pt x="1432" y="1548"/>
                </a:lnTo>
                <a:lnTo>
                  <a:pt x="1441" y="1542"/>
                </a:lnTo>
                <a:lnTo>
                  <a:pt x="1452" y="1533"/>
                </a:lnTo>
                <a:lnTo>
                  <a:pt x="1461" y="1524"/>
                </a:lnTo>
                <a:lnTo>
                  <a:pt x="1470" y="1513"/>
                </a:lnTo>
                <a:lnTo>
                  <a:pt x="1475" y="1500"/>
                </a:lnTo>
                <a:lnTo>
                  <a:pt x="1477" y="1485"/>
                </a:lnTo>
                <a:lnTo>
                  <a:pt x="1477" y="1445"/>
                </a:lnTo>
                <a:lnTo>
                  <a:pt x="1568" y="1445"/>
                </a:lnTo>
                <a:lnTo>
                  <a:pt x="1568" y="1752"/>
                </a:lnTo>
                <a:lnTo>
                  <a:pt x="1477" y="1752"/>
                </a:lnTo>
                <a:lnTo>
                  <a:pt x="1477" y="1714"/>
                </a:lnTo>
                <a:lnTo>
                  <a:pt x="1476" y="1704"/>
                </a:lnTo>
                <a:lnTo>
                  <a:pt x="1472" y="1693"/>
                </a:lnTo>
                <a:lnTo>
                  <a:pt x="1465" y="1681"/>
                </a:lnTo>
                <a:lnTo>
                  <a:pt x="1457" y="1671"/>
                </a:lnTo>
                <a:lnTo>
                  <a:pt x="1447" y="1661"/>
                </a:lnTo>
                <a:lnTo>
                  <a:pt x="1433" y="1652"/>
                </a:lnTo>
                <a:lnTo>
                  <a:pt x="1419" y="1646"/>
                </a:lnTo>
                <a:lnTo>
                  <a:pt x="1401" y="1644"/>
                </a:lnTo>
                <a:lnTo>
                  <a:pt x="1369" y="1644"/>
                </a:lnTo>
                <a:lnTo>
                  <a:pt x="1369" y="1948"/>
                </a:lnTo>
                <a:lnTo>
                  <a:pt x="1471" y="1948"/>
                </a:lnTo>
                <a:lnTo>
                  <a:pt x="1497" y="1946"/>
                </a:lnTo>
                <a:lnTo>
                  <a:pt x="1524" y="1939"/>
                </a:lnTo>
                <a:lnTo>
                  <a:pt x="1551" y="1925"/>
                </a:lnTo>
                <a:lnTo>
                  <a:pt x="1564" y="1917"/>
                </a:lnTo>
                <a:lnTo>
                  <a:pt x="1577" y="1907"/>
                </a:lnTo>
                <a:lnTo>
                  <a:pt x="1589" y="1894"/>
                </a:lnTo>
                <a:lnTo>
                  <a:pt x="1600" y="1881"/>
                </a:lnTo>
                <a:lnTo>
                  <a:pt x="1611" y="1865"/>
                </a:lnTo>
                <a:lnTo>
                  <a:pt x="1621" y="1847"/>
                </a:lnTo>
                <a:lnTo>
                  <a:pt x="1629" y="1827"/>
                </a:lnTo>
                <a:lnTo>
                  <a:pt x="1637" y="1805"/>
                </a:lnTo>
                <a:lnTo>
                  <a:pt x="1644" y="1781"/>
                </a:lnTo>
                <a:lnTo>
                  <a:pt x="1648" y="1754"/>
                </a:lnTo>
                <a:lnTo>
                  <a:pt x="1742" y="1754"/>
                </a:lnTo>
                <a:lnTo>
                  <a:pt x="1742" y="2039"/>
                </a:lnTo>
                <a:lnTo>
                  <a:pt x="995" y="2039"/>
                </a:lnTo>
                <a:lnTo>
                  <a:pt x="995" y="1946"/>
                </a:lnTo>
                <a:close/>
                <a:moveTo>
                  <a:pt x="173" y="1998"/>
                </a:moveTo>
                <a:lnTo>
                  <a:pt x="174" y="1983"/>
                </a:lnTo>
                <a:lnTo>
                  <a:pt x="180" y="1948"/>
                </a:lnTo>
                <a:lnTo>
                  <a:pt x="192" y="1901"/>
                </a:lnTo>
                <a:lnTo>
                  <a:pt x="201" y="1874"/>
                </a:lnTo>
                <a:lnTo>
                  <a:pt x="213" y="1846"/>
                </a:lnTo>
                <a:lnTo>
                  <a:pt x="235" y="1796"/>
                </a:lnTo>
                <a:lnTo>
                  <a:pt x="267" y="1734"/>
                </a:lnTo>
                <a:lnTo>
                  <a:pt x="287" y="1700"/>
                </a:lnTo>
                <a:lnTo>
                  <a:pt x="309" y="1667"/>
                </a:lnTo>
                <a:lnTo>
                  <a:pt x="334" y="1635"/>
                </a:lnTo>
                <a:lnTo>
                  <a:pt x="360" y="1605"/>
                </a:lnTo>
                <a:lnTo>
                  <a:pt x="392" y="1572"/>
                </a:lnTo>
                <a:lnTo>
                  <a:pt x="420" y="1540"/>
                </a:lnTo>
                <a:lnTo>
                  <a:pt x="469" y="1477"/>
                </a:lnTo>
                <a:lnTo>
                  <a:pt x="508" y="1420"/>
                </a:lnTo>
                <a:lnTo>
                  <a:pt x="538" y="1368"/>
                </a:lnTo>
                <a:lnTo>
                  <a:pt x="559" y="1324"/>
                </a:lnTo>
                <a:lnTo>
                  <a:pt x="574" y="1289"/>
                </a:lnTo>
                <a:lnTo>
                  <a:pt x="588" y="1254"/>
                </a:lnTo>
                <a:lnTo>
                  <a:pt x="588" y="1248"/>
                </a:lnTo>
                <a:lnTo>
                  <a:pt x="506" y="1248"/>
                </a:lnTo>
                <a:lnTo>
                  <a:pt x="472" y="1250"/>
                </a:lnTo>
                <a:lnTo>
                  <a:pt x="443" y="1255"/>
                </a:lnTo>
                <a:lnTo>
                  <a:pt x="418" y="1264"/>
                </a:lnTo>
                <a:lnTo>
                  <a:pt x="395" y="1276"/>
                </a:lnTo>
                <a:lnTo>
                  <a:pt x="375" y="1289"/>
                </a:lnTo>
                <a:lnTo>
                  <a:pt x="359" y="1305"/>
                </a:lnTo>
                <a:lnTo>
                  <a:pt x="344" y="1322"/>
                </a:lnTo>
                <a:lnTo>
                  <a:pt x="332" y="1340"/>
                </a:lnTo>
                <a:lnTo>
                  <a:pt x="315" y="1374"/>
                </a:lnTo>
                <a:lnTo>
                  <a:pt x="303" y="1405"/>
                </a:lnTo>
                <a:lnTo>
                  <a:pt x="295" y="1443"/>
                </a:lnTo>
                <a:lnTo>
                  <a:pt x="206" y="1443"/>
                </a:lnTo>
                <a:lnTo>
                  <a:pt x="206" y="1158"/>
                </a:lnTo>
                <a:lnTo>
                  <a:pt x="913" y="1158"/>
                </a:lnTo>
                <a:lnTo>
                  <a:pt x="913" y="1182"/>
                </a:lnTo>
                <a:lnTo>
                  <a:pt x="912" y="1195"/>
                </a:lnTo>
                <a:lnTo>
                  <a:pt x="907" y="1226"/>
                </a:lnTo>
                <a:lnTo>
                  <a:pt x="897" y="1271"/>
                </a:lnTo>
                <a:lnTo>
                  <a:pt x="881" y="1325"/>
                </a:lnTo>
                <a:lnTo>
                  <a:pt x="859" y="1379"/>
                </a:lnTo>
                <a:lnTo>
                  <a:pt x="835" y="1428"/>
                </a:lnTo>
                <a:lnTo>
                  <a:pt x="810" y="1474"/>
                </a:lnTo>
                <a:lnTo>
                  <a:pt x="784" y="1516"/>
                </a:lnTo>
                <a:lnTo>
                  <a:pt x="757" y="1554"/>
                </a:lnTo>
                <a:lnTo>
                  <a:pt x="730" y="1590"/>
                </a:lnTo>
                <a:lnTo>
                  <a:pt x="673" y="1658"/>
                </a:lnTo>
                <a:lnTo>
                  <a:pt x="620" y="1723"/>
                </a:lnTo>
                <a:lnTo>
                  <a:pt x="596" y="1756"/>
                </a:lnTo>
                <a:lnTo>
                  <a:pt x="572" y="1790"/>
                </a:lnTo>
                <a:lnTo>
                  <a:pt x="551" y="1825"/>
                </a:lnTo>
                <a:lnTo>
                  <a:pt x="533" y="1864"/>
                </a:lnTo>
                <a:lnTo>
                  <a:pt x="516" y="1904"/>
                </a:lnTo>
                <a:lnTo>
                  <a:pt x="503" y="1948"/>
                </a:lnTo>
                <a:lnTo>
                  <a:pt x="624" y="1948"/>
                </a:lnTo>
                <a:lnTo>
                  <a:pt x="651" y="1946"/>
                </a:lnTo>
                <a:lnTo>
                  <a:pt x="680" y="1939"/>
                </a:lnTo>
                <a:lnTo>
                  <a:pt x="707" y="1925"/>
                </a:lnTo>
                <a:lnTo>
                  <a:pt x="720" y="1917"/>
                </a:lnTo>
                <a:lnTo>
                  <a:pt x="733" y="1907"/>
                </a:lnTo>
                <a:lnTo>
                  <a:pt x="744" y="1894"/>
                </a:lnTo>
                <a:lnTo>
                  <a:pt x="756" y="1881"/>
                </a:lnTo>
                <a:lnTo>
                  <a:pt x="767" y="1865"/>
                </a:lnTo>
                <a:lnTo>
                  <a:pt x="777" y="1847"/>
                </a:lnTo>
                <a:lnTo>
                  <a:pt x="786" y="1827"/>
                </a:lnTo>
                <a:lnTo>
                  <a:pt x="793" y="1805"/>
                </a:lnTo>
                <a:lnTo>
                  <a:pt x="799" y="1781"/>
                </a:lnTo>
                <a:lnTo>
                  <a:pt x="805" y="1754"/>
                </a:lnTo>
                <a:lnTo>
                  <a:pt x="897" y="1754"/>
                </a:lnTo>
                <a:lnTo>
                  <a:pt x="897" y="2039"/>
                </a:lnTo>
                <a:lnTo>
                  <a:pt x="173" y="2039"/>
                </a:lnTo>
                <a:lnTo>
                  <a:pt x="173" y="1998"/>
                </a:lnTo>
                <a:close/>
              </a:path>
            </a:pathLst>
          </a:custGeom>
          <a:solidFill>
            <a:srgbClr val="0000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sz="1600">
              <a:solidFill>
                <a:srgbClr val="000000"/>
              </a:solidFill>
            </a:endParaRPr>
          </a:p>
        </p:txBody>
      </p:sp>
      <p:sp>
        <p:nvSpPr>
          <p:cNvPr id="3" name="Text Placeholder 2"/>
          <p:cNvSpPr>
            <a:spLocks noGrp="1"/>
          </p:cNvSpPr>
          <p:nvPr>
            <p:ph type="body" sz="quarter" idx="10"/>
          </p:nvPr>
        </p:nvSpPr>
        <p:spPr>
          <a:xfrm>
            <a:off x="468000" y="5940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7" name="Text Placeholder 2"/>
          <p:cNvSpPr>
            <a:spLocks noGrp="1"/>
          </p:cNvSpPr>
          <p:nvPr>
            <p:ph type="body" sz="quarter" idx="11"/>
          </p:nvPr>
        </p:nvSpPr>
        <p:spPr>
          <a:xfrm>
            <a:off x="468000" y="6192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8" name="Text Placeholder 2"/>
          <p:cNvSpPr>
            <a:spLocks noGrp="1"/>
          </p:cNvSpPr>
          <p:nvPr>
            <p:ph type="body" sz="quarter" idx="12"/>
          </p:nvPr>
        </p:nvSpPr>
        <p:spPr>
          <a:xfrm>
            <a:off x="468000" y="6444000"/>
            <a:ext cx="3024682" cy="208952"/>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4" name="Title 3"/>
          <p:cNvSpPr>
            <a:spLocks noGrp="1"/>
          </p:cNvSpPr>
          <p:nvPr>
            <p:ph type="title"/>
          </p:nvPr>
        </p:nvSpPr>
        <p:spPr/>
        <p:txBody>
          <a:bodyPr/>
          <a:lstStyle/>
          <a:p>
            <a:r>
              <a:rPr lang="en-US"/>
              <a:t>Click to edit Master title style</a:t>
            </a:r>
          </a:p>
        </p:txBody>
      </p:sp>
      <p:pic>
        <p:nvPicPr>
          <p:cNvPr id="9" name="Bild 2" descr="13_DSC_0298_foleys_Präse2.jpg"/>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rcRect/>
          <a:stretch>
            <a:fillRect/>
          </a:stretch>
        </p:blipFill>
        <p:spPr bwMode="auto">
          <a:xfrm>
            <a:off x="0" y="1350963"/>
            <a:ext cx="9144000" cy="4351337"/>
          </a:xfrm>
          <a:prstGeom prst="rect">
            <a:avLst/>
          </a:prstGeom>
          <a:noFill/>
          <a:ln w="9525">
            <a:noFill/>
            <a:miter lim="800000"/>
            <a:headEnd/>
            <a:tailEnd/>
          </a:ln>
        </p:spPr>
      </p:pic>
      <p:sp>
        <p:nvSpPr>
          <p:cNvPr id="10" name="TextBox 9"/>
          <p:cNvSpPr txBox="1"/>
          <p:nvPr userDrawn="1"/>
        </p:nvSpPr>
        <p:spPr bwMode="gray">
          <a:xfrm>
            <a:off x="-865458" y="1773238"/>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1" name="TextBox 10"/>
          <p:cNvSpPr txBox="1"/>
          <p:nvPr userDrawn="1"/>
        </p:nvSpPr>
        <p:spPr bwMode="gray">
          <a:xfrm>
            <a:off x="-956829" y="1554163"/>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2" name="Straight Connector 11"/>
          <p:cNvCxnSpPr/>
          <p:nvPr userDrawn="1"/>
        </p:nvCxnSpPr>
        <p:spPr bwMode="gray">
          <a:xfrm flipH="1">
            <a:off x="-288540" y="17732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bwMode="gray">
          <a:xfrm flipH="1">
            <a:off x="-288540" y="15573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userDrawn="1"/>
        </p:nvSpPr>
        <p:spPr bwMode="gray">
          <a:xfrm>
            <a:off x="-865458" y="6093281"/>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5" name="TextBox 14"/>
          <p:cNvSpPr txBox="1"/>
          <p:nvPr userDrawn="1"/>
        </p:nvSpPr>
        <p:spPr bwMode="gray">
          <a:xfrm>
            <a:off x="-956829" y="6524625"/>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6" name="Straight Connector 15"/>
          <p:cNvCxnSpPr/>
          <p:nvPr userDrawn="1"/>
        </p:nvCxnSpPr>
        <p:spPr bwMode="gray">
          <a:xfrm flipH="1">
            <a:off x="-288540" y="6522107"/>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gray">
          <a:xfrm flipH="1">
            <a:off x="-288540" y="6308725"/>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nvGrpSpPr>
          <p:cNvPr id="18" name="Group 17"/>
          <p:cNvGrpSpPr/>
          <p:nvPr userDrawn="1"/>
        </p:nvGrpSpPr>
        <p:grpSpPr>
          <a:xfrm rot="5400000">
            <a:off x="-43126" y="-645663"/>
            <a:ext cx="807434" cy="215444"/>
            <a:chOff x="-1248737" y="516171"/>
            <a:chExt cx="807434" cy="215444"/>
          </a:xfrm>
        </p:grpSpPr>
        <p:sp>
          <p:nvSpPr>
            <p:cNvPr id="19" name="TextBox 18"/>
            <p:cNvSpPr txBox="1"/>
            <p:nvPr userDrawn="1"/>
          </p:nvSpPr>
          <p:spPr bwMode="gray">
            <a:xfrm>
              <a:off x="-1248737" y="516171"/>
              <a:ext cx="766557"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Lef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20" name="Straight Connector 19"/>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21" name="Group 20"/>
          <p:cNvGrpSpPr/>
          <p:nvPr userDrawn="1"/>
        </p:nvGrpSpPr>
        <p:grpSpPr>
          <a:xfrm rot="5400000">
            <a:off x="8185327" y="-625720"/>
            <a:ext cx="767548" cy="215444"/>
            <a:chOff x="-1285606" y="516176"/>
            <a:chExt cx="844303" cy="215444"/>
          </a:xfrm>
        </p:grpSpPr>
        <p:sp>
          <p:nvSpPr>
            <p:cNvPr id="22" name="TextBox 21"/>
            <p:cNvSpPr txBox="1"/>
            <p:nvPr userDrawn="1"/>
          </p:nvSpPr>
          <p:spPr bwMode="gray">
            <a:xfrm>
              <a:off x="-1285606" y="516176"/>
              <a:ext cx="840295"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Righ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23" name="Straight Connector 22"/>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79738332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lide - Service">
    <p:spTree>
      <p:nvGrpSpPr>
        <p:cNvPr id="1" name=""/>
        <p:cNvGrpSpPr/>
        <p:nvPr/>
      </p:nvGrpSpPr>
      <p:grpSpPr>
        <a:xfrm>
          <a:off x="0" y="0"/>
          <a:ext cx="0" cy="0"/>
          <a:chOff x="0" y="0"/>
          <a:chExt cx="0" cy="0"/>
        </a:xfrm>
      </p:grpSpPr>
      <p:sp>
        <p:nvSpPr>
          <p:cNvPr id="3251215" name="Freeform 15"/>
          <p:cNvSpPr>
            <a:spLocks noEditPoints="1"/>
          </p:cNvSpPr>
          <p:nvPr>
            <p:custDataLst>
              <p:tags r:id="rId2"/>
            </p:custDataLst>
          </p:nvPr>
        </p:nvSpPr>
        <p:spPr bwMode="auto">
          <a:xfrm>
            <a:off x="8216900" y="379414"/>
            <a:ext cx="463550" cy="488951"/>
          </a:xfrm>
          <a:custGeom>
            <a:avLst/>
            <a:gdLst>
              <a:gd name="T0" fmla="*/ 743 w 4092"/>
              <a:gd name="T1" fmla="*/ 3836 h 4104"/>
              <a:gd name="T2" fmla="*/ 1652 w 4092"/>
              <a:gd name="T3" fmla="*/ 3680 h 4104"/>
              <a:gd name="T4" fmla="*/ 2573 w 4092"/>
              <a:gd name="T5" fmla="*/ 3692 h 4104"/>
              <a:gd name="T6" fmla="*/ 3476 w 4092"/>
              <a:gd name="T7" fmla="*/ 3873 h 4104"/>
              <a:gd name="T8" fmla="*/ 0 w 4092"/>
              <a:gd name="T9" fmla="*/ 0 h 4104"/>
              <a:gd name="T10" fmla="*/ 3802 w 4092"/>
              <a:gd name="T11" fmla="*/ 1443 h 4104"/>
              <a:gd name="T12" fmla="*/ 3712 w 4092"/>
              <a:gd name="T13" fmla="*/ 1281 h 4104"/>
              <a:gd name="T14" fmla="*/ 3509 w 4092"/>
              <a:gd name="T15" fmla="*/ 1254 h 4104"/>
              <a:gd name="T16" fmla="*/ 3662 w 4092"/>
              <a:gd name="T17" fmla="*/ 1523 h 4104"/>
              <a:gd name="T18" fmla="*/ 3865 w 4092"/>
              <a:gd name="T19" fmla="*/ 1799 h 4104"/>
              <a:gd name="T20" fmla="*/ 3900 w 4092"/>
              <a:gd name="T21" fmla="*/ 2004 h 4104"/>
              <a:gd name="T22" fmla="*/ 3313 w 4092"/>
              <a:gd name="T23" fmla="*/ 1825 h 4104"/>
              <a:gd name="T24" fmla="*/ 3412 w 4092"/>
              <a:gd name="T25" fmla="*/ 1939 h 4104"/>
              <a:gd name="T26" fmla="*/ 3572 w 4092"/>
              <a:gd name="T27" fmla="*/ 1876 h 4104"/>
              <a:gd name="T28" fmla="*/ 3353 w 4092"/>
              <a:gd name="T29" fmla="*/ 1570 h 4104"/>
              <a:gd name="T30" fmla="*/ 3203 w 4092"/>
              <a:gd name="T31" fmla="*/ 1305 h 4104"/>
              <a:gd name="T32" fmla="*/ 2422 w 4092"/>
              <a:gd name="T33" fmla="*/ 1158 h 4104"/>
              <a:gd name="T34" fmla="*/ 2958 w 4092"/>
              <a:gd name="T35" fmla="*/ 1319 h 4104"/>
              <a:gd name="T36" fmla="*/ 2839 w 4092"/>
              <a:gd name="T37" fmla="*/ 1250 h 4104"/>
              <a:gd name="T38" fmla="*/ 2783 w 4092"/>
              <a:gd name="T39" fmla="*/ 1403 h 4104"/>
              <a:gd name="T40" fmla="*/ 2986 w 4092"/>
              <a:gd name="T41" fmla="*/ 1654 h 4104"/>
              <a:gd name="T42" fmla="*/ 3113 w 4092"/>
              <a:gd name="T43" fmla="*/ 1932 h 4104"/>
              <a:gd name="T44" fmla="*/ 2408 w 4092"/>
              <a:gd name="T45" fmla="*/ 1754 h 4104"/>
              <a:gd name="T46" fmla="*/ 2577 w 4092"/>
              <a:gd name="T47" fmla="*/ 1912 h 4104"/>
              <a:gd name="T48" fmla="*/ 2802 w 4092"/>
              <a:gd name="T49" fmla="*/ 1948 h 4104"/>
              <a:gd name="T50" fmla="*/ 2677 w 4092"/>
              <a:gd name="T51" fmla="*/ 1714 h 4104"/>
              <a:gd name="T52" fmla="*/ 2446 w 4092"/>
              <a:gd name="T53" fmla="*/ 1400 h 4104"/>
              <a:gd name="T54" fmla="*/ 1842 w 4092"/>
              <a:gd name="T55" fmla="*/ 1948 h 4104"/>
              <a:gd name="T56" fmla="*/ 1927 w 4092"/>
              <a:gd name="T57" fmla="*/ 1911 h 4104"/>
              <a:gd name="T58" fmla="*/ 1913 w 4092"/>
              <a:gd name="T59" fmla="*/ 1271 h 4104"/>
              <a:gd name="T60" fmla="*/ 2306 w 4092"/>
              <a:gd name="T61" fmla="*/ 1158 h 4104"/>
              <a:gd name="T62" fmla="*/ 2224 w 4092"/>
              <a:gd name="T63" fmla="*/ 1287 h 4104"/>
              <a:gd name="T64" fmla="*/ 2224 w 4092"/>
              <a:gd name="T65" fmla="*/ 1912 h 4104"/>
              <a:gd name="T66" fmla="*/ 2306 w 4092"/>
              <a:gd name="T67" fmla="*/ 2039 h 4104"/>
              <a:gd name="T68" fmla="*/ 1057 w 4092"/>
              <a:gd name="T69" fmla="*/ 1935 h 4104"/>
              <a:gd name="T70" fmla="*/ 1085 w 4092"/>
              <a:gd name="T71" fmla="*/ 1299 h 4104"/>
              <a:gd name="T72" fmla="*/ 1026 w 4092"/>
              <a:gd name="T73" fmla="*/ 1250 h 4104"/>
              <a:gd name="T74" fmla="*/ 1620 w 4092"/>
              <a:gd name="T75" fmla="*/ 1356 h 4104"/>
              <a:gd name="T76" fmla="*/ 1530 w 4092"/>
              <a:gd name="T77" fmla="*/ 1259 h 4104"/>
              <a:gd name="T78" fmla="*/ 1432 w 4092"/>
              <a:gd name="T79" fmla="*/ 1548 h 4104"/>
              <a:gd name="T80" fmla="*/ 1477 w 4092"/>
              <a:gd name="T81" fmla="*/ 1445 h 4104"/>
              <a:gd name="T82" fmla="*/ 1465 w 4092"/>
              <a:gd name="T83" fmla="*/ 1681 h 4104"/>
              <a:gd name="T84" fmla="*/ 1369 w 4092"/>
              <a:gd name="T85" fmla="*/ 1948 h 4104"/>
              <a:gd name="T86" fmla="*/ 1589 w 4092"/>
              <a:gd name="T87" fmla="*/ 1894 h 4104"/>
              <a:gd name="T88" fmla="*/ 1648 w 4092"/>
              <a:gd name="T89" fmla="*/ 1754 h 4104"/>
              <a:gd name="T90" fmla="*/ 180 w 4092"/>
              <a:gd name="T91" fmla="*/ 1948 h 4104"/>
              <a:gd name="T92" fmla="*/ 309 w 4092"/>
              <a:gd name="T93" fmla="*/ 1667 h 4104"/>
              <a:gd name="T94" fmla="*/ 538 w 4092"/>
              <a:gd name="T95" fmla="*/ 1368 h 4104"/>
              <a:gd name="T96" fmla="*/ 443 w 4092"/>
              <a:gd name="T97" fmla="*/ 1255 h 4104"/>
              <a:gd name="T98" fmla="*/ 315 w 4092"/>
              <a:gd name="T99" fmla="*/ 1374 h 4104"/>
              <a:gd name="T100" fmla="*/ 912 w 4092"/>
              <a:gd name="T101" fmla="*/ 1195 h 4104"/>
              <a:gd name="T102" fmla="*/ 784 w 4092"/>
              <a:gd name="T103" fmla="*/ 1516 h 4104"/>
              <a:gd name="T104" fmla="*/ 551 w 4092"/>
              <a:gd name="T105" fmla="*/ 1825 h 4104"/>
              <a:gd name="T106" fmla="*/ 707 w 4092"/>
              <a:gd name="T107" fmla="*/ 1925 h 4104"/>
              <a:gd name="T108" fmla="*/ 786 w 4092"/>
              <a:gd name="T109" fmla="*/ 1827 h 4104"/>
              <a:gd name="T110" fmla="*/ 173 w 4092"/>
              <a:gd name="T111" fmla="*/ 1998 h 4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92" h="4104">
                <a:moveTo>
                  <a:pt x="0" y="4104"/>
                </a:moveTo>
                <a:lnTo>
                  <a:pt x="121" y="4051"/>
                </a:lnTo>
                <a:lnTo>
                  <a:pt x="243" y="4001"/>
                </a:lnTo>
                <a:lnTo>
                  <a:pt x="366" y="3955"/>
                </a:lnTo>
                <a:lnTo>
                  <a:pt x="491" y="3912"/>
                </a:lnTo>
                <a:lnTo>
                  <a:pt x="617" y="3873"/>
                </a:lnTo>
                <a:lnTo>
                  <a:pt x="743" y="3836"/>
                </a:lnTo>
                <a:lnTo>
                  <a:pt x="871" y="3804"/>
                </a:lnTo>
                <a:lnTo>
                  <a:pt x="1000" y="3775"/>
                </a:lnTo>
                <a:lnTo>
                  <a:pt x="1129" y="3749"/>
                </a:lnTo>
                <a:lnTo>
                  <a:pt x="1259" y="3727"/>
                </a:lnTo>
                <a:lnTo>
                  <a:pt x="1389" y="3707"/>
                </a:lnTo>
                <a:lnTo>
                  <a:pt x="1521" y="3692"/>
                </a:lnTo>
                <a:lnTo>
                  <a:pt x="1652" y="3680"/>
                </a:lnTo>
                <a:lnTo>
                  <a:pt x="1783" y="3671"/>
                </a:lnTo>
                <a:lnTo>
                  <a:pt x="1915" y="3666"/>
                </a:lnTo>
                <a:lnTo>
                  <a:pt x="2047" y="3664"/>
                </a:lnTo>
                <a:lnTo>
                  <a:pt x="2178" y="3666"/>
                </a:lnTo>
                <a:lnTo>
                  <a:pt x="2311" y="3671"/>
                </a:lnTo>
                <a:lnTo>
                  <a:pt x="2442" y="3680"/>
                </a:lnTo>
                <a:lnTo>
                  <a:pt x="2573" y="3692"/>
                </a:lnTo>
                <a:lnTo>
                  <a:pt x="2704" y="3707"/>
                </a:lnTo>
                <a:lnTo>
                  <a:pt x="2835" y="3727"/>
                </a:lnTo>
                <a:lnTo>
                  <a:pt x="2964" y="3749"/>
                </a:lnTo>
                <a:lnTo>
                  <a:pt x="3093" y="3775"/>
                </a:lnTo>
                <a:lnTo>
                  <a:pt x="3222" y="3804"/>
                </a:lnTo>
                <a:lnTo>
                  <a:pt x="3350" y="3836"/>
                </a:lnTo>
                <a:lnTo>
                  <a:pt x="3476" y="3873"/>
                </a:lnTo>
                <a:lnTo>
                  <a:pt x="3602" y="3912"/>
                </a:lnTo>
                <a:lnTo>
                  <a:pt x="3726" y="3955"/>
                </a:lnTo>
                <a:lnTo>
                  <a:pt x="3850" y="4001"/>
                </a:lnTo>
                <a:lnTo>
                  <a:pt x="3972" y="4051"/>
                </a:lnTo>
                <a:lnTo>
                  <a:pt x="4092" y="4104"/>
                </a:lnTo>
                <a:lnTo>
                  <a:pt x="4092" y="0"/>
                </a:lnTo>
                <a:lnTo>
                  <a:pt x="0" y="0"/>
                </a:lnTo>
                <a:lnTo>
                  <a:pt x="0" y="4104"/>
                </a:lnTo>
                <a:close/>
                <a:moveTo>
                  <a:pt x="3198" y="1210"/>
                </a:moveTo>
                <a:lnTo>
                  <a:pt x="3205" y="1184"/>
                </a:lnTo>
                <a:lnTo>
                  <a:pt x="3214" y="1158"/>
                </a:lnTo>
                <a:lnTo>
                  <a:pt x="3891" y="1158"/>
                </a:lnTo>
                <a:lnTo>
                  <a:pt x="3891" y="1443"/>
                </a:lnTo>
                <a:lnTo>
                  <a:pt x="3802" y="1443"/>
                </a:lnTo>
                <a:lnTo>
                  <a:pt x="3788" y="1394"/>
                </a:lnTo>
                <a:lnTo>
                  <a:pt x="3770" y="1352"/>
                </a:lnTo>
                <a:lnTo>
                  <a:pt x="3761" y="1334"/>
                </a:lnTo>
                <a:lnTo>
                  <a:pt x="3749" y="1319"/>
                </a:lnTo>
                <a:lnTo>
                  <a:pt x="3738" y="1304"/>
                </a:lnTo>
                <a:lnTo>
                  <a:pt x="3725" y="1292"/>
                </a:lnTo>
                <a:lnTo>
                  <a:pt x="3712" y="1281"/>
                </a:lnTo>
                <a:lnTo>
                  <a:pt x="3698" y="1272"/>
                </a:lnTo>
                <a:lnTo>
                  <a:pt x="3682" y="1264"/>
                </a:lnTo>
                <a:lnTo>
                  <a:pt x="3667" y="1258"/>
                </a:lnTo>
                <a:lnTo>
                  <a:pt x="3631" y="1250"/>
                </a:lnTo>
                <a:lnTo>
                  <a:pt x="3592" y="1248"/>
                </a:lnTo>
                <a:lnTo>
                  <a:pt x="3509" y="1248"/>
                </a:lnTo>
                <a:lnTo>
                  <a:pt x="3509" y="1254"/>
                </a:lnTo>
                <a:lnTo>
                  <a:pt x="3517" y="1281"/>
                </a:lnTo>
                <a:lnTo>
                  <a:pt x="3528" y="1311"/>
                </a:lnTo>
                <a:lnTo>
                  <a:pt x="3548" y="1353"/>
                </a:lnTo>
                <a:lnTo>
                  <a:pt x="3575" y="1403"/>
                </a:lnTo>
                <a:lnTo>
                  <a:pt x="3613" y="1459"/>
                </a:lnTo>
                <a:lnTo>
                  <a:pt x="3635" y="1491"/>
                </a:lnTo>
                <a:lnTo>
                  <a:pt x="3662" y="1523"/>
                </a:lnTo>
                <a:lnTo>
                  <a:pt x="3691" y="1556"/>
                </a:lnTo>
                <a:lnTo>
                  <a:pt x="3724" y="1590"/>
                </a:lnTo>
                <a:lnTo>
                  <a:pt x="3749" y="1618"/>
                </a:lnTo>
                <a:lnTo>
                  <a:pt x="3778" y="1654"/>
                </a:lnTo>
                <a:lnTo>
                  <a:pt x="3808" y="1698"/>
                </a:lnTo>
                <a:lnTo>
                  <a:pt x="3838" y="1747"/>
                </a:lnTo>
                <a:lnTo>
                  <a:pt x="3865" y="1799"/>
                </a:lnTo>
                <a:lnTo>
                  <a:pt x="3887" y="1852"/>
                </a:lnTo>
                <a:lnTo>
                  <a:pt x="3895" y="1879"/>
                </a:lnTo>
                <a:lnTo>
                  <a:pt x="3901" y="1906"/>
                </a:lnTo>
                <a:lnTo>
                  <a:pt x="3904" y="1932"/>
                </a:lnTo>
                <a:lnTo>
                  <a:pt x="3906" y="1957"/>
                </a:lnTo>
                <a:lnTo>
                  <a:pt x="3905" y="1983"/>
                </a:lnTo>
                <a:lnTo>
                  <a:pt x="3900" y="2004"/>
                </a:lnTo>
                <a:lnTo>
                  <a:pt x="3893" y="2022"/>
                </a:lnTo>
                <a:lnTo>
                  <a:pt x="3883" y="2039"/>
                </a:lnTo>
                <a:lnTo>
                  <a:pt x="3199" y="2039"/>
                </a:lnTo>
                <a:lnTo>
                  <a:pt x="3199" y="1754"/>
                </a:lnTo>
                <a:lnTo>
                  <a:pt x="3293" y="1754"/>
                </a:lnTo>
                <a:lnTo>
                  <a:pt x="3302" y="1791"/>
                </a:lnTo>
                <a:lnTo>
                  <a:pt x="3313" y="1825"/>
                </a:lnTo>
                <a:lnTo>
                  <a:pt x="3328" y="1858"/>
                </a:lnTo>
                <a:lnTo>
                  <a:pt x="3346" y="1887"/>
                </a:lnTo>
                <a:lnTo>
                  <a:pt x="3356" y="1900"/>
                </a:lnTo>
                <a:lnTo>
                  <a:pt x="3369" y="1912"/>
                </a:lnTo>
                <a:lnTo>
                  <a:pt x="3381" y="1922"/>
                </a:lnTo>
                <a:lnTo>
                  <a:pt x="3396" y="1932"/>
                </a:lnTo>
                <a:lnTo>
                  <a:pt x="3412" y="1939"/>
                </a:lnTo>
                <a:lnTo>
                  <a:pt x="3430" y="1944"/>
                </a:lnTo>
                <a:lnTo>
                  <a:pt x="3450" y="1947"/>
                </a:lnTo>
                <a:lnTo>
                  <a:pt x="3472" y="1948"/>
                </a:lnTo>
                <a:lnTo>
                  <a:pt x="3594" y="1948"/>
                </a:lnTo>
                <a:lnTo>
                  <a:pt x="3594" y="1941"/>
                </a:lnTo>
                <a:lnTo>
                  <a:pt x="3586" y="1918"/>
                </a:lnTo>
                <a:lnTo>
                  <a:pt x="3572" y="1876"/>
                </a:lnTo>
                <a:lnTo>
                  <a:pt x="3554" y="1841"/>
                </a:lnTo>
                <a:lnTo>
                  <a:pt x="3529" y="1800"/>
                </a:lnTo>
                <a:lnTo>
                  <a:pt x="3499" y="1758"/>
                </a:lnTo>
                <a:lnTo>
                  <a:pt x="3469" y="1714"/>
                </a:lnTo>
                <a:lnTo>
                  <a:pt x="3412" y="1641"/>
                </a:lnTo>
                <a:lnTo>
                  <a:pt x="3383" y="1603"/>
                </a:lnTo>
                <a:lnTo>
                  <a:pt x="3353" y="1570"/>
                </a:lnTo>
                <a:lnTo>
                  <a:pt x="3324" y="1533"/>
                </a:lnTo>
                <a:lnTo>
                  <a:pt x="3288" y="1485"/>
                </a:lnTo>
                <a:lnTo>
                  <a:pt x="3254" y="1430"/>
                </a:lnTo>
                <a:lnTo>
                  <a:pt x="3238" y="1400"/>
                </a:lnTo>
                <a:lnTo>
                  <a:pt x="3224" y="1370"/>
                </a:lnTo>
                <a:lnTo>
                  <a:pt x="3212" y="1337"/>
                </a:lnTo>
                <a:lnTo>
                  <a:pt x="3203" y="1305"/>
                </a:lnTo>
                <a:lnTo>
                  <a:pt x="3197" y="1273"/>
                </a:lnTo>
                <a:lnTo>
                  <a:pt x="3195" y="1240"/>
                </a:lnTo>
                <a:lnTo>
                  <a:pt x="3198" y="1210"/>
                </a:lnTo>
                <a:close/>
                <a:moveTo>
                  <a:pt x="2404" y="1225"/>
                </a:moveTo>
                <a:lnTo>
                  <a:pt x="2406" y="1210"/>
                </a:lnTo>
                <a:lnTo>
                  <a:pt x="2413" y="1184"/>
                </a:lnTo>
                <a:lnTo>
                  <a:pt x="2422" y="1158"/>
                </a:lnTo>
                <a:lnTo>
                  <a:pt x="3099" y="1158"/>
                </a:lnTo>
                <a:lnTo>
                  <a:pt x="3099" y="1443"/>
                </a:lnTo>
                <a:lnTo>
                  <a:pt x="3010" y="1443"/>
                </a:lnTo>
                <a:lnTo>
                  <a:pt x="2996" y="1394"/>
                </a:lnTo>
                <a:lnTo>
                  <a:pt x="2978" y="1352"/>
                </a:lnTo>
                <a:lnTo>
                  <a:pt x="2968" y="1334"/>
                </a:lnTo>
                <a:lnTo>
                  <a:pt x="2958" y="1319"/>
                </a:lnTo>
                <a:lnTo>
                  <a:pt x="2945" y="1304"/>
                </a:lnTo>
                <a:lnTo>
                  <a:pt x="2933" y="1292"/>
                </a:lnTo>
                <a:lnTo>
                  <a:pt x="2920" y="1281"/>
                </a:lnTo>
                <a:lnTo>
                  <a:pt x="2906" y="1272"/>
                </a:lnTo>
                <a:lnTo>
                  <a:pt x="2890" y="1264"/>
                </a:lnTo>
                <a:lnTo>
                  <a:pt x="2875" y="1258"/>
                </a:lnTo>
                <a:lnTo>
                  <a:pt x="2839" y="1250"/>
                </a:lnTo>
                <a:lnTo>
                  <a:pt x="2800" y="1248"/>
                </a:lnTo>
                <a:lnTo>
                  <a:pt x="2717" y="1248"/>
                </a:lnTo>
                <a:lnTo>
                  <a:pt x="2717" y="1254"/>
                </a:lnTo>
                <a:lnTo>
                  <a:pt x="2725" y="1281"/>
                </a:lnTo>
                <a:lnTo>
                  <a:pt x="2737" y="1311"/>
                </a:lnTo>
                <a:lnTo>
                  <a:pt x="2756" y="1353"/>
                </a:lnTo>
                <a:lnTo>
                  <a:pt x="2783" y="1403"/>
                </a:lnTo>
                <a:lnTo>
                  <a:pt x="2820" y="1459"/>
                </a:lnTo>
                <a:lnTo>
                  <a:pt x="2844" y="1491"/>
                </a:lnTo>
                <a:lnTo>
                  <a:pt x="2870" y="1523"/>
                </a:lnTo>
                <a:lnTo>
                  <a:pt x="2900" y="1556"/>
                </a:lnTo>
                <a:lnTo>
                  <a:pt x="2932" y="1590"/>
                </a:lnTo>
                <a:lnTo>
                  <a:pt x="2957" y="1618"/>
                </a:lnTo>
                <a:lnTo>
                  <a:pt x="2986" y="1654"/>
                </a:lnTo>
                <a:lnTo>
                  <a:pt x="3016" y="1698"/>
                </a:lnTo>
                <a:lnTo>
                  <a:pt x="3046" y="1747"/>
                </a:lnTo>
                <a:lnTo>
                  <a:pt x="3073" y="1799"/>
                </a:lnTo>
                <a:lnTo>
                  <a:pt x="3095" y="1852"/>
                </a:lnTo>
                <a:lnTo>
                  <a:pt x="3103" y="1879"/>
                </a:lnTo>
                <a:lnTo>
                  <a:pt x="3109" y="1906"/>
                </a:lnTo>
                <a:lnTo>
                  <a:pt x="3113" y="1932"/>
                </a:lnTo>
                <a:lnTo>
                  <a:pt x="3114" y="1957"/>
                </a:lnTo>
                <a:lnTo>
                  <a:pt x="3113" y="1983"/>
                </a:lnTo>
                <a:lnTo>
                  <a:pt x="3108" y="2004"/>
                </a:lnTo>
                <a:lnTo>
                  <a:pt x="3101" y="2022"/>
                </a:lnTo>
                <a:lnTo>
                  <a:pt x="3090" y="2039"/>
                </a:lnTo>
                <a:lnTo>
                  <a:pt x="2408" y="2039"/>
                </a:lnTo>
                <a:lnTo>
                  <a:pt x="2408" y="1754"/>
                </a:lnTo>
                <a:lnTo>
                  <a:pt x="2500" y="1754"/>
                </a:lnTo>
                <a:lnTo>
                  <a:pt x="2510" y="1791"/>
                </a:lnTo>
                <a:lnTo>
                  <a:pt x="2521" y="1825"/>
                </a:lnTo>
                <a:lnTo>
                  <a:pt x="2536" y="1858"/>
                </a:lnTo>
                <a:lnTo>
                  <a:pt x="2554" y="1887"/>
                </a:lnTo>
                <a:lnTo>
                  <a:pt x="2564" y="1900"/>
                </a:lnTo>
                <a:lnTo>
                  <a:pt x="2577" y="1912"/>
                </a:lnTo>
                <a:lnTo>
                  <a:pt x="2590" y="1922"/>
                </a:lnTo>
                <a:lnTo>
                  <a:pt x="2605" y="1932"/>
                </a:lnTo>
                <a:lnTo>
                  <a:pt x="2620" y="1939"/>
                </a:lnTo>
                <a:lnTo>
                  <a:pt x="2639" y="1944"/>
                </a:lnTo>
                <a:lnTo>
                  <a:pt x="2659" y="1947"/>
                </a:lnTo>
                <a:lnTo>
                  <a:pt x="2681" y="1948"/>
                </a:lnTo>
                <a:lnTo>
                  <a:pt x="2802" y="1948"/>
                </a:lnTo>
                <a:lnTo>
                  <a:pt x="2802" y="1941"/>
                </a:lnTo>
                <a:lnTo>
                  <a:pt x="2794" y="1918"/>
                </a:lnTo>
                <a:lnTo>
                  <a:pt x="2781" y="1876"/>
                </a:lnTo>
                <a:lnTo>
                  <a:pt x="2762" y="1841"/>
                </a:lnTo>
                <a:lnTo>
                  <a:pt x="2737" y="1800"/>
                </a:lnTo>
                <a:lnTo>
                  <a:pt x="2708" y="1758"/>
                </a:lnTo>
                <a:lnTo>
                  <a:pt x="2677" y="1714"/>
                </a:lnTo>
                <a:lnTo>
                  <a:pt x="2620" y="1641"/>
                </a:lnTo>
                <a:lnTo>
                  <a:pt x="2589" y="1603"/>
                </a:lnTo>
                <a:lnTo>
                  <a:pt x="2561" y="1570"/>
                </a:lnTo>
                <a:lnTo>
                  <a:pt x="2531" y="1533"/>
                </a:lnTo>
                <a:lnTo>
                  <a:pt x="2496" y="1485"/>
                </a:lnTo>
                <a:lnTo>
                  <a:pt x="2462" y="1430"/>
                </a:lnTo>
                <a:lnTo>
                  <a:pt x="2446" y="1400"/>
                </a:lnTo>
                <a:lnTo>
                  <a:pt x="2433" y="1370"/>
                </a:lnTo>
                <a:lnTo>
                  <a:pt x="2420" y="1337"/>
                </a:lnTo>
                <a:lnTo>
                  <a:pt x="2411" y="1305"/>
                </a:lnTo>
                <a:lnTo>
                  <a:pt x="2406" y="1273"/>
                </a:lnTo>
                <a:lnTo>
                  <a:pt x="2402" y="1240"/>
                </a:lnTo>
                <a:lnTo>
                  <a:pt x="2404" y="1225"/>
                </a:lnTo>
                <a:close/>
                <a:moveTo>
                  <a:pt x="1842" y="1948"/>
                </a:moveTo>
                <a:lnTo>
                  <a:pt x="1876" y="1948"/>
                </a:lnTo>
                <a:lnTo>
                  <a:pt x="1884" y="1947"/>
                </a:lnTo>
                <a:lnTo>
                  <a:pt x="1894" y="1943"/>
                </a:lnTo>
                <a:lnTo>
                  <a:pt x="1903" y="1937"/>
                </a:lnTo>
                <a:lnTo>
                  <a:pt x="1913" y="1930"/>
                </a:lnTo>
                <a:lnTo>
                  <a:pt x="1921" y="1920"/>
                </a:lnTo>
                <a:lnTo>
                  <a:pt x="1927" y="1911"/>
                </a:lnTo>
                <a:lnTo>
                  <a:pt x="1931" y="1901"/>
                </a:lnTo>
                <a:lnTo>
                  <a:pt x="1932" y="1892"/>
                </a:lnTo>
                <a:lnTo>
                  <a:pt x="1932" y="1308"/>
                </a:lnTo>
                <a:lnTo>
                  <a:pt x="1931" y="1299"/>
                </a:lnTo>
                <a:lnTo>
                  <a:pt x="1927" y="1289"/>
                </a:lnTo>
                <a:lnTo>
                  <a:pt x="1921" y="1280"/>
                </a:lnTo>
                <a:lnTo>
                  <a:pt x="1913" y="1271"/>
                </a:lnTo>
                <a:lnTo>
                  <a:pt x="1903" y="1262"/>
                </a:lnTo>
                <a:lnTo>
                  <a:pt x="1893" y="1255"/>
                </a:lnTo>
                <a:lnTo>
                  <a:pt x="1882" y="1251"/>
                </a:lnTo>
                <a:lnTo>
                  <a:pt x="1872" y="1250"/>
                </a:lnTo>
                <a:lnTo>
                  <a:pt x="1842" y="1250"/>
                </a:lnTo>
                <a:lnTo>
                  <a:pt x="1842" y="1158"/>
                </a:lnTo>
                <a:lnTo>
                  <a:pt x="2306" y="1158"/>
                </a:lnTo>
                <a:lnTo>
                  <a:pt x="2306" y="1250"/>
                </a:lnTo>
                <a:lnTo>
                  <a:pt x="2275" y="1250"/>
                </a:lnTo>
                <a:lnTo>
                  <a:pt x="2263" y="1252"/>
                </a:lnTo>
                <a:lnTo>
                  <a:pt x="2251" y="1257"/>
                </a:lnTo>
                <a:lnTo>
                  <a:pt x="2241" y="1265"/>
                </a:lnTo>
                <a:lnTo>
                  <a:pt x="2232" y="1276"/>
                </a:lnTo>
                <a:lnTo>
                  <a:pt x="2224" y="1287"/>
                </a:lnTo>
                <a:lnTo>
                  <a:pt x="2219" y="1299"/>
                </a:lnTo>
                <a:lnTo>
                  <a:pt x="2216" y="1309"/>
                </a:lnTo>
                <a:lnTo>
                  <a:pt x="2214" y="1319"/>
                </a:lnTo>
                <a:lnTo>
                  <a:pt x="2214" y="1881"/>
                </a:lnTo>
                <a:lnTo>
                  <a:pt x="2215" y="1890"/>
                </a:lnTo>
                <a:lnTo>
                  <a:pt x="2219" y="1900"/>
                </a:lnTo>
                <a:lnTo>
                  <a:pt x="2224" y="1912"/>
                </a:lnTo>
                <a:lnTo>
                  <a:pt x="2230" y="1923"/>
                </a:lnTo>
                <a:lnTo>
                  <a:pt x="2239" y="1933"/>
                </a:lnTo>
                <a:lnTo>
                  <a:pt x="2249" y="1941"/>
                </a:lnTo>
                <a:lnTo>
                  <a:pt x="2260" y="1946"/>
                </a:lnTo>
                <a:lnTo>
                  <a:pt x="2271" y="1948"/>
                </a:lnTo>
                <a:lnTo>
                  <a:pt x="2306" y="1948"/>
                </a:lnTo>
                <a:lnTo>
                  <a:pt x="2306" y="2039"/>
                </a:lnTo>
                <a:lnTo>
                  <a:pt x="1842" y="2039"/>
                </a:lnTo>
                <a:lnTo>
                  <a:pt x="1842" y="1948"/>
                </a:lnTo>
                <a:close/>
                <a:moveTo>
                  <a:pt x="995" y="1946"/>
                </a:moveTo>
                <a:lnTo>
                  <a:pt x="1030" y="1946"/>
                </a:lnTo>
                <a:lnTo>
                  <a:pt x="1038" y="1944"/>
                </a:lnTo>
                <a:lnTo>
                  <a:pt x="1047" y="1941"/>
                </a:lnTo>
                <a:lnTo>
                  <a:pt x="1057" y="1935"/>
                </a:lnTo>
                <a:lnTo>
                  <a:pt x="1066" y="1927"/>
                </a:lnTo>
                <a:lnTo>
                  <a:pt x="1075" y="1918"/>
                </a:lnTo>
                <a:lnTo>
                  <a:pt x="1081" y="1909"/>
                </a:lnTo>
                <a:lnTo>
                  <a:pt x="1085" y="1899"/>
                </a:lnTo>
                <a:lnTo>
                  <a:pt x="1086" y="1889"/>
                </a:lnTo>
                <a:lnTo>
                  <a:pt x="1086" y="1308"/>
                </a:lnTo>
                <a:lnTo>
                  <a:pt x="1085" y="1299"/>
                </a:lnTo>
                <a:lnTo>
                  <a:pt x="1081" y="1289"/>
                </a:lnTo>
                <a:lnTo>
                  <a:pt x="1075" y="1280"/>
                </a:lnTo>
                <a:lnTo>
                  <a:pt x="1066" y="1271"/>
                </a:lnTo>
                <a:lnTo>
                  <a:pt x="1057" y="1262"/>
                </a:lnTo>
                <a:lnTo>
                  <a:pt x="1046" y="1256"/>
                </a:lnTo>
                <a:lnTo>
                  <a:pt x="1036" y="1251"/>
                </a:lnTo>
                <a:lnTo>
                  <a:pt x="1026" y="1250"/>
                </a:lnTo>
                <a:lnTo>
                  <a:pt x="995" y="1250"/>
                </a:lnTo>
                <a:lnTo>
                  <a:pt x="995" y="1158"/>
                </a:lnTo>
                <a:lnTo>
                  <a:pt x="1742" y="1158"/>
                </a:lnTo>
                <a:lnTo>
                  <a:pt x="1742" y="1443"/>
                </a:lnTo>
                <a:lnTo>
                  <a:pt x="1648" y="1443"/>
                </a:lnTo>
                <a:lnTo>
                  <a:pt x="1635" y="1397"/>
                </a:lnTo>
                <a:lnTo>
                  <a:pt x="1620" y="1356"/>
                </a:lnTo>
                <a:lnTo>
                  <a:pt x="1602" y="1323"/>
                </a:lnTo>
                <a:lnTo>
                  <a:pt x="1592" y="1308"/>
                </a:lnTo>
                <a:lnTo>
                  <a:pt x="1581" y="1296"/>
                </a:lnTo>
                <a:lnTo>
                  <a:pt x="1570" y="1284"/>
                </a:lnTo>
                <a:lnTo>
                  <a:pt x="1557" y="1275"/>
                </a:lnTo>
                <a:lnTo>
                  <a:pt x="1544" y="1267"/>
                </a:lnTo>
                <a:lnTo>
                  <a:pt x="1530" y="1259"/>
                </a:lnTo>
                <a:lnTo>
                  <a:pt x="1514" y="1254"/>
                </a:lnTo>
                <a:lnTo>
                  <a:pt x="1498" y="1251"/>
                </a:lnTo>
                <a:lnTo>
                  <a:pt x="1461" y="1248"/>
                </a:lnTo>
                <a:lnTo>
                  <a:pt x="1369" y="1248"/>
                </a:lnTo>
                <a:lnTo>
                  <a:pt x="1369" y="1553"/>
                </a:lnTo>
                <a:lnTo>
                  <a:pt x="1416" y="1553"/>
                </a:lnTo>
                <a:lnTo>
                  <a:pt x="1432" y="1548"/>
                </a:lnTo>
                <a:lnTo>
                  <a:pt x="1441" y="1542"/>
                </a:lnTo>
                <a:lnTo>
                  <a:pt x="1452" y="1533"/>
                </a:lnTo>
                <a:lnTo>
                  <a:pt x="1461" y="1524"/>
                </a:lnTo>
                <a:lnTo>
                  <a:pt x="1470" y="1513"/>
                </a:lnTo>
                <a:lnTo>
                  <a:pt x="1475" y="1500"/>
                </a:lnTo>
                <a:lnTo>
                  <a:pt x="1477" y="1485"/>
                </a:lnTo>
                <a:lnTo>
                  <a:pt x="1477" y="1445"/>
                </a:lnTo>
                <a:lnTo>
                  <a:pt x="1568" y="1445"/>
                </a:lnTo>
                <a:lnTo>
                  <a:pt x="1568" y="1752"/>
                </a:lnTo>
                <a:lnTo>
                  <a:pt x="1477" y="1752"/>
                </a:lnTo>
                <a:lnTo>
                  <a:pt x="1477" y="1714"/>
                </a:lnTo>
                <a:lnTo>
                  <a:pt x="1476" y="1704"/>
                </a:lnTo>
                <a:lnTo>
                  <a:pt x="1472" y="1693"/>
                </a:lnTo>
                <a:lnTo>
                  <a:pt x="1465" y="1681"/>
                </a:lnTo>
                <a:lnTo>
                  <a:pt x="1457" y="1671"/>
                </a:lnTo>
                <a:lnTo>
                  <a:pt x="1447" y="1661"/>
                </a:lnTo>
                <a:lnTo>
                  <a:pt x="1433" y="1652"/>
                </a:lnTo>
                <a:lnTo>
                  <a:pt x="1419" y="1646"/>
                </a:lnTo>
                <a:lnTo>
                  <a:pt x="1401" y="1644"/>
                </a:lnTo>
                <a:lnTo>
                  <a:pt x="1369" y="1644"/>
                </a:lnTo>
                <a:lnTo>
                  <a:pt x="1369" y="1948"/>
                </a:lnTo>
                <a:lnTo>
                  <a:pt x="1471" y="1948"/>
                </a:lnTo>
                <a:lnTo>
                  <a:pt x="1497" y="1946"/>
                </a:lnTo>
                <a:lnTo>
                  <a:pt x="1524" y="1939"/>
                </a:lnTo>
                <a:lnTo>
                  <a:pt x="1551" y="1925"/>
                </a:lnTo>
                <a:lnTo>
                  <a:pt x="1564" y="1917"/>
                </a:lnTo>
                <a:lnTo>
                  <a:pt x="1577" y="1907"/>
                </a:lnTo>
                <a:lnTo>
                  <a:pt x="1589" y="1894"/>
                </a:lnTo>
                <a:lnTo>
                  <a:pt x="1600" y="1881"/>
                </a:lnTo>
                <a:lnTo>
                  <a:pt x="1611" y="1865"/>
                </a:lnTo>
                <a:lnTo>
                  <a:pt x="1621" y="1847"/>
                </a:lnTo>
                <a:lnTo>
                  <a:pt x="1629" y="1827"/>
                </a:lnTo>
                <a:lnTo>
                  <a:pt x="1637" y="1805"/>
                </a:lnTo>
                <a:lnTo>
                  <a:pt x="1644" y="1781"/>
                </a:lnTo>
                <a:lnTo>
                  <a:pt x="1648" y="1754"/>
                </a:lnTo>
                <a:lnTo>
                  <a:pt x="1742" y="1754"/>
                </a:lnTo>
                <a:lnTo>
                  <a:pt x="1742" y="2039"/>
                </a:lnTo>
                <a:lnTo>
                  <a:pt x="995" y="2039"/>
                </a:lnTo>
                <a:lnTo>
                  <a:pt x="995" y="1946"/>
                </a:lnTo>
                <a:close/>
                <a:moveTo>
                  <a:pt x="173" y="1998"/>
                </a:moveTo>
                <a:lnTo>
                  <a:pt x="174" y="1983"/>
                </a:lnTo>
                <a:lnTo>
                  <a:pt x="180" y="1948"/>
                </a:lnTo>
                <a:lnTo>
                  <a:pt x="192" y="1901"/>
                </a:lnTo>
                <a:lnTo>
                  <a:pt x="201" y="1874"/>
                </a:lnTo>
                <a:lnTo>
                  <a:pt x="213" y="1846"/>
                </a:lnTo>
                <a:lnTo>
                  <a:pt x="235" y="1796"/>
                </a:lnTo>
                <a:lnTo>
                  <a:pt x="267" y="1734"/>
                </a:lnTo>
                <a:lnTo>
                  <a:pt x="287" y="1700"/>
                </a:lnTo>
                <a:lnTo>
                  <a:pt x="309" y="1667"/>
                </a:lnTo>
                <a:lnTo>
                  <a:pt x="334" y="1635"/>
                </a:lnTo>
                <a:lnTo>
                  <a:pt x="360" y="1605"/>
                </a:lnTo>
                <a:lnTo>
                  <a:pt x="392" y="1572"/>
                </a:lnTo>
                <a:lnTo>
                  <a:pt x="420" y="1540"/>
                </a:lnTo>
                <a:lnTo>
                  <a:pt x="469" y="1477"/>
                </a:lnTo>
                <a:lnTo>
                  <a:pt x="508" y="1420"/>
                </a:lnTo>
                <a:lnTo>
                  <a:pt x="538" y="1368"/>
                </a:lnTo>
                <a:lnTo>
                  <a:pt x="559" y="1324"/>
                </a:lnTo>
                <a:lnTo>
                  <a:pt x="574" y="1289"/>
                </a:lnTo>
                <a:lnTo>
                  <a:pt x="588" y="1254"/>
                </a:lnTo>
                <a:lnTo>
                  <a:pt x="588" y="1248"/>
                </a:lnTo>
                <a:lnTo>
                  <a:pt x="506" y="1248"/>
                </a:lnTo>
                <a:lnTo>
                  <a:pt x="472" y="1250"/>
                </a:lnTo>
                <a:lnTo>
                  <a:pt x="443" y="1255"/>
                </a:lnTo>
                <a:lnTo>
                  <a:pt x="418" y="1264"/>
                </a:lnTo>
                <a:lnTo>
                  <a:pt x="395" y="1276"/>
                </a:lnTo>
                <a:lnTo>
                  <a:pt x="375" y="1289"/>
                </a:lnTo>
                <a:lnTo>
                  <a:pt x="359" y="1305"/>
                </a:lnTo>
                <a:lnTo>
                  <a:pt x="344" y="1322"/>
                </a:lnTo>
                <a:lnTo>
                  <a:pt x="332" y="1340"/>
                </a:lnTo>
                <a:lnTo>
                  <a:pt x="315" y="1374"/>
                </a:lnTo>
                <a:lnTo>
                  <a:pt x="303" y="1405"/>
                </a:lnTo>
                <a:lnTo>
                  <a:pt x="295" y="1443"/>
                </a:lnTo>
                <a:lnTo>
                  <a:pt x="206" y="1443"/>
                </a:lnTo>
                <a:lnTo>
                  <a:pt x="206" y="1158"/>
                </a:lnTo>
                <a:lnTo>
                  <a:pt x="913" y="1158"/>
                </a:lnTo>
                <a:lnTo>
                  <a:pt x="913" y="1182"/>
                </a:lnTo>
                <a:lnTo>
                  <a:pt x="912" y="1195"/>
                </a:lnTo>
                <a:lnTo>
                  <a:pt x="907" y="1226"/>
                </a:lnTo>
                <a:lnTo>
                  <a:pt x="897" y="1271"/>
                </a:lnTo>
                <a:lnTo>
                  <a:pt x="881" y="1325"/>
                </a:lnTo>
                <a:lnTo>
                  <a:pt x="859" y="1379"/>
                </a:lnTo>
                <a:lnTo>
                  <a:pt x="835" y="1428"/>
                </a:lnTo>
                <a:lnTo>
                  <a:pt x="810" y="1474"/>
                </a:lnTo>
                <a:lnTo>
                  <a:pt x="784" y="1516"/>
                </a:lnTo>
                <a:lnTo>
                  <a:pt x="757" y="1554"/>
                </a:lnTo>
                <a:lnTo>
                  <a:pt x="730" y="1590"/>
                </a:lnTo>
                <a:lnTo>
                  <a:pt x="673" y="1658"/>
                </a:lnTo>
                <a:lnTo>
                  <a:pt x="620" y="1723"/>
                </a:lnTo>
                <a:lnTo>
                  <a:pt x="596" y="1756"/>
                </a:lnTo>
                <a:lnTo>
                  <a:pt x="572" y="1790"/>
                </a:lnTo>
                <a:lnTo>
                  <a:pt x="551" y="1825"/>
                </a:lnTo>
                <a:lnTo>
                  <a:pt x="533" y="1864"/>
                </a:lnTo>
                <a:lnTo>
                  <a:pt x="516" y="1904"/>
                </a:lnTo>
                <a:lnTo>
                  <a:pt x="503" y="1948"/>
                </a:lnTo>
                <a:lnTo>
                  <a:pt x="624" y="1948"/>
                </a:lnTo>
                <a:lnTo>
                  <a:pt x="651" y="1946"/>
                </a:lnTo>
                <a:lnTo>
                  <a:pt x="680" y="1939"/>
                </a:lnTo>
                <a:lnTo>
                  <a:pt x="707" y="1925"/>
                </a:lnTo>
                <a:lnTo>
                  <a:pt x="720" y="1917"/>
                </a:lnTo>
                <a:lnTo>
                  <a:pt x="733" y="1907"/>
                </a:lnTo>
                <a:lnTo>
                  <a:pt x="744" y="1894"/>
                </a:lnTo>
                <a:lnTo>
                  <a:pt x="756" y="1881"/>
                </a:lnTo>
                <a:lnTo>
                  <a:pt x="767" y="1865"/>
                </a:lnTo>
                <a:lnTo>
                  <a:pt x="777" y="1847"/>
                </a:lnTo>
                <a:lnTo>
                  <a:pt x="786" y="1827"/>
                </a:lnTo>
                <a:lnTo>
                  <a:pt x="793" y="1805"/>
                </a:lnTo>
                <a:lnTo>
                  <a:pt x="799" y="1781"/>
                </a:lnTo>
                <a:lnTo>
                  <a:pt x="805" y="1754"/>
                </a:lnTo>
                <a:lnTo>
                  <a:pt x="897" y="1754"/>
                </a:lnTo>
                <a:lnTo>
                  <a:pt x="897" y="2039"/>
                </a:lnTo>
                <a:lnTo>
                  <a:pt x="173" y="2039"/>
                </a:lnTo>
                <a:lnTo>
                  <a:pt x="173" y="1998"/>
                </a:lnTo>
                <a:close/>
              </a:path>
            </a:pathLst>
          </a:custGeom>
          <a:solidFill>
            <a:srgbClr val="0000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sz="1600">
              <a:solidFill>
                <a:srgbClr val="000000"/>
              </a:solidFill>
            </a:endParaRPr>
          </a:p>
        </p:txBody>
      </p:sp>
      <p:sp>
        <p:nvSpPr>
          <p:cNvPr id="3" name="Text Placeholder 2"/>
          <p:cNvSpPr>
            <a:spLocks noGrp="1"/>
          </p:cNvSpPr>
          <p:nvPr>
            <p:ph type="body" sz="quarter" idx="10"/>
          </p:nvPr>
        </p:nvSpPr>
        <p:spPr>
          <a:xfrm>
            <a:off x="468000" y="5940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7" name="Text Placeholder 2"/>
          <p:cNvSpPr>
            <a:spLocks noGrp="1"/>
          </p:cNvSpPr>
          <p:nvPr>
            <p:ph type="body" sz="quarter" idx="11"/>
          </p:nvPr>
        </p:nvSpPr>
        <p:spPr>
          <a:xfrm>
            <a:off x="468000" y="6192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8" name="Text Placeholder 2"/>
          <p:cNvSpPr>
            <a:spLocks noGrp="1"/>
          </p:cNvSpPr>
          <p:nvPr>
            <p:ph type="body" sz="quarter" idx="12"/>
          </p:nvPr>
        </p:nvSpPr>
        <p:spPr>
          <a:xfrm>
            <a:off x="468000" y="6444000"/>
            <a:ext cx="3024682" cy="208952"/>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4" name="Title 3"/>
          <p:cNvSpPr>
            <a:spLocks noGrp="1"/>
          </p:cNvSpPr>
          <p:nvPr>
            <p:ph type="title"/>
          </p:nvPr>
        </p:nvSpPr>
        <p:spPr/>
        <p:txBody>
          <a:bodyPr/>
          <a:lstStyle/>
          <a:p>
            <a:r>
              <a:rPr lang="en-US"/>
              <a:t>Click to edit Master title style</a:t>
            </a:r>
          </a:p>
        </p:txBody>
      </p:sp>
      <p:sp>
        <p:nvSpPr>
          <p:cNvPr id="10" name="TextBox 9"/>
          <p:cNvSpPr txBox="1"/>
          <p:nvPr userDrawn="1"/>
        </p:nvSpPr>
        <p:spPr bwMode="gray">
          <a:xfrm>
            <a:off x="-865458" y="1773238"/>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1" name="TextBox 10"/>
          <p:cNvSpPr txBox="1"/>
          <p:nvPr userDrawn="1"/>
        </p:nvSpPr>
        <p:spPr bwMode="gray">
          <a:xfrm>
            <a:off x="-956829" y="1554163"/>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2" name="Straight Connector 11"/>
          <p:cNvCxnSpPr/>
          <p:nvPr userDrawn="1"/>
        </p:nvCxnSpPr>
        <p:spPr bwMode="gray">
          <a:xfrm flipH="1">
            <a:off x="-288540" y="17732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bwMode="gray">
          <a:xfrm flipH="1">
            <a:off x="-288540" y="15573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userDrawn="1"/>
        </p:nvSpPr>
        <p:spPr bwMode="gray">
          <a:xfrm>
            <a:off x="-865458" y="6093281"/>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5" name="TextBox 14"/>
          <p:cNvSpPr txBox="1"/>
          <p:nvPr userDrawn="1"/>
        </p:nvSpPr>
        <p:spPr bwMode="gray">
          <a:xfrm>
            <a:off x="-956829" y="6524625"/>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6" name="Straight Connector 15"/>
          <p:cNvCxnSpPr/>
          <p:nvPr userDrawn="1"/>
        </p:nvCxnSpPr>
        <p:spPr bwMode="gray">
          <a:xfrm flipH="1">
            <a:off x="-288540" y="6522107"/>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gray">
          <a:xfrm flipH="1">
            <a:off x="-288540" y="6308725"/>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nvGrpSpPr>
          <p:cNvPr id="18" name="Group 17"/>
          <p:cNvGrpSpPr/>
          <p:nvPr userDrawn="1"/>
        </p:nvGrpSpPr>
        <p:grpSpPr>
          <a:xfrm rot="5400000">
            <a:off x="-43126" y="-645663"/>
            <a:ext cx="807434" cy="215444"/>
            <a:chOff x="-1248737" y="516171"/>
            <a:chExt cx="807434" cy="215444"/>
          </a:xfrm>
        </p:grpSpPr>
        <p:sp>
          <p:nvSpPr>
            <p:cNvPr id="19" name="TextBox 18"/>
            <p:cNvSpPr txBox="1"/>
            <p:nvPr userDrawn="1"/>
          </p:nvSpPr>
          <p:spPr bwMode="gray">
            <a:xfrm>
              <a:off x="-1248737" y="516171"/>
              <a:ext cx="766557"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Lef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20" name="Straight Connector 19"/>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21" name="Group 20"/>
          <p:cNvGrpSpPr/>
          <p:nvPr userDrawn="1"/>
        </p:nvGrpSpPr>
        <p:grpSpPr>
          <a:xfrm rot="5400000">
            <a:off x="8185327" y="-625720"/>
            <a:ext cx="767548" cy="215444"/>
            <a:chOff x="-1285606" y="516176"/>
            <a:chExt cx="844303" cy="215444"/>
          </a:xfrm>
        </p:grpSpPr>
        <p:sp>
          <p:nvSpPr>
            <p:cNvPr id="22" name="TextBox 21"/>
            <p:cNvSpPr txBox="1"/>
            <p:nvPr userDrawn="1"/>
          </p:nvSpPr>
          <p:spPr bwMode="gray">
            <a:xfrm>
              <a:off x="-1285606" y="516176"/>
              <a:ext cx="840295"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Righ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23" name="Straight Connector 22"/>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pic>
        <p:nvPicPr>
          <p:cNvPr id="24" name="Picture 55" descr="Bild1"/>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0" y="1350963"/>
            <a:ext cx="9140825" cy="4354512"/>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9062803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F765975-A351-42C2-A247-B41DB5844E41}" type="datetimeFigureOut">
              <a:rPr lang="en-US" smtClean="0">
                <a:solidFill>
                  <a:prstClr val="black">
                    <a:tint val="75000"/>
                  </a:prstClr>
                </a:solidFill>
              </a:rPr>
              <a:pPr/>
              <a:t>2/28/2019</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744027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Slide blank">
    <p:spTree>
      <p:nvGrpSpPr>
        <p:cNvPr id="1" name=""/>
        <p:cNvGrpSpPr/>
        <p:nvPr/>
      </p:nvGrpSpPr>
      <p:grpSpPr>
        <a:xfrm>
          <a:off x="0" y="0"/>
          <a:ext cx="0" cy="0"/>
          <a:chOff x="0" y="0"/>
          <a:chExt cx="0" cy="0"/>
        </a:xfrm>
      </p:grpSpPr>
      <p:sp>
        <p:nvSpPr>
          <p:cNvPr id="3251215" name="Freeform 15"/>
          <p:cNvSpPr>
            <a:spLocks noEditPoints="1"/>
          </p:cNvSpPr>
          <p:nvPr>
            <p:custDataLst>
              <p:tags r:id="rId2"/>
            </p:custDataLst>
          </p:nvPr>
        </p:nvSpPr>
        <p:spPr bwMode="auto">
          <a:xfrm>
            <a:off x="8216900" y="379414"/>
            <a:ext cx="463550" cy="488951"/>
          </a:xfrm>
          <a:custGeom>
            <a:avLst/>
            <a:gdLst>
              <a:gd name="T0" fmla="*/ 743 w 4092"/>
              <a:gd name="T1" fmla="*/ 3836 h 4104"/>
              <a:gd name="T2" fmla="*/ 1652 w 4092"/>
              <a:gd name="T3" fmla="*/ 3680 h 4104"/>
              <a:gd name="T4" fmla="*/ 2573 w 4092"/>
              <a:gd name="T5" fmla="*/ 3692 h 4104"/>
              <a:gd name="T6" fmla="*/ 3476 w 4092"/>
              <a:gd name="T7" fmla="*/ 3873 h 4104"/>
              <a:gd name="T8" fmla="*/ 0 w 4092"/>
              <a:gd name="T9" fmla="*/ 0 h 4104"/>
              <a:gd name="T10" fmla="*/ 3802 w 4092"/>
              <a:gd name="T11" fmla="*/ 1443 h 4104"/>
              <a:gd name="T12" fmla="*/ 3712 w 4092"/>
              <a:gd name="T13" fmla="*/ 1281 h 4104"/>
              <a:gd name="T14" fmla="*/ 3509 w 4092"/>
              <a:gd name="T15" fmla="*/ 1254 h 4104"/>
              <a:gd name="T16" fmla="*/ 3662 w 4092"/>
              <a:gd name="T17" fmla="*/ 1523 h 4104"/>
              <a:gd name="T18" fmla="*/ 3865 w 4092"/>
              <a:gd name="T19" fmla="*/ 1799 h 4104"/>
              <a:gd name="T20" fmla="*/ 3900 w 4092"/>
              <a:gd name="T21" fmla="*/ 2004 h 4104"/>
              <a:gd name="T22" fmla="*/ 3313 w 4092"/>
              <a:gd name="T23" fmla="*/ 1825 h 4104"/>
              <a:gd name="T24" fmla="*/ 3412 w 4092"/>
              <a:gd name="T25" fmla="*/ 1939 h 4104"/>
              <a:gd name="T26" fmla="*/ 3572 w 4092"/>
              <a:gd name="T27" fmla="*/ 1876 h 4104"/>
              <a:gd name="T28" fmla="*/ 3353 w 4092"/>
              <a:gd name="T29" fmla="*/ 1570 h 4104"/>
              <a:gd name="T30" fmla="*/ 3203 w 4092"/>
              <a:gd name="T31" fmla="*/ 1305 h 4104"/>
              <a:gd name="T32" fmla="*/ 2422 w 4092"/>
              <a:gd name="T33" fmla="*/ 1158 h 4104"/>
              <a:gd name="T34" fmla="*/ 2958 w 4092"/>
              <a:gd name="T35" fmla="*/ 1319 h 4104"/>
              <a:gd name="T36" fmla="*/ 2839 w 4092"/>
              <a:gd name="T37" fmla="*/ 1250 h 4104"/>
              <a:gd name="T38" fmla="*/ 2783 w 4092"/>
              <a:gd name="T39" fmla="*/ 1403 h 4104"/>
              <a:gd name="T40" fmla="*/ 2986 w 4092"/>
              <a:gd name="T41" fmla="*/ 1654 h 4104"/>
              <a:gd name="T42" fmla="*/ 3113 w 4092"/>
              <a:gd name="T43" fmla="*/ 1932 h 4104"/>
              <a:gd name="T44" fmla="*/ 2408 w 4092"/>
              <a:gd name="T45" fmla="*/ 1754 h 4104"/>
              <a:gd name="T46" fmla="*/ 2577 w 4092"/>
              <a:gd name="T47" fmla="*/ 1912 h 4104"/>
              <a:gd name="T48" fmla="*/ 2802 w 4092"/>
              <a:gd name="T49" fmla="*/ 1948 h 4104"/>
              <a:gd name="T50" fmla="*/ 2677 w 4092"/>
              <a:gd name="T51" fmla="*/ 1714 h 4104"/>
              <a:gd name="T52" fmla="*/ 2446 w 4092"/>
              <a:gd name="T53" fmla="*/ 1400 h 4104"/>
              <a:gd name="T54" fmla="*/ 1842 w 4092"/>
              <a:gd name="T55" fmla="*/ 1948 h 4104"/>
              <a:gd name="T56" fmla="*/ 1927 w 4092"/>
              <a:gd name="T57" fmla="*/ 1911 h 4104"/>
              <a:gd name="T58" fmla="*/ 1913 w 4092"/>
              <a:gd name="T59" fmla="*/ 1271 h 4104"/>
              <a:gd name="T60" fmla="*/ 2306 w 4092"/>
              <a:gd name="T61" fmla="*/ 1158 h 4104"/>
              <a:gd name="T62" fmla="*/ 2224 w 4092"/>
              <a:gd name="T63" fmla="*/ 1287 h 4104"/>
              <a:gd name="T64" fmla="*/ 2224 w 4092"/>
              <a:gd name="T65" fmla="*/ 1912 h 4104"/>
              <a:gd name="T66" fmla="*/ 2306 w 4092"/>
              <a:gd name="T67" fmla="*/ 2039 h 4104"/>
              <a:gd name="T68" fmla="*/ 1057 w 4092"/>
              <a:gd name="T69" fmla="*/ 1935 h 4104"/>
              <a:gd name="T70" fmla="*/ 1085 w 4092"/>
              <a:gd name="T71" fmla="*/ 1299 h 4104"/>
              <a:gd name="T72" fmla="*/ 1026 w 4092"/>
              <a:gd name="T73" fmla="*/ 1250 h 4104"/>
              <a:gd name="T74" fmla="*/ 1620 w 4092"/>
              <a:gd name="T75" fmla="*/ 1356 h 4104"/>
              <a:gd name="T76" fmla="*/ 1530 w 4092"/>
              <a:gd name="T77" fmla="*/ 1259 h 4104"/>
              <a:gd name="T78" fmla="*/ 1432 w 4092"/>
              <a:gd name="T79" fmla="*/ 1548 h 4104"/>
              <a:gd name="T80" fmla="*/ 1477 w 4092"/>
              <a:gd name="T81" fmla="*/ 1445 h 4104"/>
              <a:gd name="T82" fmla="*/ 1465 w 4092"/>
              <a:gd name="T83" fmla="*/ 1681 h 4104"/>
              <a:gd name="T84" fmla="*/ 1369 w 4092"/>
              <a:gd name="T85" fmla="*/ 1948 h 4104"/>
              <a:gd name="T86" fmla="*/ 1589 w 4092"/>
              <a:gd name="T87" fmla="*/ 1894 h 4104"/>
              <a:gd name="T88" fmla="*/ 1648 w 4092"/>
              <a:gd name="T89" fmla="*/ 1754 h 4104"/>
              <a:gd name="T90" fmla="*/ 180 w 4092"/>
              <a:gd name="T91" fmla="*/ 1948 h 4104"/>
              <a:gd name="T92" fmla="*/ 309 w 4092"/>
              <a:gd name="T93" fmla="*/ 1667 h 4104"/>
              <a:gd name="T94" fmla="*/ 538 w 4092"/>
              <a:gd name="T95" fmla="*/ 1368 h 4104"/>
              <a:gd name="T96" fmla="*/ 443 w 4092"/>
              <a:gd name="T97" fmla="*/ 1255 h 4104"/>
              <a:gd name="T98" fmla="*/ 315 w 4092"/>
              <a:gd name="T99" fmla="*/ 1374 h 4104"/>
              <a:gd name="T100" fmla="*/ 912 w 4092"/>
              <a:gd name="T101" fmla="*/ 1195 h 4104"/>
              <a:gd name="T102" fmla="*/ 784 w 4092"/>
              <a:gd name="T103" fmla="*/ 1516 h 4104"/>
              <a:gd name="T104" fmla="*/ 551 w 4092"/>
              <a:gd name="T105" fmla="*/ 1825 h 4104"/>
              <a:gd name="T106" fmla="*/ 707 w 4092"/>
              <a:gd name="T107" fmla="*/ 1925 h 4104"/>
              <a:gd name="T108" fmla="*/ 786 w 4092"/>
              <a:gd name="T109" fmla="*/ 1827 h 4104"/>
              <a:gd name="T110" fmla="*/ 173 w 4092"/>
              <a:gd name="T111" fmla="*/ 1998 h 4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92" h="4104">
                <a:moveTo>
                  <a:pt x="0" y="4104"/>
                </a:moveTo>
                <a:lnTo>
                  <a:pt x="121" y="4051"/>
                </a:lnTo>
                <a:lnTo>
                  <a:pt x="243" y="4001"/>
                </a:lnTo>
                <a:lnTo>
                  <a:pt x="366" y="3955"/>
                </a:lnTo>
                <a:lnTo>
                  <a:pt x="491" y="3912"/>
                </a:lnTo>
                <a:lnTo>
                  <a:pt x="617" y="3873"/>
                </a:lnTo>
                <a:lnTo>
                  <a:pt x="743" y="3836"/>
                </a:lnTo>
                <a:lnTo>
                  <a:pt x="871" y="3804"/>
                </a:lnTo>
                <a:lnTo>
                  <a:pt x="1000" y="3775"/>
                </a:lnTo>
                <a:lnTo>
                  <a:pt x="1129" y="3749"/>
                </a:lnTo>
                <a:lnTo>
                  <a:pt x="1259" y="3727"/>
                </a:lnTo>
                <a:lnTo>
                  <a:pt x="1389" y="3707"/>
                </a:lnTo>
                <a:lnTo>
                  <a:pt x="1521" y="3692"/>
                </a:lnTo>
                <a:lnTo>
                  <a:pt x="1652" y="3680"/>
                </a:lnTo>
                <a:lnTo>
                  <a:pt x="1783" y="3671"/>
                </a:lnTo>
                <a:lnTo>
                  <a:pt x="1915" y="3666"/>
                </a:lnTo>
                <a:lnTo>
                  <a:pt x="2047" y="3664"/>
                </a:lnTo>
                <a:lnTo>
                  <a:pt x="2178" y="3666"/>
                </a:lnTo>
                <a:lnTo>
                  <a:pt x="2311" y="3671"/>
                </a:lnTo>
                <a:lnTo>
                  <a:pt x="2442" y="3680"/>
                </a:lnTo>
                <a:lnTo>
                  <a:pt x="2573" y="3692"/>
                </a:lnTo>
                <a:lnTo>
                  <a:pt x="2704" y="3707"/>
                </a:lnTo>
                <a:lnTo>
                  <a:pt x="2835" y="3727"/>
                </a:lnTo>
                <a:lnTo>
                  <a:pt x="2964" y="3749"/>
                </a:lnTo>
                <a:lnTo>
                  <a:pt x="3093" y="3775"/>
                </a:lnTo>
                <a:lnTo>
                  <a:pt x="3222" y="3804"/>
                </a:lnTo>
                <a:lnTo>
                  <a:pt x="3350" y="3836"/>
                </a:lnTo>
                <a:lnTo>
                  <a:pt x="3476" y="3873"/>
                </a:lnTo>
                <a:lnTo>
                  <a:pt x="3602" y="3912"/>
                </a:lnTo>
                <a:lnTo>
                  <a:pt x="3726" y="3955"/>
                </a:lnTo>
                <a:lnTo>
                  <a:pt x="3850" y="4001"/>
                </a:lnTo>
                <a:lnTo>
                  <a:pt x="3972" y="4051"/>
                </a:lnTo>
                <a:lnTo>
                  <a:pt x="4092" y="4104"/>
                </a:lnTo>
                <a:lnTo>
                  <a:pt x="4092" y="0"/>
                </a:lnTo>
                <a:lnTo>
                  <a:pt x="0" y="0"/>
                </a:lnTo>
                <a:lnTo>
                  <a:pt x="0" y="4104"/>
                </a:lnTo>
                <a:close/>
                <a:moveTo>
                  <a:pt x="3198" y="1210"/>
                </a:moveTo>
                <a:lnTo>
                  <a:pt x="3205" y="1184"/>
                </a:lnTo>
                <a:lnTo>
                  <a:pt x="3214" y="1158"/>
                </a:lnTo>
                <a:lnTo>
                  <a:pt x="3891" y="1158"/>
                </a:lnTo>
                <a:lnTo>
                  <a:pt x="3891" y="1443"/>
                </a:lnTo>
                <a:lnTo>
                  <a:pt x="3802" y="1443"/>
                </a:lnTo>
                <a:lnTo>
                  <a:pt x="3788" y="1394"/>
                </a:lnTo>
                <a:lnTo>
                  <a:pt x="3770" y="1352"/>
                </a:lnTo>
                <a:lnTo>
                  <a:pt x="3761" y="1334"/>
                </a:lnTo>
                <a:lnTo>
                  <a:pt x="3749" y="1319"/>
                </a:lnTo>
                <a:lnTo>
                  <a:pt x="3738" y="1304"/>
                </a:lnTo>
                <a:lnTo>
                  <a:pt x="3725" y="1292"/>
                </a:lnTo>
                <a:lnTo>
                  <a:pt x="3712" y="1281"/>
                </a:lnTo>
                <a:lnTo>
                  <a:pt x="3698" y="1272"/>
                </a:lnTo>
                <a:lnTo>
                  <a:pt x="3682" y="1264"/>
                </a:lnTo>
                <a:lnTo>
                  <a:pt x="3667" y="1258"/>
                </a:lnTo>
                <a:lnTo>
                  <a:pt x="3631" y="1250"/>
                </a:lnTo>
                <a:lnTo>
                  <a:pt x="3592" y="1248"/>
                </a:lnTo>
                <a:lnTo>
                  <a:pt x="3509" y="1248"/>
                </a:lnTo>
                <a:lnTo>
                  <a:pt x="3509" y="1254"/>
                </a:lnTo>
                <a:lnTo>
                  <a:pt x="3517" y="1281"/>
                </a:lnTo>
                <a:lnTo>
                  <a:pt x="3528" y="1311"/>
                </a:lnTo>
                <a:lnTo>
                  <a:pt x="3548" y="1353"/>
                </a:lnTo>
                <a:lnTo>
                  <a:pt x="3575" y="1403"/>
                </a:lnTo>
                <a:lnTo>
                  <a:pt x="3613" y="1459"/>
                </a:lnTo>
                <a:lnTo>
                  <a:pt x="3635" y="1491"/>
                </a:lnTo>
                <a:lnTo>
                  <a:pt x="3662" y="1523"/>
                </a:lnTo>
                <a:lnTo>
                  <a:pt x="3691" y="1556"/>
                </a:lnTo>
                <a:lnTo>
                  <a:pt x="3724" y="1590"/>
                </a:lnTo>
                <a:lnTo>
                  <a:pt x="3749" y="1618"/>
                </a:lnTo>
                <a:lnTo>
                  <a:pt x="3778" y="1654"/>
                </a:lnTo>
                <a:lnTo>
                  <a:pt x="3808" y="1698"/>
                </a:lnTo>
                <a:lnTo>
                  <a:pt x="3838" y="1747"/>
                </a:lnTo>
                <a:lnTo>
                  <a:pt x="3865" y="1799"/>
                </a:lnTo>
                <a:lnTo>
                  <a:pt x="3887" y="1852"/>
                </a:lnTo>
                <a:lnTo>
                  <a:pt x="3895" y="1879"/>
                </a:lnTo>
                <a:lnTo>
                  <a:pt x="3901" y="1906"/>
                </a:lnTo>
                <a:lnTo>
                  <a:pt x="3904" y="1932"/>
                </a:lnTo>
                <a:lnTo>
                  <a:pt x="3906" y="1957"/>
                </a:lnTo>
                <a:lnTo>
                  <a:pt x="3905" y="1983"/>
                </a:lnTo>
                <a:lnTo>
                  <a:pt x="3900" y="2004"/>
                </a:lnTo>
                <a:lnTo>
                  <a:pt x="3893" y="2022"/>
                </a:lnTo>
                <a:lnTo>
                  <a:pt x="3883" y="2039"/>
                </a:lnTo>
                <a:lnTo>
                  <a:pt x="3199" y="2039"/>
                </a:lnTo>
                <a:lnTo>
                  <a:pt x="3199" y="1754"/>
                </a:lnTo>
                <a:lnTo>
                  <a:pt x="3293" y="1754"/>
                </a:lnTo>
                <a:lnTo>
                  <a:pt x="3302" y="1791"/>
                </a:lnTo>
                <a:lnTo>
                  <a:pt x="3313" y="1825"/>
                </a:lnTo>
                <a:lnTo>
                  <a:pt x="3328" y="1858"/>
                </a:lnTo>
                <a:lnTo>
                  <a:pt x="3346" y="1887"/>
                </a:lnTo>
                <a:lnTo>
                  <a:pt x="3356" y="1900"/>
                </a:lnTo>
                <a:lnTo>
                  <a:pt x="3369" y="1912"/>
                </a:lnTo>
                <a:lnTo>
                  <a:pt x="3381" y="1922"/>
                </a:lnTo>
                <a:lnTo>
                  <a:pt x="3396" y="1932"/>
                </a:lnTo>
                <a:lnTo>
                  <a:pt x="3412" y="1939"/>
                </a:lnTo>
                <a:lnTo>
                  <a:pt x="3430" y="1944"/>
                </a:lnTo>
                <a:lnTo>
                  <a:pt x="3450" y="1947"/>
                </a:lnTo>
                <a:lnTo>
                  <a:pt x="3472" y="1948"/>
                </a:lnTo>
                <a:lnTo>
                  <a:pt x="3594" y="1948"/>
                </a:lnTo>
                <a:lnTo>
                  <a:pt x="3594" y="1941"/>
                </a:lnTo>
                <a:lnTo>
                  <a:pt x="3586" y="1918"/>
                </a:lnTo>
                <a:lnTo>
                  <a:pt x="3572" y="1876"/>
                </a:lnTo>
                <a:lnTo>
                  <a:pt x="3554" y="1841"/>
                </a:lnTo>
                <a:lnTo>
                  <a:pt x="3529" y="1800"/>
                </a:lnTo>
                <a:lnTo>
                  <a:pt x="3499" y="1758"/>
                </a:lnTo>
                <a:lnTo>
                  <a:pt x="3469" y="1714"/>
                </a:lnTo>
                <a:lnTo>
                  <a:pt x="3412" y="1641"/>
                </a:lnTo>
                <a:lnTo>
                  <a:pt x="3383" y="1603"/>
                </a:lnTo>
                <a:lnTo>
                  <a:pt x="3353" y="1570"/>
                </a:lnTo>
                <a:lnTo>
                  <a:pt x="3324" y="1533"/>
                </a:lnTo>
                <a:lnTo>
                  <a:pt x="3288" y="1485"/>
                </a:lnTo>
                <a:lnTo>
                  <a:pt x="3254" y="1430"/>
                </a:lnTo>
                <a:lnTo>
                  <a:pt x="3238" y="1400"/>
                </a:lnTo>
                <a:lnTo>
                  <a:pt x="3224" y="1370"/>
                </a:lnTo>
                <a:lnTo>
                  <a:pt x="3212" y="1337"/>
                </a:lnTo>
                <a:lnTo>
                  <a:pt x="3203" y="1305"/>
                </a:lnTo>
                <a:lnTo>
                  <a:pt x="3197" y="1273"/>
                </a:lnTo>
                <a:lnTo>
                  <a:pt x="3195" y="1240"/>
                </a:lnTo>
                <a:lnTo>
                  <a:pt x="3198" y="1210"/>
                </a:lnTo>
                <a:close/>
                <a:moveTo>
                  <a:pt x="2404" y="1225"/>
                </a:moveTo>
                <a:lnTo>
                  <a:pt x="2406" y="1210"/>
                </a:lnTo>
                <a:lnTo>
                  <a:pt x="2413" y="1184"/>
                </a:lnTo>
                <a:lnTo>
                  <a:pt x="2422" y="1158"/>
                </a:lnTo>
                <a:lnTo>
                  <a:pt x="3099" y="1158"/>
                </a:lnTo>
                <a:lnTo>
                  <a:pt x="3099" y="1443"/>
                </a:lnTo>
                <a:lnTo>
                  <a:pt x="3010" y="1443"/>
                </a:lnTo>
                <a:lnTo>
                  <a:pt x="2996" y="1394"/>
                </a:lnTo>
                <a:lnTo>
                  <a:pt x="2978" y="1352"/>
                </a:lnTo>
                <a:lnTo>
                  <a:pt x="2968" y="1334"/>
                </a:lnTo>
                <a:lnTo>
                  <a:pt x="2958" y="1319"/>
                </a:lnTo>
                <a:lnTo>
                  <a:pt x="2945" y="1304"/>
                </a:lnTo>
                <a:lnTo>
                  <a:pt x="2933" y="1292"/>
                </a:lnTo>
                <a:lnTo>
                  <a:pt x="2920" y="1281"/>
                </a:lnTo>
                <a:lnTo>
                  <a:pt x="2906" y="1272"/>
                </a:lnTo>
                <a:lnTo>
                  <a:pt x="2890" y="1264"/>
                </a:lnTo>
                <a:lnTo>
                  <a:pt x="2875" y="1258"/>
                </a:lnTo>
                <a:lnTo>
                  <a:pt x="2839" y="1250"/>
                </a:lnTo>
                <a:lnTo>
                  <a:pt x="2800" y="1248"/>
                </a:lnTo>
                <a:lnTo>
                  <a:pt x="2717" y="1248"/>
                </a:lnTo>
                <a:lnTo>
                  <a:pt x="2717" y="1254"/>
                </a:lnTo>
                <a:lnTo>
                  <a:pt x="2725" y="1281"/>
                </a:lnTo>
                <a:lnTo>
                  <a:pt x="2737" y="1311"/>
                </a:lnTo>
                <a:lnTo>
                  <a:pt x="2756" y="1353"/>
                </a:lnTo>
                <a:lnTo>
                  <a:pt x="2783" y="1403"/>
                </a:lnTo>
                <a:lnTo>
                  <a:pt x="2820" y="1459"/>
                </a:lnTo>
                <a:lnTo>
                  <a:pt x="2844" y="1491"/>
                </a:lnTo>
                <a:lnTo>
                  <a:pt x="2870" y="1523"/>
                </a:lnTo>
                <a:lnTo>
                  <a:pt x="2900" y="1556"/>
                </a:lnTo>
                <a:lnTo>
                  <a:pt x="2932" y="1590"/>
                </a:lnTo>
                <a:lnTo>
                  <a:pt x="2957" y="1618"/>
                </a:lnTo>
                <a:lnTo>
                  <a:pt x="2986" y="1654"/>
                </a:lnTo>
                <a:lnTo>
                  <a:pt x="3016" y="1698"/>
                </a:lnTo>
                <a:lnTo>
                  <a:pt x="3046" y="1747"/>
                </a:lnTo>
                <a:lnTo>
                  <a:pt x="3073" y="1799"/>
                </a:lnTo>
                <a:lnTo>
                  <a:pt x="3095" y="1852"/>
                </a:lnTo>
                <a:lnTo>
                  <a:pt x="3103" y="1879"/>
                </a:lnTo>
                <a:lnTo>
                  <a:pt x="3109" y="1906"/>
                </a:lnTo>
                <a:lnTo>
                  <a:pt x="3113" y="1932"/>
                </a:lnTo>
                <a:lnTo>
                  <a:pt x="3114" y="1957"/>
                </a:lnTo>
                <a:lnTo>
                  <a:pt x="3113" y="1983"/>
                </a:lnTo>
                <a:lnTo>
                  <a:pt x="3108" y="2004"/>
                </a:lnTo>
                <a:lnTo>
                  <a:pt x="3101" y="2022"/>
                </a:lnTo>
                <a:lnTo>
                  <a:pt x="3090" y="2039"/>
                </a:lnTo>
                <a:lnTo>
                  <a:pt x="2408" y="2039"/>
                </a:lnTo>
                <a:lnTo>
                  <a:pt x="2408" y="1754"/>
                </a:lnTo>
                <a:lnTo>
                  <a:pt x="2500" y="1754"/>
                </a:lnTo>
                <a:lnTo>
                  <a:pt x="2510" y="1791"/>
                </a:lnTo>
                <a:lnTo>
                  <a:pt x="2521" y="1825"/>
                </a:lnTo>
                <a:lnTo>
                  <a:pt x="2536" y="1858"/>
                </a:lnTo>
                <a:lnTo>
                  <a:pt x="2554" y="1887"/>
                </a:lnTo>
                <a:lnTo>
                  <a:pt x="2564" y="1900"/>
                </a:lnTo>
                <a:lnTo>
                  <a:pt x="2577" y="1912"/>
                </a:lnTo>
                <a:lnTo>
                  <a:pt x="2590" y="1922"/>
                </a:lnTo>
                <a:lnTo>
                  <a:pt x="2605" y="1932"/>
                </a:lnTo>
                <a:lnTo>
                  <a:pt x="2620" y="1939"/>
                </a:lnTo>
                <a:lnTo>
                  <a:pt x="2639" y="1944"/>
                </a:lnTo>
                <a:lnTo>
                  <a:pt x="2659" y="1947"/>
                </a:lnTo>
                <a:lnTo>
                  <a:pt x="2681" y="1948"/>
                </a:lnTo>
                <a:lnTo>
                  <a:pt x="2802" y="1948"/>
                </a:lnTo>
                <a:lnTo>
                  <a:pt x="2802" y="1941"/>
                </a:lnTo>
                <a:lnTo>
                  <a:pt x="2794" y="1918"/>
                </a:lnTo>
                <a:lnTo>
                  <a:pt x="2781" y="1876"/>
                </a:lnTo>
                <a:lnTo>
                  <a:pt x="2762" y="1841"/>
                </a:lnTo>
                <a:lnTo>
                  <a:pt x="2737" y="1800"/>
                </a:lnTo>
                <a:lnTo>
                  <a:pt x="2708" y="1758"/>
                </a:lnTo>
                <a:lnTo>
                  <a:pt x="2677" y="1714"/>
                </a:lnTo>
                <a:lnTo>
                  <a:pt x="2620" y="1641"/>
                </a:lnTo>
                <a:lnTo>
                  <a:pt x="2589" y="1603"/>
                </a:lnTo>
                <a:lnTo>
                  <a:pt x="2561" y="1570"/>
                </a:lnTo>
                <a:lnTo>
                  <a:pt x="2531" y="1533"/>
                </a:lnTo>
                <a:lnTo>
                  <a:pt x="2496" y="1485"/>
                </a:lnTo>
                <a:lnTo>
                  <a:pt x="2462" y="1430"/>
                </a:lnTo>
                <a:lnTo>
                  <a:pt x="2446" y="1400"/>
                </a:lnTo>
                <a:lnTo>
                  <a:pt x="2433" y="1370"/>
                </a:lnTo>
                <a:lnTo>
                  <a:pt x="2420" y="1337"/>
                </a:lnTo>
                <a:lnTo>
                  <a:pt x="2411" y="1305"/>
                </a:lnTo>
                <a:lnTo>
                  <a:pt x="2406" y="1273"/>
                </a:lnTo>
                <a:lnTo>
                  <a:pt x="2402" y="1240"/>
                </a:lnTo>
                <a:lnTo>
                  <a:pt x="2404" y="1225"/>
                </a:lnTo>
                <a:close/>
                <a:moveTo>
                  <a:pt x="1842" y="1948"/>
                </a:moveTo>
                <a:lnTo>
                  <a:pt x="1876" y="1948"/>
                </a:lnTo>
                <a:lnTo>
                  <a:pt x="1884" y="1947"/>
                </a:lnTo>
                <a:lnTo>
                  <a:pt x="1894" y="1943"/>
                </a:lnTo>
                <a:lnTo>
                  <a:pt x="1903" y="1937"/>
                </a:lnTo>
                <a:lnTo>
                  <a:pt x="1913" y="1930"/>
                </a:lnTo>
                <a:lnTo>
                  <a:pt x="1921" y="1920"/>
                </a:lnTo>
                <a:lnTo>
                  <a:pt x="1927" y="1911"/>
                </a:lnTo>
                <a:lnTo>
                  <a:pt x="1931" y="1901"/>
                </a:lnTo>
                <a:lnTo>
                  <a:pt x="1932" y="1892"/>
                </a:lnTo>
                <a:lnTo>
                  <a:pt x="1932" y="1308"/>
                </a:lnTo>
                <a:lnTo>
                  <a:pt x="1931" y="1299"/>
                </a:lnTo>
                <a:lnTo>
                  <a:pt x="1927" y="1289"/>
                </a:lnTo>
                <a:lnTo>
                  <a:pt x="1921" y="1280"/>
                </a:lnTo>
                <a:lnTo>
                  <a:pt x="1913" y="1271"/>
                </a:lnTo>
                <a:lnTo>
                  <a:pt x="1903" y="1262"/>
                </a:lnTo>
                <a:lnTo>
                  <a:pt x="1893" y="1255"/>
                </a:lnTo>
                <a:lnTo>
                  <a:pt x="1882" y="1251"/>
                </a:lnTo>
                <a:lnTo>
                  <a:pt x="1872" y="1250"/>
                </a:lnTo>
                <a:lnTo>
                  <a:pt x="1842" y="1250"/>
                </a:lnTo>
                <a:lnTo>
                  <a:pt x="1842" y="1158"/>
                </a:lnTo>
                <a:lnTo>
                  <a:pt x="2306" y="1158"/>
                </a:lnTo>
                <a:lnTo>
                  <a:pt x="2306" y="1250"/>
                </a:lnTo>
                <a:lnTo>
                  <a:pt x="2275" y="1250"/>
                </a:lnTo>
                <a:lnTo>
                  <a:pt x="2263" y="1252"/>
                </a:lnTo>
                <a:lnTo>
                  <a:pt x="2251" y="1257"/>
                </a:lnTo>
                <a:lnTo>
                  <a:pt x="2241" y="1265"/>
                </a:lnTo>
                <a:lnTo>
                  <a:pt x="2232" y="1276"/>
                </a:lnTo>
                <a:lnTo>
                  <a:pt x="2224" y="1287"/>
                </a:lnTo>
                <a:lnTo>
                  <a:pt x="2219" y="1299"/>
                </a:lnTo>
                <a:lnTo>
                  <a:pt x="2216" y="1309"/>
                </a:lnTo>
                <a:lnTo>
                  <a:pt x="2214" y="1319"/>
                </a:lnTo>
                <a:lnTo>
                  <a:pt x="2214" y="1881"/>
                </a:lnTo>
                <a:lnTo>
                  <a:pt x="2215" y="1890"/>
                </a:lnTo>
                <a:lnTo>
                  <a:pt x="2219" y="1900"/>
                </a:lnTo>
                <a:lnTo>
                  <a:pt x="2224" y="1912"/>
                </a:lnTo>
                <a:lnTo>
                  <a:pt x="2230" y="1923"/>
                </a:lnTo>
                <a:lnTo>
                  <a:pt x="2239" y="1933"/>
                </a:lnTo>
                <a:lnTo>
                  <a:pt x="2249" y="1941"/>
                </a:lnTo>
                <a:lnTo>
                  <a:pt x="2260" y="1946"/>
                </a:lnTo>
                <a:lnTo>
                  <a:pt x="2271" y="1948"/>
                </a:lnTo>
                <a:lnTo>
                  <a:pt x="2306" y="1948"/>
                </a:lnTo>
                <a:lnTo>
                  <a:pt x="2306" y="2039"/>
                </a:lnTo>
                <a:lnTo>
                  <a:pt x="1842" y="2039"/>
                </a:lnTo>
                <a:lnTo>
                  <a:pt x="1842" y="1948"/>
                </a:lnTo>
                <a:close/>
                <a:moveTo>
                  <a:pt x="995" y="1946"/>
                </a:moveTo>
                <a:lnTo>
                  <a:pt x="1030" y="1946"/>
                </a:lnTo>
                <a:lnTo>
                  <a:pt x="1038" y="1944"/>
                </a:lnTo>
                <a:lnTo>
                  <a:pt x="1047" y="1941"/>
                </a:lnTo>
                <a:lnTo>
                  <a:pt x="1057" y="1935"/>
                </a:lnTo>
                <a:lnTo>
                  <a:pt x="1066" y="1927"/>
                </a:lnTo>
                <a:lnTo>
                  <a:pt x="1075" y="1918"/>
                </a:lnTo>
                <a:lnTo>
                  <a:pt x="1081" y="1909"/>
                </a:lnTo>
                <a:lnTo>
                  <a:pt x="1085" y="1899"/>
                </a:lnTo>
                <a:lnTo>
                  <a:pt x="1086" y="1889"/>
                </a:lnTo>
                <a:lnTo>
                  <a:pt x="1086" y="1308"/>
                </a:lnTo>
                <a:lnTo>
                  <a:pt x="1085" y="1299"/>
                </a:lnTo>
                <a:lnTo>
                  <a:pt x="1081" y="1289"/>
                </a:lnTo>
                <a:lnTo>
                  <a:pt x="1075" y="1280"/>
                </a:lnTo>
                <a:lnTo>
                  <a:pt x="1066" y="1271"/>
                </a:lnTo>
                <a:lnTo>
                  <a:pt x="1057" y="1262"/>
                </a:lnTo>
                <a:lnTo>
                  <a:pt x="1046" y="1256"/>
                </a:lnTo>
                <a:lnTo>
                  <a:pt x="1036" y="1251"/>
                </a:lnTo>
                <a:lnTo>
                  <a:pt x="1026" y="1250"/>
                </a:lnTo>
                <a:lnTo>
                  <a:pt x="995" y="1250"/>
                </a:lnTo>
                <a:lnTo>
                  <a:pt x="995" y="1158"/>
                </a:lnTo>
                <a:lnTo>
                  <a:pt x="1742" y="1158"/>
                </a:lnTo>
                <a:lnTo>
                  <a:pt x="1742" y="1443"/>
                </a:lnTo>
                <a:lnTo>
                  <a:pt x="1648" y="1443"/>
                </a:lnTo>
                <a:lnTo>
                  <a:pt x="1635" y="1397"/>
                </a:lnTo>
                <a:lnTo>
                  <a:pt x="1620" y="1356"/>
                </a:lnTo>
                <a:lnTo>
                  <a:pt x="1602" y="1323"/>
                </a:lnTo>
                <a:lnTo>
                  <a:pt x="1592" y="1308"/>
                </a:lnTo>
                <a:lnTo>
                  <a:pt x="1581" y="1296"/>
                </a:lnTo>
                <a:lnTo>
                  <a:pt x="1570" y="1284"/>
                </a:lnTo>
                <a:lnTo>
                  <a:pt x="1557" y="1275"/>
                </a:lnTo>
                <a:lnTo>
                  <a:pt x="1544" y="1267"/>
                </a:lnTo>
                <a:lnTo>
                  <a:pt x="1530" y="1259"/>
                </a:lnTo>
                <a:lnTo>
                  <a:pt x="1514" y="1254"/>
                </a:lnTo>
                <a:lnTo>
                  <a:pt x="1498" y="1251"/>
                </a:lnTo>
                <a:lnTo>
                  <a:pt x="1461" y="1248"/>
                </a:lnTo>
                <a:lnTo>
                  <a:pt x="1369" y="1248"/>
                </a:lnTo>
                <a:lnTo>
                  <a:pt x="1369" y="1553"/>
                </a:lnTo>
                <a:lnTo>
                  <a:pt x="1416" y="1553"/>
                </a:lnTo>
                <a:lnTo>
                  <a:pt x="1432" y="1548"/>
                </a:lnTo>
                <a:lnTo>
                  <a:pt x="1441" y="1542"/>
                </a:lnTo>
                <a:lnTo>
                  <a:pt x="1452" y="1533"/>
                </a:lnTo>
                <a:lnTo>
                  <a:pt x="1461" y="1524"/>
                </a:lnTo>
                <a:lnTo>
                  <a:pt x="1470" y="1513"/>
                </a:lnTo>
                <a:lnTo>
                  <a:pt x="1475" y="1500"/>
                </a:lnTo>
                <a:lnTo>
                  <a:pt x="1477" y="1485"/>
                </a:lnTo>
                <a:lnTo>
                  <a:pt x="1477" y="1445"/>
                </a:lnTo>
                <a:lnTo>
                  <a:pt x="1568" y="1445"/>
                </a:lnTo>
                <a:lnTo>
                  <a:pt x="1568" y="1752"/>
                </a:lnTo>
                <a:lnTo>
                  <a:pt x="1477" y="1752"/>
                </a:lnTo>
                <a:lnTo>
                  <a:pt x="1477" y="1714"/>
                </a:lnTo>
                <a:lnTo>
                  <a:pt x="1476" y="1704"/>
                </a:lnTo>
                <a:lnTo>
                  <a:pt x="1472" y="1693"/>
                </a:lnTo>
                <a:lnTo>
                  <a:pt x="1465" y="1681"/>
                </a:lnTo>
                <a:lnTo>
                  <a:pt x="1457" y="1671"/>
                </a:lnTo>
                <a:lnTo>
                  <a:pt x="1447" y="1661"/>
                </a:lnTo>
                <a:lnTo>
                  <a:pt x="1433" y="1652"/>
                </a:lnTo>
                <a:lnTo>
                  <a:pt x="1419" y="1646"/>
                </a:lnTo>
                <a:lnTo>
                  <a:pt x="1401" y="1644"/>
                </a:lnTo>
                <a:lnTo>
                  <a:pt x="1369" y="1644"/>
                </a:lnTo>
                <a:lnTo>
                  <a:pt x="1369" y="1948"/>
                </a:lnTo>
                <a:lnTo>
                  <a:pt x="1471" y="1948"/>
                </a:lnTo>
                <a:lnTo>
                  <a:pt x="1497" y="1946"/>
                </a:lnTo>
                <a:lnTo>
                  <a:pt x="1524" y="1939"/>
                </a:lnTo>
                <a:lnTo>
                  <a:pt x="1551" y="1925"/>
                </a:lnTo>
                <a:lnTo>
                  <a:pt x="1564" y="1917"/>
                </a:lnTo>
                <a:lnTo>
                  <a:pt x="1577" y="1907"/>
                </a:lnTo>
                <a:lnTo>
                  <a:pt x="1589" y="1894"/>
                </a:lnTo>
                <a:lnTo>
                  <a:pt x="1600" y="1881"/>
                </a:lnTo>
                <a:lnTo>
                  <a:pt x="1611" y="1865"/>
                </a:lnTo>
                <a:lnTo>
                  <a:pt x="1621" y="1847"/>
                </a:lnTo>
                <a:lnTo>
                  <a:pt x="1629" y="1827"/>
                </a:lnTo>
                <a:lnTo>
                  <a:pt x="1637" y="1805"/>
                </a:lnTo>
                <a:lnTo>
                  <a:pt x="1644" y="1781"/>
                </a:lnTo>
                <a:lnTo>
                  <a:pt x="1648" y="1754"/>
                </a:lnTo>
                <a:lnTo>
                  <a:pt x="1742" y="1754"/>
                </a:lnTo>
                <a:lnTo>
                  <a:pt x="1742" y="2039"/>
                </a:lnTo>
                <a:lnTo>
                  <a:pt x="995" y="2039"/>
                </a:lnTo>
                <a:lnTo>
                  <a:pt x="995" y="1946"/>
                </a:lnTo>
                <a:close/>
                <a:moveTo>
                  <a:pt x="173" y="1998"/>
                </a:moveTo>
                <a:lnTo>
                  <a:pt x="174" y="1983"/>
                </a:lnTo>
                <a:lnTo>
                  <a:pt x="180" y="1948"/>
                </a:lnTo>
                <a:lnTo>
                  <a:pt x="192" y="1901"/>
                </a:lnTo>
                <a:lnTo>
                  <a:pt x="201" y="1874"/>
                </a:lnTo>
                <a:lnTo>
                  <a:pt x="213" y="1846"/>
                </a:lnTo>
                <a:lnTo>
                  <a:pt x="235" y="1796"/>
                </a:lnTo>
                <a:lnTo>
                  <a:pt x="267" y="1734"/>
                </a:lnTo>
                <a:lnTo>
                  <a:pt x="287" y="1700"/>
                </a:lnTo>
                <a:lnTo>
                  <a:pt x="309" y="1667"/>
                </a:lnTo>
                <a:lnTo>
                  <a:pt x="334" y="1635"/>
                </a:lnTo>
                <a:lnTo>
                  <a:pt x="360" y="1605"/>
                </a:lnTo>
                <a:lnTo>
                  <a:pt x="392" y="1572"/>
                </a:lnTo>
                <a:lnTo>
                  <a:pt x="420" y="1540"/>
                </a:lnTo>
                <a:lnTo>
                  <a:pt x="469" y="1477"/>
                </a:lnTo>
                <a:lnTo>
                  <a:pt x="508" y="1420"/>
                </a:lnTo>
                <a:lnTo>
                  <a:pt x="538" y="1368"/>
                </a:lnTo>
                <a:lnTo>
                  <a:pt x="559" y="1324"/>
                </a:lnTo>
                <a:lnTo>
                  <a:pt x="574" y="1289"/>
                </a:lnTo>
                <a:lnTo>
                  <a:pt x="588" y="1254"/>
                </a:lnTo>
                <a:lnTo>
                  <a:pt x="588" y="1248"/>
                </a:lnTo>
                <a:lnTo>
                  <a:pt x="506" y="1248"/>
                </a:lnTo>
                <a:lnTo>
                  <a:pt x="472" y="1250"/>
                </a:lnTo>
                <a:lnTo>
                  <a:pt x="443" y="1255"/>
                </a:lnTo>
                <a:lnTo>
                  <a:pt x="418" y="1264"/>
                </a:lnTo>
                <a:lnTo>
                  <a:pt x="395" y="1276"/>
                </a:lnTo>
                <a:lnTo>
                  <a:pt x="375" y="1289"/>
                </a:lnTo>
                <a:lnTo>
                  <a:pt x="359" y="1305"/>
                </a:lnTo>
                <a:lnTo>
                  <a:pt x="344" y="1322"/>
                </a:lnTo>
                <a:lnTo>
                  <a:pt x="332" y="1340"/>
                </a:lnTo>
                <a:lnTo>
                  <a:pt x="315" y="1374"/>
                </a:lnTo>
                <a:lnTo>
                  <a:pt x="303" y="1405"/>
                </a:lnTo>
                <a:lnTo>
                  <a:pt x="295" y="1443"/>
                </a:lnTo>
                <a:lnTo>
                  <a:pt x="206" y="1443"/>
                </a:lnTo>
                <a:lnTo>
                  <a:pt x="206" y="1158"/>
                </a:lnTo>
                <a:lnTo>
                  <a:pt x="913" y="1158"/>
                </a:lnTo>
                <a:lnTo>
                  <a:pt x="913" y="1182"/>
                </a:lnTo>
                <a:lnTo>
                  <a:pt x="912" y="1195"/>
                </a:lnTo>
                <a:lnTo>
                  <a:pt x="907" y="1226"/>
                </a:lnTo>
                <a:lnTo>
                  <a:pt x="897" y="1271"/>
                </a:lnTo>
                <a:lnTo>
                  <a:pt x="881" y="1325"/>
                </a:lnTo>
                <a:lnTo>
                  <a:pt x="859" y="1379"/>
                </a:lnTo>
                <a:lnTo>
                  <a:pt x="835" y="1428"/>
                </a:lnTo>
                <a:lnTo>
                  <a:pt x="810" y="1474"/>
                </a:lnTo>
                <a:lnTo>
                  <a:pt x="784" y="1516"/>
                </a:lnTo>
                <a:lnTo>
                  <a:pt x="757" y="1554"/>
                </a:lnTo>
                <a:lnTo>
                  <a:pt x="730" y="1590"/>
                </a:lnTo>
                <a:lnTo>
                  <a:pt x="673" y="1658"/>
                </a:lnTo>
                <a:lnTo>
                  <a:pt x="620" y="1723"/>
                </a:lnTo>
                <a:lnTo>
                  <a:pt x="596" y="1756"/>
                </a:lnTo>
                <a:lnTo>
                  <a:pt x="572" y="1790"/>
                </a:lnTo>
                <a:lnTo>
                  <a:pt x="551" y="1825"/>
                </a:lnTo>
                <a:lnTo>
                  <a:pt x="533" y="1864"/>
                </a:lnTo>
                <a:lnTo>
                  <a:pt x="516" y="1904"/>
                </a:lnTo>
                <a:lnTo>
                  <a:pt x="503" y="1948"/>
                </a:lnTo>
                <a:lnTo>
                  <a:pt x="624" y="1948"/>
                </a:lnTo>
                <a:lnTo>
                  <a:pt x="651" y="1946"/>
                </a:lnTo>
                <a:lnTo>
                  <a:pt x="680" y="1939"/>
                </a:lnTo>
                <a:lnTo>
                  <a:pt x="707" y="1925"/>
                </a:lnTo>
                <a:lnTo>
                  <a:pt x="720" y="1917"/>
                </a:lnTo>
                <a:lnTo>
                  <a:pt x="733" y="1907"/>
                </a:lnTo>
                <a:lnTo>
                  <a:pt x="744" y="1894"/>
                </a:lnTo>
                <a:lnTo>
                  <a:pt x="756" y="1881"/>
                </a:lnTo>
                <a:lnTo>
                  <a:pt x="767" y="1865"/>
                </a:lnTo>
                <a:lnTo>
                  <a:pt x="777" y="1847"/>
                </a:lnTo>
                <a:lnTo>
                  <a:pt x="786" y="1827"/>
                </a:lnTo>
                <a:lnTo>
                  <a:pt x="793" y="1805"/>
                </a:lnTo>
                <a:lnTo>
                  <a:pt x="799" y="1781"/>
                </a:lnTo>
                <a:lnTo>
                  <a:pt x="805" y="1754"/>
                </a:lnTo>
                <a:lnTo>
                  <a:pt x="897" y="1754"/>
                </a:lnTo>
                <a:lnTo>
                  <a:pt x="897" y="2039"/>
                </a:lnTo>
                <a:lnTo>
                  <a:pt x="173" y="2039"/>
                </a:lnTo>
                <a:lnTo>
                  <a:pt x="173" y="1998"/>
                </a:lnTo>
                <a:close/>
              </a:path>
            </a:pathLst>
          </a:custGeom>
          <a:solidFill>
            <a:srgbClr val="0000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sz="1600">
              <a:solidFill>
                <a:srgbClr val="000000"/>
              </a:solidFill>
            </a:endParaRPr>
          </a:p>
        </p:txBody>
      </p:sp>
      <p:sp>
        <p:nvSpPr>
          <p:cNvPr id="3" name="Text Placeholder 2"/>
          <p:cNvSpPr>
            <a:spLocks noGrp="1"/>
          </p:cNvSpPr>
          <p:nvPr>
            <p:ph type="body" sz="quarter" idx="10"/>
          </p:nvPr>
        </p:nvSpPr>
        <p:spPr>
          <a:xfrm>
            <a:off x="468000" y="5940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7" name="Text Placeholder 2"/>
          <p:cNvSpPr>
            <a:spLocks noGrp="1"/>
          </p:cNvSpPr>
          <p:nvPr>
            <p:ph type="body" sz="quarter" idx="11"/>
          </p:nvPr>
        </p:nvSpPr>
        <p:spPr>
          <a:xfrm>
            <a:off x="468000" y="6192000"/>
            <a:ext cx="3024682" cy="208952"/>
          </a:xfr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p:txBody>
      </p:sp>
      <p:sp>
        <p:nvSpPr>
          <p:cNvPr id="8" name="Text Placeholder 2"/>
          <p:cNvSpPr>
            <a:spLocks noGrp="1"/>
          </p:cNvSpPr>
          <p:nvPr>
            <p:ph type="body" sz="quarter" idx="12"/>
          </p:nvPr>
        </p:nvSpPr>
        <p:spPr>
          <a:xfrm>
            <a:off x="468000" y="6444000"/>
            <a:ext cx="3024682" cy="208952"/>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p:txBody>
      </p:sp>
      <p:sp>
        <p:nvSpPr>
          <p:cNvPr id="4" name="Title 3"/>
          <p:cNvSpPr>
            <a:spLocks noGrp="1"/>
          </p:cNvSpPr>
          <p:nvPr>
            <p:ph type="title"/>
          </p:nvPr>
        </p:nvSpPr>
        <p:spPr/>
        <p:txBody>
          <a:bodyPr/>
          <a:lstStyle/>
          <a:p>
            <a:r>
              <a:rPr lang="en-US"/>
              <a:t>Click to edit Master title style</a:t>
            </a:r>
          </a:p>
        </p:txBody>
      </p:sp>
      <p:sp>
        <p:nvSpPr>
          <p:cNvPr id="10" name="Rectangle 9"/>
          <p:cNvSpPr/>
          <p:nvPr userDrawn="1"/>
        </p:nvSpPr>
        <p:spPr bwMode="auto">
          <a:xfrm>
            <a:off x="0" y="1350965"/>
            <a:ext cx="9144000" cy="4351337"/>
          </a:xfrm>
          <a:prstGeom prst="rect">
            <a:avLst/>
          </a:prstGeom>
          <a:solidFill>
            <a:schemeClr val="bg1">
              <a:lumMod val="85000"/>
            </a:schemeClr>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9" name="TextBox 8"/>
          <p:cNvSpPr txBox="1"/>
          <p:nvPr userDrawn="1"/>
        </p:nvSpPr>
        <p:spPr bwMode="gray">
          <a:xfrm>
            <a:off x="-865458" y="1773238"/>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1" name="TextBox 10"/>
          <p:cNvSpPr txBox="1"/>
          <p:nvPr userDrawn="1"/>
        </p:nvSpPr>
        <p:spPr bwMode="gray">
          <a:xfrm>
            <a:off x="-956829" y="1554163"/>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2" name="Straight Connector 11"/>
          <p:cNvCxnSpPr/>
          <p:nvPr userDrawn="1"/>
        </p:nvCxnSpPr>
        <p:spPr bwMode="gray">
          <a:xfrm flipH="1">
            <a:off x="-288540" y="17732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bwMode="gray">
          <a:xfrm flipH="1">
            <a:off x="-288540" y="15573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userDrawn="1"/>
        </p:nvSpPr>
        <p:spPr bwMode="gray">
          <a:xfrm>
            <a:off x="-865458" y="6093281"/>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5" name="TextBox 14"/>
          <p:cNvSpPr txBox="1"/>
          <p:nvPr userDrawn="1"/>
        </p:nvSpPr>
        <p:spPr bwMode="gray">
          <a:xfrm>
            <a:off x="-956829" y="6524625"/>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6" name="Straight Connector 15"/>
          <p:cNvCxnSpPr/>
          <p:nvPr userDrawn="1"/>
        </p:nvCxnSpPr>
        <p:spPr bwMode="gray">
          <a:xfrm flipH="1">
            <a:off x="-288540" y="6522107"/>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gray">
          <a:xfrm flipH="1">
            <a:off x="-288540" y="6308725"/>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nvGrpSpPr>
          <p:cNvPr id="18" name="Group 17"/>
          <p:cNvGrpSpPr/>
          <p:nvPr userDrawn="1"/>
        </p:nvGrpSpPr>
        <p:grpSpPr>
          <a:xfrm rot="5400000">
            <a:off x="-43126" y="-645663"/>
            <a:ext cx="807434" cy="215444"/>
            <a:chOff x="-1248737" y="516171"/>
            <a:chExt cx="807434" cy="215444"/>
          </a:xfrm>
        </p:grpSpPr>
        <p:sp>
          <p:nvSpPr>
            <p:cNvPr id="19" name="TextBox 18"/>
            <p:cNvSpPr txBox="1"/>
            <p:nvPr userDrawn="1"/>
          </p:nvSpPr>
          <p:spPr bwMode="gray">
            <a:xfrm>
              <a:off x="-1248737" y="516171"/>
              <a:ext cx="766557"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Lef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20" name="Straight Connector 19"/>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21" name="Group 20"/>
          <p:cNvGrpSpPr/>
          <p:nvPr userDrawn="1"/>
        </p:nvGrpSpPr>
        <p:grpSpPr>
          <a:xfrm rot="5400000">
            <a:off x="8185327" y="-625720"/>
            <a:ext cx="767548" cy="215444"/>
            <a:chOff x="-1285606" y="516176"/>
            <a:chExt cx="844303" cy="215444"/>
          </a:xfrm>
        </p:grpSpPr>
        <p:sp>
          <p:nvSpPr>
            <p:cNvPr id="22" name="TextBox 21"/>
            <p:cNvSpPr txBox="1"/>
            <p:nvPr userDrawn="1"/>
          </p:nvSpPr>
          <p:spPr bwMode="gray">
            <a:xfrm>
              <a:off x="-1285606" y="516176"/>
              <a:ext cx="840295"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Righ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23" name="Straight Connector 22"/>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55039328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urse Overview">
    <p:spTree>
      <p:nvGrpSpPr>
        <p:cNvPr id="1" name=""/>
        <p:cNvGrpSpPr/>
        <p:nvPr/>
      </p:nvGrpSpPr>
      <p:grpSpPr>
        <a:xfrm>
          <a:off x="0" y="0"/>
          <a:ext cx="0" cy="0"/>
          <a:chOff x="0" y="0"/>
          <a:chExt cx="0" cy="0"/>
        </a:xfrm>
      </p:grpSpPr>
      <p:sp>
        <p:nvSpPr>
          <p:cNvPr id="6"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8AB92643-0159-43F9-A993-5A61A2F1AE2B}" type="datetime1">
              <a:rPr lang="de-DE" smtClean="0">
                <a:solidFill>
                  <a:srgbClr val="000000"/>
                </a:solidFill>
              </a:rPr>
              <a:pPr/>
              <a:t>28.02.2019</a:t>
            </a:fld>
            <a:endParaRPr lang="en-US" dirty="0">
              <a:solidFill>
                <a:srgbClr val="000000"/>
              </a:solidFill>
            </a:endParaRPr>
          </a:p>
        </p:txBody>
      </p:sp>
      <p:sp>
        <p:nvSpPr>
          <p:cNvPr id="7"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a:solidFill>
                  <a:srgbClr val="000000"/>
                </a:solidFill>
              </a:rPr>
              <a:t>Carl Zeiss Microscopy</a:t>
            </a:r>
            <a:endParaRPr lang="en-US" dirty="0">
              <a:solidFill>
                <a:srgbClr val="000000"/>
              </a:solidFill>
            </a:endParaRPr>
          </a:p>
        </p:txBody>
      </p:sp>
      <p:sp>
        <p:nvSpPr>
          <p:cNvPr id="9" name="Inhaltsplatzhalter 2"/>
          <p:cNvSpPr txBox="1">
            <a:spLocks/>
          </p:cNvSpPr>
          <p:nvPr userDrawn="1"/>
        </p:nvSpPr>
        <p:spPr bwMode="auto">
          <a:xfrm>
            <a:off x="461963" y="3950821"/>
            <a:ext cx="2233613"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bIns="0"/>
          <a:lstStyle>
            <a:lvl1pPr eaLnBrk="0" hangingPunct="0">
              <a:defRPr sz="1600">
                <a:solidFill>
                  <a:schemeClr val="tx1"/>
                </a:solidFill>
                <a:latin typeface="Arial" charset="0"/>
                <a:cs typeface="Arial" charset="0"/>
              </a:defRPr>
            </a:lvl1pPr>
            <a:lvl2pPr marL="203200" indent="-182563"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fontAlgn="base" hangingPunct="1">
              <a:spcBef>
                <a:spcPct val="0"/>
              </a:spcBef>
              <a:spcAft>
                <a:spcPts val="300"/>
              </a:spcAft>
            </a:pPr>
            <a:r>
              <a:rPr lang="en-US" sz="1400" dirty="0">
                <a:solidFill>
                  <a:srgbClr val="000000"/>
                </a:solidFill>
              </a:rPr>
              <a:t>The session comprehends the following topics:</a:t>
            </a:r>
          </a:p>
        </p:txBody>
      </p:sp>
      <p:pic>
        <p:nvPicPr>
          <p:cNvPr id="10" name="Picture 2"/>
          <p:cNvPicPr>
            <a:picLocks noChangeAspect="1" noChangeArrowheads="1"/>
          </p:cNvPicPr>
          <p:nvPr userDrawn="1"/>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61963" y="2352210"/>
            <a:ext cx="8243888" cy="1455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28"/>
          <p:cNvSpPr>
            <a:spLocks noChangeArrowheads="1"/>
          </p:cNvSpPr>
          <p:nvPr userDrawn="1"/>
        </p:nvSpPr>
        <p:spPr bwMode="auto">
          <a:xfrm>
            <a:off x="461963" y="1717210"/>
            <a:ext cx="2233613"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fontAlgn="base" hangingPunct="0">
              <a:spcBef>
                <a:spcPct val="0"/>
              </a:spcBef>
              <a:spcAft>
                <a:spcPct val="0"/>
              </a:spcAft>
            </a:pPr>
            <a:r>
              <a:rPr lang="en-US" b="1" dirty="0">
                <a:solidFill>
                  <a:srgbClr val="000000"/>
                </a:solidFill>
              </a:rPr>
              <a:t>Content of this session</a:t>
            </a:r>
          </a:p>
        </p:txBody>
      </p:sp>
      <p:sp>
        <p:nvSpPr>
          <p:cNvPr id="12" name="Rectangle 29"/>
          <p:cNvSpPr>
            <a:spLocks noChangeArrowheads="1"/>
          </p:cNvSpPr>
          <p:nvPr userDrawn="1"/>
        </p:nvSpPr>
        <p:spPr bwMode="auto">
          <a:xfrm>
            <a:off x="6443665" y="1717210"/>
            <a:ext cx="2227263"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fontAlgn="base" hangingPunct="0">
              <a:spcBef>
                <a:spcPct val="0"/>
              </a:spcBef>
              <a:spcAft>
                <a:spcPct val="0"/>
              </a:spcAft>
            </a:pPr>
            <a:r>
              <a:rPr lang="en-US" b="1">
                <a:solidFill>
                  <a:srgbClr val="000000"/>
                </a:solidFill>
              </a:rPr>
              <a:t>Times and </a:t>
            </a:r>
            <a:br>
              <a:rPr lang="en-US" b="1">
                <a:solidFill>
                  <a:srgbClr val="000000"/>
                </a:solidFill>
              </a:rPr>
            </a:br>
            <a:r>
              <a:rPr lang="en-US" b="1">
                <a:solidFill>
                  <a:srgbClr val="000000"/>
                </a:solidFill>
              </a:rPr>
              <a:t>effort</a:t>
            </a:r>
          </a:p>
        </p:txBody>
      </p:sp>
      <p:sp>
        <p:nvSpPr>
          <p:cNvPr id="13" name="Rectangle 30"/>
          <p:cNvSpPr>
            <a:spLocks noChangeArrowheads="1"/>
          </p:cNvSpPr>
          <p:nvPr userDrawn="1"/>
        </p:nvSpPr>
        <p:spPr bwMode="auto">
          <a:xfrm>
            <a:off x="3487738" y="1717210"/>
            <a:ext cx="2159000"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fontAlgn="base" hangingPunct="0">
              <a:spcBef>
                <a:spcPct val="0"/>
              </a:spcBef>
              <a:spcAft>
                <a:spcPct val="0"/>
              </a:spcAft>
            </a:pPr>
            <a:r>
              <a:rPr lang="en-US" b="1">
                <a:solidFill>
                  <a:srgbClr val="000000"/>
                </a:solidFill>
              </a:rPr>
              <a:t>Targets of this session</a:t>
            </a:r>
          </a:p>
        </p:txBody>
      </p:sp>
      <p:sp>
        <p:nvSpPr>
          <p:cNvPr id="14" name="Textfeld 11"/>
          <p:cNvSpPr txBox="1"/>
          <p:nvPr userDrawn="1"/>
        </p:nvSpPr>
        <p:spPr>
          <a:xfrm>
            <a:off x="3487739" y="3950821"/>
            <a:ext cx="2232025" cy="523875"/>
          </a:xfrm>
          <a:prstGeom prst="rect">
            <a:avLst/>
          </a:prstGeom>
          <a:noFill/>
          <a:ln w="9525">
            <a:noFill/>
            <a:miter lim="800000"/>
            <a:headEnd/>
            <a:tailEnd/>
          </a:ln>
        </p:spPr>
        <p:txBody>
          <a:bodyPr lIns="0" tIns="0" bIns="0"/>
          <a:lstStyle/>
          <a:p>
            <a:pPr eaLnBrk="0" fontAlgn="base" hangingPunct="0">
              <a:spcBef>
                <a:spcPct val="0"/>
              </a:spcBef>
              <a:spcAft>
                <a:spcPts val="300"/>
              </a:spcAft>
              <a:defRPr/>
            </a:pPr>
            <a:r>
              <a:rPr lang="en-US" sz="1400" dirty="0">
                <a:solidFill>
                  <a:srgbClr val="000000"/>
                </a:solidFill>
              </a:rPr>
              <a:t>After the completion of this session you will:</a:t>
            </a:r>
          </a:p>
        </p:txBody>
      </p:sp>
      <p:sp>
        <p:nvSpPr>
          <p:cNvPr id="15" name="Textfeld 26"/>
          <p:cNvSpPr txBox="1">
            <a:spLocks noChangeArrowheads="1"/>
          </p:cNvSpPr>
          <p:nvPr userDrawn="1"/>
        </p:nvSpPr>
        <p:spPr bwMode="auto">
          <a:xfrm>
            <a:off x="6437315" y="3950822"/>
            <a:ext cx="2233613" cy="2236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bIns="0"/>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fontAlgn="base">
              <a:spcBef>
                <a:spcPct val="0"/>
              </a:spcBef>
              <a:spcAft>
                <a:spcPts val="300"/>
              </a:spcAft>
            </a:pPr>
            <a:r>
              <a:rPr lang="en-US" sz="1400" dirty="0">
                <a:solidFill>
                  <a:srgbClr val="000000"/>
                </a:solidFill>
              </a:rPr>
              <a:t>You will have approx. </a:t>
            </a:r>
            <a:br>
              <a:rPr lang="en-US" sz="1400" b="1" dirty="0">
                <a:solidFill>
                  <a:srgbClr val="000000"/>
                </a:solidFill>
              </a:rPr>
            </a:br>
            <a:r>
              <a:rPr lang="en-US" sz="1400" dirty="0">
                <a:solidFill>
                  <a:srgbClr val="000000"/>
                </a:solidFill>
              </a:rPr>
              <a:t> to complete this session.</a:t>
            </a:r>
          </a:p>
        </p:txBody>
      </p:sp>
      <p:sp>
        <p:nvSpPr>
          <p:cNvPr id="18" name="Content Placeholder 17"/>
          <p:cNvSpPr>
            <a:spLocks noGrp="1"/>
          </p:cNvSpPr>
          <p:nvPr>
            <p:ph sz="quarter" idx="15" hasCustomPrompt="1"/>
          </p:nvPr>
        </p:nvSpPr>
        <p:spPr>
          <a:xfrm>
            <a:off x="8136520" y="3950822"/>
            <a:ext cx="1002717" cy="261937"/>
          </a:xfrm>
        </p:spPr>
        <p:txBody>
          <a:bodyPr/>
          <a:lstStyle>
            <a:lvl1pPr>
              <a:defRPr sz="1400" b="1"/>
            </a:lvl1pPr>
          </a:lstStyle>
          <a:p>
            <a:pPr lvl="0"/>
            <a:r>
              <a:rPr lang="en-US" dirty="0"/>
              <a:t>4 h</a:t>
            </a:r>
          </a:p>
        </p:txBody>
      </p:sp>
      <p:sp>
        <p:nvSpPr>
          <p:cNvPr id="22" name="Text Placeholder 21"/>
          <p:cNvSpPr>
            <a:spLocks noGrp="1"/>
          </p:cNvSpPr>
          <p:nvPr>
            <p:ph type="body" sz="quarter" idx="16"/>
          </p:nvPr>
        </p:nvSpPr>
        <p:spPr>
          <a:xfrm>
            <a:off x="471488" y="4427071"/>
            <a:ext cx="2224088" cy="1881305"/>
          </a:xfrm>
        </p:spPr>
        <p:txBody>
          <a:bodyPr/>
          <a:lstStyle>
            <a:lvl1pPr marL="266700" indent="-180975">
              <a:buClr>
                <a:schemeClr val="accent6"/>
              </a:buClr>
              <a:buFont typeface="Arial" pitchFamily="34" charset="0"/>
              <a:buChar char="•"/>
              <a:tabLst/>
              <a:defRPr sz="1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 name="Text Placeholder 21"/>
          <p:cNvSpPr>
            <a:spLocks noGrp="1"/>
          </p:cNvSpPr>
          <p:nvPr>
            <p:ph type="body" sz="quarter" idx="17"/>
          </p:nvPr>
        </p:nvSpPr>
        <p:spPr>
          <a:xfrm>
            <a:off x="3455194" y="4415959"/>
            <a:ext cx="2224088" cy="1892766"/>
          </a:xfrm>
        </p:spPr>
        <p:txBody>
          <a:bodyPr/>
          <a:lstStyle>
            <a:lvl1pPr marL="266700" indent="-180975">
              <a:buClr>
                <a:schemeClr val="accent6"/>
              </a:buClr>
              <a:buFont typeface="Arial" pitchFamily="34" charset="0"/>
              <a:buChar char="•"/>
              <a:tabLst/>
              <a:defRPr sz="1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3"/>
          <p:cNvSpPr>
            <a:spLocks noGrp="1"/>
          </p:cNvSpPr>
          <p:nvPr>
            <p:ph type="title" hasCustomPrompt="1"/>
          </p:nvPr>
        </p:nvSpPr>
        <p:spPr>
          <a:xfrm>
            <a:off x="466725" y="307975"/>
            <a:ext cx="7346950" cy="941388"/>
          </a:xfrm>
        </p:spPr>
        <p:txBody>
          <a:bodyPr/>
          <a:lstStyle>
            <a:lvl1pPr>
              <a:defRPr baseline="0"/>
            </a:lvl1pPr>
          </a:lstStyle>
          <a:p>
            <a:r>
              <a:rPr lang="en-US" dirty="0"/>
              <a:t>Content and Targets</a:t>
            </a:r>
          </a:p>
        </p:txBody>
      </p:sp>
    </p:spTree>
    <p:custDataLst>
      <p:tags r:id="rId1"/>
    </p:custDataLst>
    <p:extLst>
      <p:ext uri="{BB962C8B-B14F-4D97-AF65-F5344CB8AC3E}">
        <p14:creationId xmlns:p14="http://schemas.microsoft.com/office/powerpoint/2010/main" val="96359013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noProof="0"/>
              <a:t>Click to edit Master title style</a:t>
            </a:r>
            <a:endParaRPr lang="en-US" noProof="0" dirty="0"/>
          </a:p>
        </p:txBody>
      </p:sp>
      <p:sp>
        <p:nvSpPr>
          <p:cNvPr id="6"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9F4B1DFA-0D15-40EE-B752-AB637DA4CBB5}" type="datetime1">
              <a:rPr lang="de-DE" smtClean="0">
                <a:solidFill>
                  <a:srgbClr val="000000"/>
                </a:solidFill>
              </a:rPr>
              <a:pPr/>
              <a:t>28.02.2019</a:t>
            </a:fld>
            <a:endParaRPr lang="en-US" dirty="0">
              <a:solidFill>
                <a:srgbClr val="000000"/>
              </a:solidFill>
            </a:endParaRPr>
          </a:p>
        </p:txBody>
      </p:sp>
      <p:sp>
        <p:nvSpPr>
          <p:cNvPr id="7"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a:solidFill>
                  <a:srgbClr val="000000"/>
                </a:solidFill>
              </a:rPr>
              <a:t>Carl Zeiss Microscopy</a:t>
            </a:r>
            <a:endParaRPr lang="en-US" dirty="0">
              <a:solidFill>
                <a:srgbClr val="000000"/>
              </a:solidFill>
            </a:endParaRPr>
          </a:p>
        </p:txBody>
      </p:sp>
      <p:sp>
        <p:nvSpPr>
          <p:cNvPr id="4" name="Text Placeholder 3"/>
          <p:cNvSpPr>
            <a:spLocks noGrp="1"/>
          </p:cNvSpPr>
          <p:nvPr>
            <p:ph type="body" sz="quarter" idx="13"/>
          </p:nvPr>
        </p:nvSpPr>
        <p:spPr>
          <a:xfrm>
            <a:off x="465138" y="2324025"/>
            <a:ext cx="360000" cy="331200"/>
          </a:xfrm>
          <a:solidFill>
            <a:srgbClr val="3B76B1"/>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rIns="0" anchor="ctr"/>
          <a:lstStyle>
            <a:lvl1pPr algn="ctr">
              <a:defRPr kumimoji="0" lang="en-US" sz="1800" b="1" i="0" u="none" strike="noStrike" kern="0" cap="none" spc="0" normalizeH="0" baseline="0" dirty="0" smtClean="0">
                <a:ln>
                  <a:noFill/>
                </a:ln>
                <a:solidFill>
                  <a:srgbClr val="FFFFFF"/>
                </a:solidFill>
                <a:effectLst/>
                <a:uLnTx/>
                <a:uFillTx/>
                <a:latin typeface="Arial" charset="0"/>
              </a:defRPr>
            </a:lvl1pPr>
            <a:lvl2pPr>
              <a:defRPr lang="en-US" kern="1200" dirty="0" smtClean="0">
                <a:latin typeface="Arial" charset="0"/>
                <a:ea typeface="+mn-ea"/>
                <a:cs typeface="+mn-cs"/>
              </a:defRPr>
            </a:lvl2pPr>
            <a:lvl3pPr>
              <a:defRPr lang="en-US" sz="1600" kern="1200" dirty="0" smtClean="0">
                <a:latin typeface="Arial" charset="0"/>
                <a:ea typeface="+mn-ea"/>
                <a:cs typeface="+mn-cs"/>
              </a:defRPr>
            </a:lvl3pPr>
            <a:lvl4pPr>
              <a:defRPr lang="en-US" sz="1600" kern="1200" dirty="0" smtClean="0">
                <a:latin typeface="Arial" charset="0"/>
                <a:ea typeface="+mn-ea"/>
                <a:cs typeface="+mn-cs"/>
              </a:defRPr>
            </a:lvl4pPr>
            <a:lvl5pPr>
              <a:defRPr lang="en-US" sz="1600" kern="1200" dirty="0">
                <a:latin typeface="Arial" charset="0"/>
                <a:ea typeface="+mn-ea"/>
                <a:cs typeface="+mn-cs"/>
              </a:defRPr>
            </a:lvl5pPr>
          </a:lstStyle>
          <a:p>
            <a:pPr marL="0" marR="0" lvl="0" indent="0" algn="ctr" defTabSz="914400" eaLnBrk="1" fontAlgn="auto" latinLnBrk="0" hangingPunct="1">
              <a:lnSpc>
                <a:spcPct val="100000"/>
              </a:lnSpc>
              <a:spcBef>
                <a:spcPts val="0"/>
              </a:spcBef>
              <a:spcAft>
                <a:spcPts val="0"/>
              </a:spcAft>
              <a:buClrTx/>
              <a:buSzTx/>
              <a:buFontTx/>
              <a:buNone/>
              <a:tabLst/>
            </a:pPr>
            <a:r>
              <a:rPr lang="en-US"/>
              <a:t>Click to edit Master text styles</a:t>
            </a:r>
          </a:p>
        </p:txBody>
      </p:sp>
      <p:sp>
        <p:nvSpPr>
          <p:cNvPr id="15" name="Text Placeholder 14"/>
          <p:cNvSpPr>
            <a:spLocks noGrp="1"/>
          </p:cNvSpPr>
          <p:nvPr>
            <p:ph type="body" sz="quarter" idx="14"/>
          </p:nvPr>
        </p:nvSpPr>
        <p:spPr>
          <a:xfrm>
            <a:off x="941301" y="2324025"/>
            <a:ext cx="7732800" cy="331200"/>
          </a:xfrm>
          <a:solidFill>
            <a:srgbClr val="C2DEF6"/>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hlink">
                      <a:gamma/>
                      <a:shade val="60000"/>
                      <a:invGamma/>
                    </a:schemeClr>
                  </a:outerShdw>
                </a:effectLst>
              </a14:hiddenEffects>
            </a:ext>
          </a:extLst>
        </p:spPr>
        <p:txBody>
          <a:bodyPr lIns="90000" anchor="ctr"/>
          <a:lstStyle>
            <a:lvl1pPr>
              <a:defRPr kumimoji="0" lang="en-US" sz="1800" b="1" i="0" u="none" strike="noStrike" kern="0" cap="none" spc="0" normalizeH="0" baseline="0" dirty="0" smtClean="0">
                <a:ln>
                  <a:noFill/>
                </a:ln>
                <a:solidFill>
                  <a:srgbClr val="3B76B1"/>
                </a:solidFill>
                <a:effectLst/>
                <a:uLnTx/>
                <a:uFillTx/>
                <a:latin typeface="Arial" charset="0"/>
              </a:defRPr>
            </a:lvl1pPr>
            <a:lvl2pPr>
              <a:defRPr lang="en-US" kern="1200" dirty="0" smtClean="0">
                <a:latin typeface="Arial" charset="0"/>
                <a:ea typeface="+mn-ea"/>
                <a:cs typeface="+mn-cs"/>
              </a:defRPr>
            </a:lvl2pPr>
            <a:lvl3pPr>
              <a:defRPr lang="en-US" sz="1600" kern="1200" dirty="0" smtClean="0">
                <a:latin typeface="Arial" charset="0"/>
                <a:ea typeface="+mn-ea"/>
                <a:cs typeface="+mn-cs"/>
              </a:defRPr>
            </a:lvl3pPr>
            <a:lvl4pPr>
              <a:defRPr lang="en-US" sz="1600" kern="1200" dirty="0" smtClean="0">
                <a:latin typeface="Arial" charset="0"/>
                <a:ea typeface="+mn-ea"/>
                <a:cs typeface="+mn-cs"/>
              </a:defRPr>
            </a:lvl4pPr>
            <a:lvl5pPr>
              <a:defRPr lang="en-US" sz="1600" kern="1200" dirty="0">
                <a:latin typeface="Arial" charset="0"/>
                <a:ea typeface="+mn-ea"/>
                <a:cs typeface="+mn-cs"/>
              </a:defRPr>
            </a:lvl5pPr>
          </a:lstStyle>
          <a:p>
            <a:pPr marL="0" marR="0" lvl="0" indent="0" defTabSz="914400" eaLnBrk="1" fontAlgn="auto" latinLnBrk="0" hangingPunct="1">
              <a:lnSpc>
                <a:spcPct val="100000"/>
              </a:lnSpc>
              <a:spcBef>
                <a:spcPts val="0"/>
              </a:spcBef>
              <a:spcAft>
                <a:spcPts val="0"/>
              </a:spcAft>
              <a:buClrTx/>
              <a:buSzTx/>
              <a:buFontTx/>
              <a:buNone/>
              <a:tabLst/>
            </a:pPr>
            <a:r>
              <a:rPr lang="en-US"/>
              <a:t>Click to edit Master text styles</a:t>
            </a:r>
          </a:p>
        </p:txBody>
      </p:sp>
      <p:sp>
        <p:nvSpPr>
          <p:cNvPr id="16" name="Text Placeholder 3"/>
          <p:cNvSpPr>
            <a:spLocks noGrp="1"/>
          </p:cNvSpPr>
          <p:nvPr>
            <p:ph type="body" sz="quarter" idx="15"/>
          </p:nvPr>
        </p:nvSpPr>
        <p:spPr>
          <a:xfrm>
            <a:off x="465138" y="2810400"/>
            <a:ext cx="360000" cy="331200"/>
          </a:xfrm>
          <a:solidFill>
            <a:srgbClr val="B2B2B2"/>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gamma/>
                      <a:shade val="60000"/>
                      <a:invGamma/>
                    </a:schemeClr>
                  </a:outerShdw>
                </a:effectLst>
              </a14:hiddenEffects>
            </a:ext>
          </a:extLst>
        </p:spPr>
        <p:txBody>
          <a:bodyPr wrap="none" rIns="0" anchor="ctr"/>
          <a:lstStyle>
            <a:lvl1pPr algn="ctr">
              <a:defRPr kumimoji="0" lang="en-US" sz="1800" i="0" u="none" strike="noStrike" kern="0" cap="none" spc="0" normalizeH="0" baseline="0" dirty="0" smtClean="0">
                <a:ln>
                  <a:noFill/>
                </a:ln>
                <a:solidFill>
                  <a:srgbClr val="000000"/>
                </a:solidFill>
                <a:effectLst/>
                <a:uLnTx/>
                <a:uFillTx/>
                <a:latin typeface="Arial" charset="0"/>
              </a:defRPr>
            </a:lvl1pPr>
          </a:lstStyle>
          <a:p>
            <a:pPr marL="0" marR="0" lvl="0" indent="0" algn="ctr" defTabSz="914400" eaLnBrk="1" fontAlgn="auto" latinLnBrk="0" hangingPunct="1">
              <a:lnSpc>
                <a:spcPct val="100000"/>
              </a:lnSpc>
              <a:spcBef>
                <a:spcPts val="0"/>
              </a:spcBef>
              <a:spcAft>
                <a:spcPts val="0"/>
              </a:spcAft>
              <a:buClrTx/>
              <a:buSzTx/>
              <a:buFontTx/>
              <a:buNone/>
              <a:tabLst/>
            </a:pPr>
            <a:r>
              <a:rPr lang="en-US"/>
              <a:t>Click to edit Master text styles</a:t>
            </a:r>
          </a:p>
        </p:txBody>
      </p:sp>
      <p:sp>
        <p:nvSpPr>
          <p:cNvPr id="17" name="Text Placeholder 14"/>
          <p:cNvSpPr>
            <a:spLocks noGrp="1"/>
          </p:cNvSpPr>
          <p:nvPr>
            <p:ph type="body" sz="quarter" idx="16"/>
          </p:nvPr>
        </p:nvSpPr>
        <p:spPr>
          <a:xfrm>
            <a:off x="941301" y="2810400"/>
            <a:ext cx="7732800" cy="331200"/>
          </a:xfrm>
          <a:solidFill>
            <a:srgbClr val="B2B2B2"/>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gamma/>
                      <a:shade val="60000"/>
                      <a:invGamma/>
                    </a:schemeClr>
                  </a:outerShdw>
                </a:effectLst>
              </a14:hiddenEffects>
            </a:ext>
          </a:extLst>
        </p:spPr>
        <p:txBody>
          <a:bodyPr lIns="90000" anchor="ctr"/>
          <a:lstStyle>
            <a:lvl1pPr>
              <a:defRPr kumimoji="0" lang="en-US" sz="1800" b="0" i="0" u="none" strike="noStrike" kern="0" cap="none" spc="0" normalizeH="0" baseline="0" dirty="0" smtClean="0">
                <a:ln>
                  <a:noFill/>
                </a:ln>
                <a:solidFill>
                  <a:sysClr val="windowText" lastClr="000000"/>
                </a:solidFill>
                <a:effectLst/>
                <a:uLnTx/>
                <a:uFillTx/>
                <a:latin typeface="Arial" charset="0"/>
              </a:defRPr>
            </a:lvl1pPr>
          </a:lstStyle>
          <a:p>
            <a:pPr marL="0" marR="0" lvl="0" indent="0" defTabSz="914400" eaLnBrk="1" fontAlgn="auto" latinLnBrk="0" hangingPunct="1">
              <a:lnSpc>
                <a:spcPct val="100000"/>
              </a:lnSpc>
              <a:spcBef>
                <a:spcPts val="0"/>
              </a:spcBef>
              <a:spcAft>
                <a:spcPts val="0"/>
              </a:spcAft>
              <a:buClrTx/>
              <a:buSzTx/>
              <a:buFontTx/>
              <a:buNone/>
              <a:tabLst/>
            </a:pPr>
            <a:r>
              <a:rPr lang="en-US"/>
              <a:t>Click to edit Master text styles</a:t>
            </a:r>
          </a:p>
        </p:txBody>
      </p:sp>
    </p:spTree>
    <p:custDataLst>
      <p:tags r:id="rId1"/>
    </p:custDataLst>
    <p:extLst>
      <p:ext uri="{BB962C8B-B14F-4D97-AF65-F5344CB8AC3E}">
        <p14:creationId xmlns:p14="http://schemas.microsoft.com/office/powerpoint/2010/main" val="104223340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3" name="Content Placeholder 2"/>
          <p:cNvSpPr>
            <a:spLocks noGrp="1"/>
          </p:cNvSpPr>
          <p:nvPr>
            <p:ph idx="1"/>
          </p:nvPr>
        </p:nvSpPr>
        <p:spPr>
          <a:xfrm>
            <a:off x="466725" y="1716088"/>
            <a:ext cx="8215853" cy="45974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49AA9D40-FA77-449C-8A3A-C59C9EB13C4B}" type="datetime1">
              <a:rPr lang="de-DE" smtClean="0">
                <a:solidFill>
                  <a:srgbClr val="000000"/>
                </a:solidFill>
              </a:rPr>
              <a:pPr/>
              <a:t>28.02.2019</a:t>
            </a:fld>
            <a:endParaRPr lang="en-US" dirty="0">
              <a:solidFill>
                <a:srgbClr val="000000"/>
              </a:solidFill>
            </a:endParaRPr>
          </a:p>
        </p:txBody>
      </p:sp>
      <p:sp>
        <p:nvSpPr>
          <p:cNvPr id="6"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a:solidFill>
                  <a:srgbClr val="000000"/>
                </a:solidFill>
              </a:rPr>
              <a:t>Carl Zeiss Microscopy</a:t>
            </a:r>
            <a:endParaRPr lang="en-US" dirty="0">
              <a:solidFill>
                <a:srgbClr val="000000"/>
              </a:solidFill>
            </a:endParaRPr>
          </a:p>
        </p:txBody>
      </p:sp>
    </p:spTree>
    <p:custDataLst>
      <p:tags r:id="rId1"/>
    </p:custDataLst>
    <p:extLst>
      <p:ext uri="{BB962C8B-B14F-4D97-AF65-F5344CB8AC3E}">
        <p14:creationId xmlns:p14="http://schemas.microsoft.com/office/powerpoint/2010/main" val="257282441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Image as Illustra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3" name="Content Placeholder 2"/>
          <p:cNvSpPr>
            <a:spLocks noGrp="1"/>
          </p:cNvSpPr>
          <p:nvPr>
            <p:ph idx="1"/>
          </p:nvPr>
        </p:nvSpPr>
        <p:spPr>
          <a:xfrm>
            <a:off x="466725" y="1716088"/>
            <a:ext cx="5726113" cy="4597399"/>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76F31833-8DC8-4D32-9383-80A9D621F6FB}" type="datetime1">
              <a:rPr lang="de-DE" smtClean="0">
                <a:solidFill>
                  <a:srgbClr val="000000"/>
                </a:solidFill>
              </a:rPr>
              <a:pPr/>
              <a:t>28.02.2019</a:t>
            </a:fld>
            <a:endParaRPr lang="en-US" dirty="0">
              <a:solidFill>
                <a:srgbClr val="000000"/>
              </a:solidFill>
            </a:endParaRPr>
          </a:p>
        </p:txBody>
      </p:sp>
      <p:sp>
        <p:nvSpPr>
          <p:cNvPr id="6"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a:solidFill>
                  <a:srgbClr val="000000"/>
                </a:solidFill>
              </a:rPr>
              <a:t>Carl Zeiss Microscopy</a:t>
            </a:r>
            <a:endParaRPr lang="en-US" dirty="0">
              <a:solidFill>
                <a:srgbClr val="000000"/>
              </a:solidFill>
            </a:endParaRPr>
          </a:p>
        </p:txBody>
      </p:sp>
    </p:spTree>
    <p:custDataLst>
      <p:tags r:id="rId1"/>
    </p:custDataLst>
    <p:extLst>
      <p:ext uri="{BB962C8B-B14F-4D97-AF65-F5344CB8AC3E}">
        <p14:creationId xmlns:p14="http://schemas.microsoft.com/office/powerpoint/2010/main" val="60740313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Workflow">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3" name="Content Placeholder 2"/>
          <p:cNvSpPr>
            <a:spLocks noGrp="1"/>
          </p:cNvSpPr>
          <p:nvPr>
            <p:ph idx="1"/>
          </p:nvPr>
        </p:nvSpPr>
        <p:spPr>
          <a:xfrm>
            <a:off x="466725" y="1716088"/>
            <a:ext cx="8215853" cy="4597399"/>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549C9473-11EE-4190-AEFB-C0616881BC0E}" type="datetime1">
              <a:rPr lang="de-DE" smtClean="0">
                <a:solidFill>
                  <a:srgbClr val="000000"/>
                </a:solidFill>
              </a:rPr>
              <a:pPr/>
              <a:t>28.02.2019</a:t>
            </a:fld>
            <a:endParaRPr lang="en-US" dirty="0">
              <a:solidFill>
                <a:srgbClr val="000000"/>
              </a:solidFill>
            </a:endParaRPr>
          </a:p>
        </p:txBody>
      </p:sp>
      <p:sp>
        <p:nvSpPr>
          <p:cNvPr id="6"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a:solidFill>
                  <a:srgbClr val="000000"/>
                </a:solidFill>
              </a:rPr>
              <a:t>Carl Zeiss Microscopy</a:t>
            </a:r>
            <a:endParaRPr lang="en-US" dirty="0">
              <a:solidFill>
                <a:srgbClr val="000000"/>
              </a:solidFill>
            </a:endParaRPr>
          </a:p>
        </p:txBody>
      </p:sp>
      <p:sp>
        <p:nvSpPr>
          <p:cNvPr id="9" name="tk_3"/>
          <p:cNvSpPr>
            <a:spLocks noChangeArrowheads="1"/>
          </p:cNvSpPr>
          <p:nvPr userDrawn="1">
            <p:custDataLst>
              <p:tags r:id="rId2"/>
            </p:custDataLst>
          </p:nvPr>
        </p:nvSpPr>
        <p:spPr bwMode="auto">
          <a:xfrm rot="16200000">
            <a:off x="-320675" y="585788"/>
            <a:ext cx="993775" cy="358775"/>
          </a:xfrm>
          <a:prstGeom prst="rect">
            <a:avLst/>
          </a:prstGeom>
          <a:solidFill>
            <a:srgbClr val="0000BE"/>
          </a:solidFill>
          <a:ln>
            <a:noFill/>
          </a:ln>
          <a:effectLst/>
          <a:extLst/>
        </p:spPr>
        <p:txBody>
          <a:bodyPr wrap="none" lIns="72000" tIns="73605" rIns="72000" bIns="73605" anchor="ctr"/>
          <a:lstStyle/>
          <a:p>
            <a:pPr algn="ctr" defTabSz="935038" eaLnBrk="0" fontAlgn="base" hangingPunct="0">
              <a:spcBef>
                <a:spcPct val="0"/>
              </a:spcBef>
              <a:spcAft>
                <a:spcPct val="0"/>
              </a:spcAft>
            </a:pPr>
            <a:r>
              <a:rPr lang="de-DE" sz="1400" dirty="0">
                <a:solidFill>
                  <a:srgbClr val="FFFFFF"/>
                </a:solidFill>
              </a:rPr>
              <a:t>Workflow</a:t>
            </a:r>
          </a:p>
        </p:txBody>
      </p:sp>
    </p:spTree>
    <p:custDataLst>
      <p:tags r:id="rId1"/>
    </p:custDataLst>
    <p:extLst>
      <p:ext uri="{BB962C8B-B14F-4D97-AF65-F5344CB8AC3E}">
        <p14:creationId xmlns:p14="http://schemas.microsoft.com/office/powerpoint/2010/main" val="384143572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Exercis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3" name="Content Placeholder 2"/>
          <p:cNvSpPr>
            <a:spLocks noGrp="1"/>
          </p:cNvSpPr>
          <p:nvPr>
            <p:ph idx="1"/>
          </p:nvPr>
        </p:nvSpPr>
        <p:spPr>
          <a:xfrm>
            <a:off x="466725" y="1716089"/>
            <a:ext cx="5726113" cy="4597399"/>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60507D03-95FE-4A82-BCFC-380DE404450A}" type="datetime1">
              <a:rPr lang="de-DE" smtClean="0">
                <a:solidFill>
                  <a:srgbClr val="000000"/>
                </a:solidFill>
              </a:rPr>
              <a:pPr/>
              <a:t>28.02.2019</a:t>
            </a:fld>
            <a:endParaRPr lang="en-US" dirty="0">
              <a:solidFill>
                <a:srgbClr val="000000"/>
              </a:solidFill>
            </a:endParaRPr>
          </a:p>
        </p:txBody>
      </p:sp>
      <p:sp>
        <p:nvSpPr>
          <p:cNvPr id="6"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a:solidFill>
                  <a:srgbClr val="000000"/>
                </a:solidFill>
              </a:rPr>
              <a:t>Carl Zeiss Microscopy</a:t>
            </a:r>
            <a:endParaRPr lang="en-US" dirty="0">
              <a:solidFill>
                <a:srgbClr val="000000"/>
              </a:solidFill>
            </a:endParaRPr>
          </a:p>
        </p:txBody>
      </p:sp>
      <p:sp>
        <p:nvSpPr>
          <p:cNvPr id="10" name="Text Placeholder 9"/>
          <p:cNvSpPr>
            <a:spLocks noGrp="1"/>
          </p:cNvSpPr>
          <p:nvPr>
            <p:ph type="body" sz="quarter" idx="13"/>
          </p:nvPr>
        </p:nvSpPr>
        <p:spPr>
          <a:xfrm>
            <a:off x="6192838" y="1716088"/>
            <a:ext cx="2501900" cy="4597399"/>
          </a:xfrm>
          <a:solidFill>
            <a:schemeClr val="bg1">
              <a:lumMod val="85000"/>
            </a:schemeClr>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k_3"/>
          <p:cNvSpPr>
            <a:spLocks noChangeArrowheads="1"/>
          </p:cNvSpPr>
          <p:nvPr userDrawn="1">
            <p:custDataLst>
              <p:tags r:id="rId2"/>
            </p:custDataLst>
          </p:nvPr>
        </p:nvSpPr>
        <p:spPr bwMode="auto">
          <a:xfrm rot="16200000">
            <a:off x="-320675" y="585788"/>
            <a:ext cx="993775" cy="358775"/>
          </a:xfrm>
          <a:prstGeom prst="rect">
            <a:avLst/>
          </a:prstGeom>
          <a:solidFill>
            <a:srgbClr val="92D050"/>
          </a:solidFill>
          <a:ln>
            <a:noFill/>
          </a:ln>
          <a:effectLst/>
          <a:extLst/>
        </p:spPr>
        <p:txBody>
          <a:bodyPr wrap="none" lIns="72000" tIns="73605" rIns="72000" bIns="73605" anchor="ctr"/>
          <a:lstStyle/>
          <a:p>
            <a:pPr algn="ctr" defTabSz="935038" eaLnBrk="0" fontAlgn="base" hangingPunct="0">
              <a:spcBef>
                <a:spcPct val="0"/>
              </a:spcBef>
              <a:spcAft>
                <a:spcPct val="0"/>
              </a:spcAft>
            </a:pPr>
            <a:r>
              <a:rPr lang="de-DE" sz="1400" dirty="0" err="1">
                <a:solidFill>
                  <a:srgbClr val="FFFFFF"/>
                </a:solidFill>
              </a:rPr>
              <a:t>Exercise</a:t>
            </a:r>
            <a:endParaRPr lang="de-DE" sz="1400" dirty="0">
              <a:solidFill>
                <a:srgbClr val="FFFFFF"/>
              </a:solidFill>
            </a:endParaRPr>
          </a:p>
        </p:txBody>
      </p:sp>
    </p:spTree>
    <p:custDataLst>
      <p:tags r:id="rId1"/>
    </p:custDataLst>
    <p:extLst>
      <p:ext uri="{BB962C8B-B14F-4D97-AF65-F5344CB8AC3E}">
        <p14:creationId xmlns:p14="http://schemas.microsoft.com/office/powerpoint/2010/main" val="207123028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Text &amp; Screensho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3" name="Content Placeholder 2"/>
          <p:cNvSpPr>
            <a:spLocks noGrp="1"/>
          </p:cNvSpPr>
          <p:nvPr>
            <p:ph idx="1"/>
          </p:nvPr>
        </p:nvSpPr>
        <p:spPr>
          <a:xfrm>
            <a:off x="5580114" y="1716088"/>
            <a:ext cx="3102467" cy="4592637"/>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3DF2A35E-7727-40E7-A842-252EEC54D771}" type="datetime1">
              <a:rPr lang="de-DE" smtClean="0">
                <a:solidFill>
                  <a:srgbClr val="000000"/>
                </a:solidFill>
              </a:rPr>
              <a:pPr/>
              <a:t>28.02.2019</a:t>
            </a:fld>
            <a:endParaRPr lang="en-US" dirty="0">
              <a:solidFill>
                <a:srgbClr val="000000"/>
              </a:solidFill>
            </a:endParaRPr>
          </a:p>
        </p:txBody>
      </p:sp>
      <p:sp>
        <p:nvSpPr>
          <p:cNvPr id="6"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a:solidFill>
                  <a:srgbClr val="000000"/>
                </a:solidFill>
              </a:rPr>
              <a:t>Carl Zeiss Microscopy</a:t>
            </a:r>
            <a:endParaRPr lang="en-US" dirty="0">
              <a:solidFill>
                <a:srgbClr val="000000"/>
              </a:solidFill>
            </a:endParaRPr>
          </a:p>
        </p:txBody>
      </p:sp>
    </p:spTree>
    <p:custDataLst>
      <p:tags r:id="rId1"/>
    </p:custDataLst>
    <p:extLst>
      <p:ext uri="{BB962C8B-B14F-4D97-AF65-F5344CB8AC3E}">
        <p14:creationId xmlns:p14="http://schemas.microsoft.com/office/powerpoint/2010/main" val="119068636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p:spPr>
        <p:txBody>
          <a:bodyPr/>
          <a:lstStyle>
            <a:lvl1pPr algn="l">
              <a:defRPr sz="4000" b="1" cap="all"/>
            </a:lvl1pPr>
          </a:lstStyle>
          <a:p>
            <a:r>
              <a:rPr lang="en-US" noProof="0"/>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noProof="0"/>
              <a:t>Click to edit Master text styles</a:t>
            </a:r>
          </a:p>
        </p:txBody>
      </p:sp>
      <p:sp>
        <p:nvSpPr>
          <p:cNvPr id="5"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37B35515-F710-4814-A6C9-4443F77B45B2}" type="datetime1">
              <a:rPr lang="de-DE" smtClean="0">
                <a:solidFill>
                  <a:srgbClr val="000000"/>
                </a:solidFill>
              </a:rPr>
              <a:pPr/>
              <a:t>28.02.2019</a:t>
            </a:fld>
            <a:endParaRPr lang="en-US" dirty="0">
              <a:solidFill>
                <a:srgbClr val="000000"/>
              </a:solidFill>
            </a:endParaRPr>
          </a:p>
        </p:txBody>
      </p:sp>
      <p:sp>
        <p:nvSpPr>
          <p:cNvPr id="6"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a:solidFill>
                  <a:srgbClr val="000000"/>
                </a:solidFill>
              </a:rPr>
              <a:t>Carl Zeiss Microscopy</a:t>
            </a:r>
            <a:endParaRPr lang="en-US" dirty="0">
              <a:solidFill>
                <a:srgbClr val="000000"/>
              </a:solidFill>
            </a:endParaRPr>
          </a:p>
        </p:txBody>
      </p:sp>
    </p:spTree>
    <p:custDataLst>
      <p:tags r:id="rId1"/>
    </p:custDataLst>
    <p:extLst>
      <p:ext uri="{BB962C8B-B14F-4D97-AF65-F5344CB8AC3E}">
        <p14:creationId xmlns:p14="http://schemas.microsoft.com/office/powerpoint/2010/main" val="192523951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6"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52B172C9-1107-473F-80AD-7C13746206A9}" type="datetime1">
              <a:rPr lang="de-DE" smtClean="0">
                <a:solidFill>
                  <a:srgbClr val="000000"/>
                </a:solidFill>
              </a:rPr>
              <a:pPr/>
              <a:t>28.02.2019</a:t>
            </a:fld>
            <a:endParaRPr lang="en-US" dirty="0">
              <a:solidFill>
                <a:srgbClr val="000000"/>
              </a:solidFill>
            </a:endParaRPr>
          </a:p>
        </p:txBody>
      </p:sp>
      <p:sp>
        <p:nvSpPr>
          <p:cNvPr id="7"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8"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a:solidFill>
                  <a:srgbClr val="000000"/>
                </a:solidFill>
              </a:rPr>
              <a:t>Carl Zeiss Microscopy</a:t>
            </a:r>
            <a:endParaRPr lang="en-US" dirty="0">
              <a:solidFill>
                <a:srgbClr val="000000"/>
              </a:solidFill>
            </a:endParaRPr>
          </a:p>
        </p:txBody>
      </p:sp>
    </p:spTree>
    <p:custDataLst>
      <p:tags r:id="rId1"/>
    </p:custDataLst>
    <p:extLst>
      <p:ext uri="{BB962C8B-B14F-4D97-AF65-F5344CB8AC3E}">
        <p14:creationId xmlns:p14="http://schemas.microsoft.com/office/powerpoint/2010/main" val="14794494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F765975-A351-42C2-A247-B41DB5844E41}" type="datetimeFigureOut">
              <a:rPr lang="en-US" smtClean="0">
                <a:solidFill>
                  <a:prstClr val="black">
                    <a:tint val="75000"/>
                  </a:prstClr>
                </a:solidFill>
              </a:rPr>
              <a:pPr/>
              <a:t>2/28/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9582758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8" name="Date Placeholder 3"/>
          <p:cNvSpPr>
            <a:spLocks noGrp="1"/>
          </p:cNvSpPr>
          <p:nvPr>
            <p:ph type="dt" sz="half" idx="10"/>
          </p:nvPr>
        </p:nvSpPr>
        <p:spPr>
          <a:xfrm>
            <a:off x="6448425" y="6643689"/>
            <a:ext cx="1117600" cy="160337"/>
          </a:xfrm>
          <a:prstGeom prst="rect">
            <a:avLst/>
          </a:prstGeom>
        </p:spPr>
        <p:txBody>
          <a:bodyPr anchor="ctr"/>
          <a:lstStyle>
            <a:lvl1pPr algn="l">
              <a:defRPr sz="800"/>
            </a:lvl1pPr>
          </a:lstStyle>
          <a:p>
            <a:fld id="{4ACC9507-8E20-4CA3-A343-B4E0F4836DCA}" type="datetime1">
              <a:rPr lang="de-DE" smtClean="0">
                <a:solidFill>
                  <a:srgbClr val="000000"/>
                </a:solidFill>
              </a:rPr>
              <a:pPr/>
              <a:t>28.02.2019</a:t>
            </a:fld>
            <a:endParaRPr lang="en-US" dirty="0">
              <a:solidFill>
                <a:srgbClr val="000000"/>
              </a:solidFill>
            </a:endParaRPr>
          </a:p>
        </p:txBody>
      </p:sp>
      <p:sp>
        <p:nvSpPr>
          <p:cNvPr id="9" name="Slide Number Placeholder 4"/>
          <p:cNvSpPr>
            <a:spLocks noGrp="1"/>
          </p:cNvSpPr>
          <p:nvPr>
            <p:ph type="sldNum" sz="quarter" idx="11"/>
          </p:nvPr>
        </p:nvSpPr>
        <p:spPr>
          <a:xfrm>
            <a:off x="8142579" y="6643688"/>
            <a:ext cx="540000" cy="161925"/>
          </a:xfrm>
          <a:prstGeom prst="rect">
            <a:avLst/>
          </a:prstGeom>
        </p:spPr>
        <p:txBody>
          <a:bodyPr anchor="ctr"/>
          <a:lstStyle>
            <a:lvl1pPr algn="r">
              <a:defRPr sz="800"/>
            </a:lvl1pPr>
          </a:lstStyle>
          <a:p>
            <a:pPr eaLnBrk="0" fontAlgn="base" hangingPunct="0">
              <a:spcBef>
                <a:spcPct val="0"/>
              </a:spcBef>
              <a:spcAft>
                <a:spcPct val="0"/>
              </a:spcAft>
            </a:pPr>
            <a:fld id="{8205D155-24A6-4D1A-8D30-537BB875DDDF}" type="slidenum">
              <a:rPr lang="en-US" smtClean="0">
                <a:solidFill>
                  <a:srgbClr val="000000"/>
                </a:solidFill>
              </a:rPr>
              <a:pPr eaLnBrk="0" fontAlgn="base" hangingPunct="0">
                <a:spcBef>
                  <a:spcPct val="0"/>
                </a:spcBef>
                <a:spcAft>
                  <a:spcPct val="0"/>
                </a:spcAft>
              </a:pPr>
              <a:t>‹#›</a:t>
            </a:fld>
            <a:endParaRPr lang="en-US">
              <a:solidFill>
                <a:srgbClr val="000000"/>
              </a:solidFill>
            </a:endParaRPr>
          </a:p>
        </p:txBody>
      </p:sp>
      <p:sp>
        <p:nvSpPr>
          <p:cNvPr id="10" name="Footer Placeholder 5"/>
          <p:cNvSpPr>
            <a:spLocks noGrp="1"/>
          </p:cNvSpPr>
          <p:nvPr>
            <p:ph type="ftr" sz="quarter" idx="12"/>
          </p:nvPr>
        </p:nvSpPr>
        <p:spPr>
          <a:xfrm>
            <a:off x="466725" y="6643688"/>
            <a:ext cx="5702300" cy="161925"/>
          </a:xfrm>
          <a:prstGeom prst="rect">
            <a:avLst/>
          </a:prstGeom>
        </p:spPr>
        <p:txBody>
          <a:bodyPr anchor="ctr"/>
          <a:lstStyle>
            <a:lvl1pPr algn="l">
              <a:defRPr/>
            </a:lvl1pPr>
          </a:lstStyle>
          <a:p>
            <a:r>
              <a:rPr lang="en-US">
                <a:solidFill>
                  <a:srgbClr val="000000"/>
                </a:solidFill>
              </a:rPr>
              <a:t>Carl Zeiss Microscopy</a:t>
            </a:r>
            <a:endParaRPr lang="en-US" dirty="0">
              <a:solidFill>
                <a:srgbClr val="000000"/>
              </a:solidFill>
            </a:endParaRPr>
          </a:p>
        </p:txBody>
      </p:sp>
    </p:spTree>
    <p:custDataLst>
      <p:tags r:id="rId1"/>
    </p:custDataLst>
    <p:extLst>
      <p:ext uri="{BB962C8B-B14F-4D97-AF65-F5344CB8AC3E}">
        <p14:creationId xmlns:p14="http://schemas.microsoft.com/office/powerpoint/2010/main" val="127710355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Last Slide Standard">
    <p:spTree>
      <p:nvGrpSpPr>
        <p:cNvPr id="1" name=""/>
        <p:cNvGrpSpPr/>
        <p:nvPr/>
      </p:nvGrpSpPr>
      <p:grpSpPr>
        <a:xfrm>
          <a:off x="0" y="0"/>
          <a:ext cx="0" cy="0"/>
          <a:chOff x="0" y="0"/>
          <a:chExt cx="0" cy="0"/>
        </a:xfrm>
      </p:grpSpPr>
      <p:sp>
        <p:nvSpPr>
          <p:cNvPr id="7" name="Rectangle 6"/>
          <p:cNvSpPr/>
          <p:nvPr userDrawn="1"/>
        </p:nvSpPr>
        <p:spPr bwMode="auto">
          <a:xfrm>
            <a:off x="0" y="-10779"/>
            <a:ext cx="9144000" cy="6868779"/>
          </a:xfrm>
          <a:prstGeom prst="rect">
            <a:avLst/>
          </a:prstGeom>
          <a:solidFill>
            <a:srgbClr val="FFFFFD"/>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pic>
        <p:nvPicPr>
          <p:cNvPr id="6" name="Picture 48" descr="Logo_mit_Claim_transp"/>
          <p:cNvPicPr>
            <a:picLocks noChangeAspect="1" noChangeArrowheads="1"/>
          </p:cNvPicPr>
          <p:nvPr userDrawn="1">
            <p:custDataLst>
              <p:tags r:id="rId2"/>
            </p:custDataLst>
          </p:nvPr>
        </p:nvPicPr>
        <p:blipFill>
          <a:blip r:embed="rId4" cstate="print">
            <a:extLst>
              <a:ext uri="{28A0092B-C50C-407E-A947-70E740481C1C}">
                <a14:useLocalDpi xmlns:a14="http://schemas.microsoft.com/office/drawing/2010/main" val="0"/>
              </a:ext>
            </a:extLst>
          </a:blip>
          <a:srcRect/>
          <a:stretch>
            <a:fillRect/>
          </a:stretch>
        </p:blipFill>
        <p:spPr bwMode="auto">
          <a:xfrm>
            <a:off x="3416302" y="2193925"/>
            <a:ext cx="2308225" cy="1949451"/>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3847047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Last Slide Animated">
    <p:spTree>
      <p:nvGrpSpPr>
        <p:cNvPr id="1" name=""/>
        <p:cNvGrpSpPr/>
        <p:nvPr/>
      </p:nvGrpSpPr>
      <p:grpSpPr>
        <a:xfrm>
          <a:off x="0" y="0"/>
          <a:ext cx="0" cy="0"/>
          <a:chOff x="0" y="0"/>
          <a:chExt cx="0" cy="0"/>
        </a:xfrm>
      </p:grpSpPr>
      <p:sp>
        <p:nvSpPr>
          <p:cNvPr id="8" name="Rectangle 7"/>
          <p:cNvSpPr/>
          <p:nvPr userDrawn="1"/>
        </p:nvSpPr>
        <p:spPr bwMode="auto">
          <a:xfrm>
            <a:off x="0" y="-10779"/>
            <a:ext cx="9144000" cy="6868779"/>
          </a:xfrm>
          <a:prstGeom prst="rect">
            <a:avLst/>
          </a:prstGeom>
          <a:solidFill>
            <a:srgbClr val="FFFFFD"/>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pic>
        <p:nvPicPr>
          <p:cNvPr id="5" name="Picture 4" descr="Logo_mit_Claim_transp"/>
          <p:cNvPicPr>
            <a:picLocks noChangeAspect="1" noChangeArrowheads="1"/>
          </p:cNvPicPr>
          <p:nvPr userDrawn="1">
            <p:custDataLst>
              <p:tags r:id="rId2"/>
            </p:custDataLst>
          </p:nvPr>
        </p:nvPicPr>
        <p:blipFill rotWithShape="1">
          <a:blip r:embed="rId6" cstate="print">
            <a:extLst>
              <a:ext uri="{28A0092B-C50C-407E-A947-70E740481C1C}">
                <a14:useLocalDpi xmlns:a14="http://schemas.microsoft.com/office/drawing/2010/main" val="0"/>
              </a:ext>
            </a:extLst>
          </a:blip>
          <a:srcRect/>
          <a:stretch/>
        </p:blipFill>
        <p:spPr bwMode="gray">
          <a:xfrm>
            <a:off x="3417888" y="2454276"/>
            <a:ext cx="2311050" cy="1593850"/>
          </a:xfrm>
          <a:prstGeom prst="rect">
            <a:avLst/>
          </a:prstGeom>
          <a:noFill/>
          <a:ln>
            <a:noFill/>
          </a:ln>
        </p:spPr>
      </p:pic>
      <p:pic>
        <p:nvPicPr>
          <p:cNvPr id="6" name="Picture 2"/>
          <p:cNvPicPr>
            <a:picLocks noChangeAspect="1" noChangeArrowheads="1"/>
          </p:cNvPicPr>
          <p:nvPr userDrawn="1">
            <p:custDataLst>
              <p:tags r:id="rId3"/>
            </p:custDataLst>
          </p:nvPr>
        </p:nvPicPr>
        <p:blipFill rotWithShape="1">
          <a:blip r:embed="rId7" cstate="print">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val="0"/>
              </a:ext>
            </a:extLst>
          </a:blip>
          <a:srcRect/>
          <a:stretch/>
        </p:blipFill>
        <p:spPr bwMode="gray">
          <a:xfrm>
            <a:off x="2999956" y="2100987"/>
            <a:ext cx="3146425" cy="18328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4" descr="Logo_mit_Claim_transp"/>
          <p:cNvPicPr>
            <a:picLocks noChangeAspect="1" noChangeArrowheads="1"/>
          </p:cNvPicPr>
          <p:nvPr userDrawn="1">
            <p:custDataLst>
              <p:tags r:id="rId4"/>
            </p:custDataLst>
          </p:nvPr>
        </p:nvPicPr>
        <p:blipFill rotWithShape="1">
          <a:blip r:embed="rId9" cstate="print">
            <a:extLst>
              <a:ext uri="{28A0092B-C50C-407E-A947-70E740481C1C}">
                <a14:useLocalDpi xmlns:a14="http://schemas.microsoft.com/office/drawing/2010/main" val="0"/>
              </a:ext>
            </a:extLst>
          </a:blip>
          <a:srcRect b="-18492"/>
          <a:stretch/>
        </p:blipFill>
        <p:spPr bwMode="gray">
          <a:xfrm>
            <a:off x="3417888" y="4257092"/>
            <a:ext cx="2311050" cy="323850"/>
          </a:xfrm>
          <a:prstGeom prst="rect">
            <a:avLst/>
          </a:prstGeom>
          <a:noFill/>
          <a:ln>
            <a:noFill/>
          </a:ln>
        </p:spPr>
      </p:pic>
    </p:spTree>
    <p:custDataLst>
      <p:tags r:id="rId1"/>
    </p:custDataLst>
    <p:extLst>
      <p:ext uri="{BB962C8B-B14F-4D97-AF65-F5344CB8AC3E}">
        <p14:creationId xmlns:p14="http://schemas.microsoft.com/office/powerpoint/2010/main" val="5323934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4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xit" presetSubtype="0" fill="hold" nodeType="withEffect">
                                  <p:stCondLst>
                                    <p:cond delay="500"/>
                                  </p:stCondLst>
                                  <p:childTnLst>
                                    <p:animEffect transition="out" filter="fade">
                                      <p:cBhvr>
                                        <p:cTn id="12" dur="500"/>
                                        <p:tgtEl>
                                          <p:spTgt spid="6"/>
                                        </p:tgtEl>
                                      </p:cBhvr>
                                    </p:animEffect>
                                    <p:set>
                                      <p:cBhvr>
                                        <p:cTn id="13" dur="1" fill="hold">
                                          <p:stCondLst>
                                            <p:cond delay="499"/>
                                          </p:stCondLst>
                                        </p:cTn>
                                        <p:tgtEl>
                                          <p:spTgt spid="6"/>
                                        </p:tgtEl>
                                        <p:attrNameLst>
                                          <p:attrName>style.visibility</p:attrName>
                                        </p:attrNameLst>
                                      </p:cBhvr>
                                      <p:to>
                                        <p:strVal val="hidden"/>
                                      </p:to>
                                    </p:set>
                                  </p:childTnLst>
                                </p:cTn>
                              </p:par>
                              <p:par>
                                <p:cTn id="14" presetID="6" presetClass="emph" presetSubtype="0" decel="66000" fill="hold" nodeType="withEffect">
                                  <p:stCondLst>
                                    <p:cond delay="500"/>
                                  </p:stCondLst>
                                  <p:childTnLst>
                                    <p:animScale>
                                      <p:cBhvr>
                                        <p:cTn id="15" dur="3000" fill="hold"/>
                                        <p:tgtEl>
                                          <p:spTgt spid="6"/>
                                        </p:tgtEl>
                                      </p:cBhvr>
                                      <p:by x="115000" y="115000"/>
                                    </p:animScale>
                                  </p:childTnLst>
                                </p:cTn>
                              </p:par>
                              <p:par>
                                <p:cTn id="16" presetID="6" presetClass="emph" presetSubtype="0" decel="66000" fill="hold" nodeType="withEffect">
                                  <p:stCondLst>
                                    <p:cond delay="500"/>
                                  </p:stCondLst>
                                  <p:childTnLst>
                                    <p:animScale>
                                      <p:cBhvr>
                                        <p:cTn id="17" dur="3000" fill="hold"/>
                                        <p:tgtEl>
                                          <p:spTgt spid="5"/>
                                        </p:tgtEl>
                                      </p:cBhvr>
                                      <p:by x="115000" y="115000"/>
                                    </p:animScale>
                                  </p:childTnLst>
                                </p:cTn>
                              </p:par>
                              <p:par>
                                <p:cTn id="18" presetID="1" presetClass="entr" presetSubtype="0" fill="hold" nodeType="withEffect">
                                  <p:stCondLst>
                                    <p:cond delay="1700"/>
                                  </p:stCondLst>
                                  <p:childTnLst>
                                    <p:set>
                                      <p:cBhvr>
                                        <p:cTn id="19" dur="1" fill="hold">
                                          <p:stCondLst>
                                            <p:cond delay="0"/>
                                          </p:stCondLst>
                                        </p:cTn>
                                        <p:tgtEl>
                                          <p:spTgt spid="7"/>
                                        </p:tgtEl>
                                        <p:attrNameLst>
                                          <p:attrName>style.visibility</p:attrName>
                                        </p:attrNameLst>
                                      </p:cBhvr>
                                      <p:to>
                                        <p:strVal val="visible"/>
                                      </p:to>
                                    </p:set>
                                  </p:childTnLst>
                                </p:cTn>
                              </p:par>
                              <p:par>
                                <p:cTn id="20" presetID="6" presetClass="emph" presetSubtype="0" decel="93000" fill="hold" nodeType="withEffect">
                                  <p:stCondLst>
                                    <p:cond delay="1700"/>
                                  </p:stCondLst>
                                  <p:childTnLst>
                                    <p:animScale>
                                      <p:cBhvr>
                                        <p:cTn id="21" dur="1800" fill="hold"/>
                                        <p:tgtEl>
                                          <p:spTgt spid="7"/>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ivider Page">
    <p:spTree>
      <p:nvGrpSpPr>
        <p:cNvPr id="1" name=""/>
        <p:cNvGrpSpPr/>
        <p:nvPr/>
      </p:nvGrpSpPr>
      <p:grpSpPr>
        <a:xfrm>
          <a:off x="0" y="0"/>
          <a:ext cx="0" cy="0"/>
          <a:chOff x="0" y="0"/>
          <a:chExt cx="0" cy="0"/>
        </a:xfrm>
      </p:grpSpPr>
      <p:sp>
        <p:nvSpPr>
          <p:cNvPr id="15" name="Rectangle 14"/>
          <p:cNvSpPr/>
          <p:nvPr userDrawn="1"/>
        </p:nvSpPr>
        <p:spPr bwMode="gray">
          <a:xfrm>
            <a:off x="0" y="1"/>
            <a:ext cx="9144000" cy="6857999"/>
          </a:xfrm>
          <a:prstGeom prst="rect">
            <a:avLst/>
          </a:prstGeom>
          <a:solidFill>
            <a:srgbClr val="008B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de-DE" sz="1600" b="1" dirty="0">
              <a:solidFill>
                <a:srgbClr val="000000"/>
              </a:solidFill>
            </a:endParaRPr>
          </a:p>
        </p:txBody>
      </p:sp>
      <p:sp>
        <p:nvSpPr>
          <p:cNvPr id="2" name="Title 1"/>
          <p:cNvSpPr>
            <a:spLocks noGrp="1"/>
          </p:cNvSpPr>
          <p:nvPr>
            <p:ph type="ctrTitle"/>
          </p:nvPr>
        </p:nvSpPr>
        <p:spPr bwMode="gray">
          <a:xfrm>
            <a:off x="468313" y="1500188"/>
            <a:ext cx="6913562" cy="1244600"/>
          </a:xfrm>
          <a:noFill/>
        </p:spPr>
        <p:txBody>
          <a:bodyPr vert="horz" lIns="0" tIns="0" rIns="0" bIns="0" rtlCol="0" anchor="t" anchorCtr="0">
            <a:noAutofit/>
          </a:bodyPr>
          <a:lstStyle>
            <a:lvl1pPr>
              <a:lnSpc>
                <a:spcPct val="95000"/>
              </a:lnSpc>
              <a:spcAft>
                <a:spcPts val="0"/>
              </a:spcAft>
              <a:defRPr lang="de-DE" sz="5400" b="0" baseline="0" dirty="0">
                <a:solidFill>
                  <a:schemeClr val="bg1"/>
                </a:solidFill>
                <a:latin typeface="+mn-lt"/>
                <a:ea typeface="+mn-ea"/>
                <a:cs typeface="+mn-cs"/>
              </a:defRPr>
            </a:lvl1pPr>
          </a:lstStyle>
          <a:p>
            <a:pPr marL="0" lvl="0" indent="0">
              <a:lnSpc>
                <a:spcPct val="91000"/>
              </a:lnSpc>
              <a:spcBef>
                <a:spcPts val="0"/>
              </a:spcBef>
              <a:spcAft>
                <a:spcPts val="1200"/>
              </a:spcAft>
              <a:buFont typeface="Arial" pitchFamily="34" charset="0"/>
            </a:pPr>
            <a:r>
              <a:rPr lang="en-US"/>
              <a:t>Click to edit Master title style</a:t>
            </a:r>
            <a:endParaRPr lang="de-DE" dirty="0"/>
          </a:p>
        </p:txBody>
      </p:sp>
      <p:sp>
        <p:nvSpPr>
          <p:cNvPr id="3" name="Subtitle 2"/>
          <p:cNvSpPr>
            <a:spLocks noGrp="1"/>
          </p:cNvSpPr>
          <p:nvPr>
            <p:ph type="subTitle" idx="1"/>
          </p:nvPr>
        </p:nvSpPr>
        <p:spPr bwMode="gray">
          <a:xfrm>
            <a:off x="468313" y="2312528"/>
            <a:ext cx="6913562" cy="324384"/>
          </a:xfrm>
        </p:spPr>
        <p:txBody>
          <a:bodyPr lIns="36000" bIns="36000" anchor="b" anchorCtr="0">
            <a:noAutofit/>
          </a:bodyPr>
          <a:lstStyle>
            <a:lvl1pPr marL="0" indent="0" algn="l">
              <a:lnSpc>
                <a:spcPct val="91000"/>
              </a:lnSpc>
              <a:spcBef>
                <a:spcPts val="0"/>
              </a:spcBef>
              <a:spcAft>
                <a:spcPts val="1200"/>
              </a:spcAft>
              <a:buNone/>
              <a:defRPr sz="1800" b="1" baseline="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de-DE" dirty="0"/>
          </a:p>
        </p:txBody>
      </p:sp>
      <p:sp>
        <p:nvSpPr>
          <p:cNvPr id="24" name="Text Placeholder 23"/>
          <p:cNvSpPr>
            <a:spLocks noGrp="1"/>
          </p:cNvSpPr>
          <p:nvPr>
            <p:ph type="body" sz="quarter" idx="10" hasCustomPrompt="1"/>
          </p:nvPr>
        </p:nvSpPr>
        <p:spPr bwMode="gray">
          <a:xfrm>
            <a:off x="468313" y="2960688"/>
            <a:ext cx="973137" cy="973137"/>
          </a:xfrm>
        </p:spPr>
        <p:txBody>
          <a:bodyPr anchor="b" anchorCtr="0"/>
          <a:lstStyle>
            <a:lvl1pPr>
              <a:defRPr sz="5400">
                <a:solidFill>
                  <a:schemeClr val="bg1"/>
                </a:solidFill>
              </a:defRPr>
            </a:lvl1pPr>
            <a:lvl2pPr>
              <a:defRPr sz="5400" b="0">
                <a:solidFill>
                  <a:schemeClr val="bg1"/>
                </a:solidFill>
                <a:latin typeface="+mn-lt"/>
              </a:defRPr>
            </a:lvl2pPr>
            <a:lvl3pPr marL="0" indent="0">
              <a:defRPr/>
            </a:lvl3pPr>
          </a:lstStyle>
          <a:p>
            <a:pPr lvl="0"/>
            <a:r>
              <a:rPr lang="en-US" dirty="0"/>
              <a:t>#</a:t>
            </a:r>
          </a:p>
        </p:txBody>
      </p:sp>
      <p:sp>
        <p:nvSpPr>
          <p:cNvPr id="26" name="Text Placeholder 25"/>
          <p:cNvSpPr>
            <a:spLocks noGrp="1"/>
          </p:cNvSpPr>
          <p:nvPr>
            <p:ph type="body" sz="quarter" idx="11"/>
          </p:nvPr>
        </p:nvSpPr>
        <p:spPr bwMode="gray">
          <a:xfrm>
            <a:off x="468313" y="3933825"/>
            <a:ext cx="2160587" cy="2374900"/>
          </a:xfrm>
        </p:spPr>
        <p:txBody>
          <a:bodyPr lIns="36000"/>
          <a:lstStyle>
            <a:lvl1pPr>
              <a:lnSpc>
                <a:spcPct val="91000"/>
              </a:lnSpc>
              <a:spcBef>
                <a:spcPts val="0"/>
              </a:spcBef>
              <a:spcAft>
                <a:spcPts val="1200"/>
              </a:spcAft>
              <a:defRPr b="0">
                <a:solidFill>
                  <a:schemeClr val="bg1"/>
                </a:solidFill>
                <a:latin typeface="+mn-lt"/>
              </a:defRPr>
            </a:lvl1pPr>
            <a:lvl2pPr>
              <a:lnSpc>
                <a:spcPct val="91000"/>
              </a:lnSpc>
              <a:spcBef>
                <a:spcPts val="0"/>
              </a:spcBef>
              <a:spcAft>
                <a:spcPts val="1200"/>
              </a:spcAft>
              <a:defRPr b="0">
                <a:solidFill>
                  <a:schemeClr val="bg1"/>
                </a:solidFill>
                <a:latin typeface="+mn-lt"/>
              </a:defRPr>
            </a:lvl2pPr>
            <a:lvl3pPr>
              <a:lnSpc>
                <a:spcPct val="91000"/>
              </a:lnSpc>
              <a:spcBef>
                <a:spcPts val="0"/>
              </a:spcBef>
              <a:spcAft>
                <a:spcPts val="1200"/>
              </a:spcAft>
              <a:defRPr>
                <a:solidFill>
                  <a:schemeClr val="bg1"/>
                </a:solidFill>
              </a:defRPr>
            </a:lvl3pPr>
            <a:lvl4pPr>
              <a:lnSpc>
                <a:spcPct val="91000"/>
              </a:lnSpc>
              <a:spcBef>
                <a:spcPts val="0"/>
              </a:spcBef>
              <a:spcAft>
                <a:spcPts val="1200"/>
              </a:spcAft>
              <a:defRPr>
                <a:solidFill>
                  <a:schemeClr val="bg1"/>
                </a:solidFill>
              </a:defRPr>
            </a:lvl4pPr>
            <a:lvl5pPr>
              <a:lnSpc>
                <a:spcPct val="91000"/>
              </a:lnSpc>
              <a:spcBef>
                <a:spcPts val="0"/>
              </a:spcBef>
              <a:spcAft>
                <a:spcPts val="1200"/>
              </a:spcAft>
              <a:defRPr>
                <a:solidFill>
                  <a:schemeClr val="bg1"/>
                </a:solidFill>
              </a:defRPr>
            </a:lvl5pPr>
          </a:lstStyle>
          <a:p>
            <a:pPr lvl="0"/>
            <a:r>
              <a:rPr lang="en-US"/>
              <a:t>Click to edit Master text styles</a:t>
            </a:r>
          </a:p>
          <a:p>
            <a:pPr lvl="1"/>
            <a:r>
              <a:rPr lang="en-US"/>
              <a:t>Second level</a:t>
            </a:r>
          </a:p>
        </p:txBody>
      </p:sp>
      <p:sp>
        <p:nvSpPr>
          <p:cNvPr id="31" name="Text Placeholder 23"/>
          <p:cNvSpPr>
            <a:spLocks noGrp="1"/>
          </p:cNvSpPr>
          <p:nvPr>
            <p:ph type="body" sz="quarter" idx="12" hasCustomPrompt="1"/>
          </p:nvPr>
        </p:nvSpPr>
        <p:spPr bwMode="gray">
          <a:xfrm>
            <a:off x="2844800" y="2960688"/>
            <a:ext cx="973137" cy="973137"/>
          </a:xfrm>
        </p:spPr>
        <p:txBody>
          <a:bodyPr anchor="b" anchorCtr="0"/>
          <a:lstStyle>
            <a:lvl1pPr>
              <a:defRPr sz="5400">
                <a:solidFill>
                  <a:schemeClr val="bg1"/>
                </a:solidFill>
              </a:defRPr>
            </a:lvl1pPr>
            <a:lvl2pPr>
              <a:defRPr sz="5400" b="0">
                <a:solidFill>
                  <a:schemeClr val="bg1"/>
                </a:solidFill>
                <a:latin typeface="+mn-lt"/>
              </a:defRPr>
            </a:lvl2pPr>
            <a:lvl3pPr marL="0" indent="0">
              <a:defRPr/>
            </a:lvl3pPr>
          </a:lstStyle>
          <a:p>
            <a:pPr lvl="0"/>
            <a:r>
              <a:rPr lang="en-US" dirty="0"/>
              <a:t>#</a:t>
            </a:r>
          </a:p>
        </p:txBody>
      </p:sp>
      <p:sp>
        <p:nvSpPr>
          <p:cNvPr id="32" name="Text Placeholder 25"/>
          <p:cNvSpPr>
            <a:spLocks noGrp="1"/>
          </p:cNvSpPr>
          <p:nvPr>
            <p:ph type="body" sz="quarter" idx="13"/>
          </p:nvPr>
        </p:nvSpPr>
        <p:spPr bwMode="gray">
          <a:xfrm>
            <a:off x="2844800" y="3933825"/>
            <a:ext cx="2160587" cy="2374900"/>
          </a:xfrm>
        </p:spPr>
        <p:txBody>
          <a:bodyPr lIns="36000"/>
          <a:lstStyle>
            <a:lvl1pPr>
              <a:lnSpc>
                <a:spcPct val="91000"/>
              </a:lnSpc>
              <a:spcBef>
                <a:spcPts val="0"/>
              </a:spcBef>
              <a:spcAft>
                <a:spcPts val="1200"/>
              </a:spcAft>
              <a:defRPr b="0">
                <a:solidFill>
                  <a:schemeClr val="bg1"/>
                </a:solidFill>
                <a:latin typeface="+mn-lt"/>
              </a:defRPr>
            </a:lvl1pPr>
            <a:lvl2pPr>
              <a:lnSpc>
                <a:spcPct val="91000"/>
              </a:lnSpc>
              <a:spcBef>
                <a:spcPts val="0"/>
              </a:spcBef>
              <a:spcAft>
                <a:spcPts val="1200"/>
              </a:spcAft>
              <a:defRPr b="0">
                <a:solidFill>
                  <a:schemeClr val="bg1"/>
                </a:solidFill>
                <a:latin typeface="+mn-lt"/>
              </a:defRPr>
            </a:lvl2pPr>
            <a:lvl3pPr>
              <a:lnSpc>
                <a:spcPct val="91000"/>
              </a:lnSpc>
              <a:spcBef>
                <a:spcPts val="0"/>
              </a:spcBef>
              <a:spcAft>
                <a:spcPts val="1200"/>
              </a:spcAft>
              <a:defRPr>
                <a:solidFill>
                  <a:schemeClr val="bg1"/>
                </a:solidFill>
              </a:defRPr>
            </a:lvl3pPr>
            <a:lvl4pPr>
              <a:lnSpc>
                <a:spcPct val="91000"/>
              </a:lnSpc>
              <a:spcBef>
                <a:spcPts val="0"/>
              </a:spcBef>
              <a:spcAft>
                <a:spcPts val="1200"/>
              </a:spcAft>
              <a:defRPr>
                <a:solidFill>
                  <a:schemeClr val="bg1"/>
                </a:solidFill>
              </a:defRPr>
            </a:lvl4pPr>
            <a:lvl5pPr>
              <a:lnSpc>
                <a:spcPct val="91000"/>
              </a:lnSpc>
              <a:spcBef>
                <a:spcPts val="0"/>
              </a:spcBef>
              <a:spcAft>
                <a:spcPts val="1200"/>
              </a:spcAft>
              <a:defRPr>
                <a:solidFill>
                  <a:schemeClr val="bg1"/>
                </a:solidFill>
              </a:defRPr>
            </a:lvl5pPr>
          </a:lstStyle>
          <a:p>
            <a:pPr lvl="0"/>
            <a:r>
              <a:rPr lang="en-US"/>
              <a:t>Click to edit Master text styles</a:t>
            </a:r>
          </a:p>
          <a:p>
            <a:pPr lvl="1"/>
            <a:r>
              <a:rPr lang="en-US"/>
              <a:t>Second level</a:t>
            </a:r>
          </a:p>
        </p:txBody>
      </p:sp>
      <p:sp>
        <p:nvSpPr>
          <p:cNvPr id="33" name="Text Placeholder 23"/>
          <p:cNvSpPr>
            <a:spLocks noGrp="1"/>
          </p:cNvSpPr>
          <p:nvPr>
            <p:ph type="body" sz="quarter" idx="14" hasCustomPrompt="1"/>
          </p:nvPr>
        </p:nvSpPr>
        <p:spPr bwMode="gray">
          <a:xfrm>
            <a:off x="5223891" y="2960688"/>
            <a:ext cx="973137" cy="973137"/>
          </a:xfrm>
        </p:spPr>
        <p:txBody>
          <a:bodyPr anchor="b" anchorCtr="0"/>
          <a:lstStyle>
            <a:lvl1pPr>
              <a:defRPr sz="5400">
                <a:solidFill>
                  <a:schemeClr val="bg1"/>
                </a:solidFill>
              </a:defRPr>
            </a:lvl1pPr>
            <a:lvl2pPr>
              <a:defRPr sz="5400" b="0">
                <a:solidFill>
                  <a:schemeClr val="bg1"/>
                </a:solidFill>
                <a:latin typeface="+mn-lt"/>
              </a:defRPr>
            </a:lvl2pPr>
            <a:lvl3pPr marL="0" indent="0">
              <a:defRPr/>
            </a:lvl3pPr>
          </a:lstStyle>
          <a:p>
            <a:pPr lvl="0"/>
            <a:r>
              <a:rPr lang="en-US" dirty="0"/>
              <a:t>#</a:t>
            </a:r>
          </a:p>
        </p:txBody>
      </p:sp>
      <p:sp>
        <p:nvSpPr>
          <p:cNvPr id="34" name="Text Placeholder 25"/>
          <p:cNvSpPr>
            <a:spLocks noGrp="1"/>
          </p:cNvSpPr>
          <p:nvPr>
            <p:ph type="body" sz="quarter" idx="15"/>
          </p:nvPr>
        </p:nvSpPr>
        <p:spPr bwMode="gray">
          <a:xfrm>
            <a:off x="5223891" y="3933825"/>
            <a:ext cx="2160587" cy="2374900"/>
          </a:xfrm>
        </p:spPr>
        <p:txBody>
          <a:bodyPr lIns="36000"/>
          <a:lstStyle>
            <a:lvl1pPr>
              <a:lnSpc>
                <a:spcPct val="91000"/>
              </a:lnSpc>
              <a:spcBef>
                <a:spcPts val="0"/>
              </a:spcBef>
              <a:spcAft>
                <a:spcPts val="1200"/>
              </a:spcAft>
              <a:defRPr b="0">
                <a:solidFill>
                  <a:schemeClr val="bg1"/>
                </a:solidFill>
                <a:latin typeface="+mn-lt"/>
              </a:defRPr>
            </a:lvl1pPr>
            <a:lvl2pPr>
              <a:lnSpc>
                <a:spcPct val="91000"/>
              </a:lnSpc>
              <a:spcBef>
                <a:spcPts val="0"/>
              </a:spcBef>
              <a:spcAft>
                <a:spcPts val="1200"/>
              </a:spcAft>
              <a:defRPr b="0">
                <a:solidFill>
                  <a:schemeClr val="bg1"/>
                </a:solidFill>
                <a:latin typeface="+mn-lt"/>
              </a:defRPr>
            </a:lvl2pPr>
            <a:lvl3pPr>
              <a:lnSpc>
                <a:spcPct val="91000"/>
              </a:lnSpc>
              <a:spcBef>
                <a:spcPts val="0"/>
              </a:spcBef>
              <a:spcAft>
                <a:spcPts val="1200"/>
              </a:spcAft>
              <a:defRPr>
                <a:solidFill>
                  <a:schemeClr val="bg1"/>
                </a:solidFill>
              </a:defRPr>
            </a:lvl3pPr>
            <a:lvl4pPr>
              <a:lnSpc>
                <a:spcPct val="91000"/>
              </a:lnSpc>
              <a:spcBef>
                <a:spcPts val="0"/>
              </a:spcBef>
              <a:spcAft>
                <a:spcPts val="1200"/>
              </a:spcAft>
              <a:defRPr>
                <a:solidFill>
                  <a:schemeClr val="bg1"/>
                </a:solidFill>
              </a:defRPr>
            </a:lvl4pPr>
            <a:lvl5pPr>
              <a:lnSpc>
                <a:spcPct val="91000"/>
              </a:lnSpc>
              <a:spcBef>
                <a:spcPts val="0"/>
              </a:spcBef>
              <a:spcAft>
                <a:spcPts val="1200"/>
              </a:spcAft>
              <a:defRPr>
                <a:solidFill>
                  <a:schemeClr val="bg1"/>
                </a:solidFill>
              </a:defRPr>
            </a:lvl5pPr>
          </a:lstStyle>
          <a:p>
            <a:pPr lvl="0"/>
            <a:r>
              <a:rPr lang="en-US"/>
              <a:t>Click to edit Master text styles</a:t>
            </a:r>
          </a:p>
          <a:p>
            <a:pPr lvl="1"/>
            <a:r>
              <a:rPr lang="en-US"/>
              <a:t>Second level</a:t>
            </a:r>
          </a:p>
        </p:txBody>
      </p:sp>
    </p:spTree>
    <p:custDataLst>
      <p:tags r:id="rId1"/>
    </p:custDataLst>
    <p:extLst>
      <p:ext uri="{BB962C8B-B14F-4D97-AF65-F5344CB8AC3E}">
        <p14:creationId xmlns:p14="http://schemas.microsoft.com/office/powerpoint/2010/main" val="23624769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accel="30000" decel="70000"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1000" fill="hold"/>
                                        <p:tgtEl>
                                          <p:spTgt spid="15"/>
                                        </p:tgtEl>
                                        <p:attrNameLst>
                                          <p:attrName>ppt_x</p:attrName>
                                        </p:attrNameLst>
                                      </p:cBhvr>
                                      <p:tavLst>
                                        <p:tav tm="0">
                                          <p:val>
                                            <p:strVal val="#ppt_x"/>
                                          </p:val>
                                        </p:tav>
                                        <p:tav tm="100000">
                                          <p:val>
                                            <p:strVal val="#ppt_x"/>
                                          </p:val>
                                        </p:tav>
                                      </p:tavLst>
                                    </p:anim>
                                    <p:anim calcmode="lin" valueType="num">
                                      <p:cBhvr additive="base">
                                        <p:cTn id="8" dur="10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reserve="1">
  <p:cSld name="Chapter/Divider Page">
    <p:spTree>
      <p:nvGrpSpPr>
        <p:cNvPr id="1" name=""/>
        <p:cNvGrpSpPr/>
        <p:nvPr/>
      </p:nvGrpSpPr>
      <p:grpSpPr>
        <a:xfrm>
          <a:off x="0" y="0"/>
          <a:ext cx="0" cy="0"/>
          <a:chOff x="0" y="0"/>
          <a:chExt cx="0" cy="0"/>
        </a:xfrm>
      </p:grpSpPr>
      <p:sp>
        <p:nvSpPr>
          <p:cNvPr id="5" name="Rectangle 4"/>
          <p:cNvSpPr/>
          <p:nvPr userDrawn="1"/>
        </p:nvSpPr>
        <p:spPr bwMode="gray">
          <a:xfrm>
            <a:off x="0" y="1"/>
            <a:ext cx="9144000" cy="6857999"/>
          </a:xfrm>
          <a:prstGeom prst="rect">
            <a:avLst/>
          </a:prstGeom>
          <a:solidFill>
            <a:srgbClr val="008B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de-DE" sz="1600" b="1" dirty="0">
              <a:solidFill>
                <a:srgbClr val="000000"/>
              </a:solidFill>
            </a:endParaRPr>
          </a:p>
        </p:txBody>
      </p:sp>
      <p:sp>
        <p:nvSpPr>
          <p:cNvPr id="2" name="Title 1"/>
          <p:cNvSpPr>
            <a:spLocks noGrp="1"/>
          </p:cNvSpPr>
          <p:nvPr>
            <p:ph type="ctrTitle" hasCustomPrompt="1"/>
          </p:nvPr>
        </p:nvSpPr>
        <p:spPr bwMode="gray">
          <a:xfrm>
            <a:off x="468313" y="1716088"/>
            <a:ext cx="5724525" cy="3411537"/>
          </a:xfrm>
          <a:noFill/>
        </p:spPr>
        <p:txBody>
          <a:bodyPr vert="horz" lIns="0" tIns="0" rIns="0" bIns="108000" rtlCol="0" anchor="b" anchorCtr="0">
            <a:noAutofit/>
          </a:bodyPr>
          <a:lstStyle>
            <a:lvl1pPr>
              <a:defRPr lang="de-DE" sz="5400" b="0" dirty="0">
                <a:solidFill>
                  <a:schemeClr val="bg1"/>
                </a:solidFill>
                <a:latin typeface="+mn-lt"/>
                <a:ea typeface="+mn-ea"/>
                <a:cs typeface="+mn-cs"/>
              </a:defRPr>
            </a:lvl1pPr>
          </a:lstStyle>
          <a:p>
            <a:pPr marL="0" lvl="0" indent="0">
              <a:lnSpc>
                <a:spcPct val="91000"/>
              </a:lnSpc>
              <a:spcBef>
                <a:spcPts val="0"/>
              </a:spcBef>
              <a:spcAft>
                <a:spcPts val="1200"/>
              </a:spcAft>
              <a:buFont typeface="Arial" pitchFamily="34" charset="0"/>
            </a:pPr>
            <a:r>
              <a:rPr lang="en-US" dirty="0"/>
              <a:t>Insert </a:t>
            </a:r>
            <a:br>
              <a:rPr lang="en-US" dirty="0"/>
            </a:br>
            <a:r>
              <a:rPr lang="en-US" dirty="0"/>
              <a:t>Chapter-Title</a:t>
            </a:r>
            <a:endParaRPr lang="de-DE" dirty="0"/>
          </a:p>
        </p:txBody>
      </p:sp>
      <p:sp>
        <p:nvSpPr>
          <p:cNvPr id="3" name="Subtitle 2"/>
          <p:cNvSpPr>
            <a:spLocks noGrp="1"/>
          </p:cNvSpPr>
          <p:nvPr>
            <p:ph type="subTitle" idx="1" hasCustomPrompt="1"/>
          </p:nvPr>
        </p:nvSpPr>
        <p:spPr bwMode="gray">
          <a:xfrm>
            <a:off x="468313" y="5127625"/>
            <a:ext cx="5724525" cy="323849"/>
          </a:xfrm>
        </p:spPr>
        <p:txBody>
          <a:bodyPr lIns="0" bIns="36000" anchor="b" anchorCtr="0">
            <a:noAutofit/>
          </a:bodyPr>
          <a:lstStyle>
            <a:lvl1pPr marL="0" indent="0" algn="l">
              <a:lnSpc>
                <a:spcPct val="91000"/>
              </a:lnSpc>
              <a:spcBef>
                <a:spcPts val="0"/>
              </a:spcBef>
              <a:spcAft>
                <a:spcPts val="1200"/>
              </a:spcAft>
              <a:buNone/>
              <a:defRPr sz="1800" b="1" baseline="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Insert Chapter #</a:t>
            </a:r>
            <a:endParaRPr lang="de-DE" dirty="0"/>
          </a:p>
        </p:txBody>
      </p:sp>
    </p:spTree>
    <p:custDataLst>
      <p:tags r:id="rId1"/>
    </p:custDataLst>
    <p:extLst>
      <p:ext uri="{BB962C8B-B14F-4D97-AF65-F5344CB8AC3E}">
        <p14:creationId xmlns:p14="http://schemas.microsoft.com/office/powerpoint/2010/main" val="39402537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accel="30000" decel="7000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ppt_x"/>
                                          </p:val>
                                        </p:tav>
                                        <p:tav tm="100000">
                                          <p:val>
                                            <p:strVal val="#ppt_x"/>
                                          </p:val>
                                        </p:tav>
                                      </p:tavLst>
                                    </p:anim>
                                    <p:anim calcmode="lin" valueType="num">
                                      <p:cBhvr additive="base">
                                        <p:cTn id="8" dur="10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urse Completion-pages">
    <p:spTree>
      <p:nvGrpSpPr>
        <p:cNvPr id="1" name=""/>
        <p:cNvGrpSpPr/>
        <p:nvPr/>
      </p:nvGrpSpPr>
      <p:grpSpPr>
        <a:xfrm>
          <a:off x="0" y="0"/>
          <a:ext cx="0" cy="0"/>
          <a:chOff x="0" y="0"/>
          <a:chExt cx="0" cy="0"/>
        </a:xfrm>
      </p:grpSpPr>
      <p:sp>
        <p:nvSpPr>
          <p:cNvPr id="5" name="Rectangle 4"/>
          <p:cNvSpPr/>
          <p:nvPr userDrawn="1"/>
        </p:nvSpPr>
        <p:spPr bwMode="gray">
          <a:xfrm>
            <a:off x="0" y="1"/>
            <a:ext cx="9144000" cy="6857999"/>
          </a:xfrm>
          <a:prstGeom prst="rect">
            <a:avLst/>
          </a:prstGeom>
          <a:solidFill>
            <a:srgbClr val="008B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de-DE" sz="1600" b="1" dirty="0">
              <a:solidFill>
                <a:srgbClr val="000000"/>
              </a:solidFill>
            </a:endParaRPr>
          </a:p>
        </p:txBody>
      </p:sp>
      <p:sp>
        <p:nvSpPr>
          <p:cNvPr id="7" name="Ellipse 333"/>
          <p:cNvSpPr/>
          <p:nvPr userDrawn="1"/>
        </p:nvSpPr>
        <p:spPr>
          <a:xfrm>
            <a:off x="3963818" y="1140352"/>
            <a:ext cx="1168740" cy="116874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lnSpc>
                <a:spcPct val="90000"/>
              </a:lnSpc>
              <a:spcBef>
                <a:spcPts val="600"/>
              </a:spcBef>
              <a:spcAft>
                <a:spcPts val="600"/>
              </a:spcAft>
            </a:pPr>
            <a:endParaRPr lang="de-DE" sz="1600" b="1" dirty="0" err="1">
              <a:solidFill>
                <a:srgbClr val="FFFFFF"/>
              </a:solidFill>
            </a:endParaRPr>
          </a:p>
        </p:txBody>
      </p:sp>
      <p:sp>
        <p:nvSpPr>
          <p:cNvPr id="8" name="Freeform 6"/>
          <p:cNvSpPr>
            <a:spLocks/>
          </p:cNvSpPr>
          <p:nvPr userDrawn="1"/>
        </p:nvSpPr>
        <p:spPr bwMode="auto">
          <a:xfrm rot="686203">
            <a:off x="4251330" y="1300164"/>
            <a:ext cx="644353" cy="765049"/>
          </a:xfrm>
          <a:custGeom>
            <a:avLst/>
            <a:gdLst/>
            <a:ahLst/>
            <a:cxnLst/>
            <a:rect l="l" t="t" r="r" b="b"/>
            <a:pathLst>
              <a:path w="644353" h="765049">
                <a:moveTo>
                  <a:pt x="132169" y="435937"/>
                </a:moveTo>
                <a:lnTo>
                  <a:pt x="220239" y="734465"/>
                </a:lnTo>
                <a:lnTo>
                  <a:pt x="208329" y="737581"/>
                </a:lnTo>
                <a:lnTo>
                  <a:pt x="195774" y="740775"/>
                </a:lnTo>
                <a:lnTo>
                  <a:pt x="184283" y="744182"/>
                </a:lnTo>
                <a:lnTo>
                  <a:pt x="173856" y="746950"/>
                </a:lnTo>
                <a:lnTo>
                  <a:pt x="164493" y="749292"/>
                </a:lnTo>
                <a:lnTo>
                  <a:pt x="156194" y="751635"/>
                </a:lnTo>
                <a:lnTo>
                  <a:pt x="148746" y="753764"/>
                </a:lnTo>
                <a:lnTo>
                  <a:pt x="142149" y="755254"/>
                </a:lnTo>
                <a:lnTo>
                  <a:pt x="136404" y="756958"/>
                </a:lnTo>
                <a:lnTo>
                  <a:pt x="131510" y="758448"/>
                </a:lnTo>
                <a:lnTo>
                  <a:pt x="127254" y="759513"/>
                </a:lnTo>
                <a:lnTo>
                  <a:pt x="123423" y="760365"/>
                </a:lnTo>
                <a:lnTo>
                  <a:pt x="120444" y="761216"/>
                </a:lnTo>
                <a:lnTo>
                  <a:pt x="118103" y="761855"/>
                </a:lnTo>
                <a:lnTo>
                  <a:pt x="115975" y="762281"/>
                </a:lnTo>
                <a:lnTo>
                  <a:pt x="114698" y="762707"/>
                </a:lnTo>
                <a:lnTo>
                  <a:pt x="113421" y="763346"/>
                </a:lnTo>
                <a:lnTo>
                  <a:pt x="112570" y="763559"/>
                </a:lnTo>
                <a:lnTo>
                  <a:pt x="112145" y="763559"/>
                </a:lnTo>
                <a:lnTo>
                  <a:pt x="111932" y="763772"/>
                </a:lnTo>
                <a:lnTo>
                  <a:pt x="111506" y="763771"/>
                </a:lnTo>
                <a:lnTo>
                  <a:pt x="111294" y="763772"/>
                </a:lnTo>
                <a:lnTo>
                  <a:pt x="105335" y="764836"/>
                </a:lnTo>
                <a:lnTo>
                  <a:pt x="98738" y="765049"/>
                </a:lnTo>
                <a:lnTo>
                  <a:pt x="92567" y="764410"/>
                </a:lnTo>
                <a:lnTo>
                  <a:pt x="86183" y="762707"/>
                </a:lnTo>
                <a:lnTo>
                  <a:pt x="80012" y="759513"/>
                </a:lnTo>
                <a:lnTo>
                  <a:pt x="75544" y="756745"/>
                </a:lnTo>
                <a:lnTo>
                  <a:pt x="71288" y="752912"/>
                </a:lnTo>
                <a:lnTo>
                  <a:pt x="67670" y="749080"/>
                </a:lnTo>
                <a:lnTo>
                  <a:pt x="64904" y="744608"/>
                </a:lnTo>
                <a:lnTo>
                  <a:pt x="62563" y="739711"/>
                </a:lnTo>
                <a:lnTo>
                  <a:pt x="61073" y="734600"/>
                </a:lnTo>
                <a:lnTo>
                  <a:pt x="55115" y="713308"/>
                </a:lnTo>
                <a:lnTo>
                  <a:pt x="49795" y="693505"/>
                </a:lnTo>
                <a:lnTo>
                  <a:pt x="44900" y="674981"/>
                </a:lnTo>
                <a:lnTo>
                  <a:pt x="40219" y="657734"/>
                </a:lnTo>
                <a:lnTo>
                  <a:pt x="35963" y="641977"/>
                </a:lnTo>
                <a:lnTo>
                  <a:pt x="32133" y="627498"/>
                </a:lnTo>
                <a:lnTo>
                  <a:pt x="28302" y="613871"/>
                </a:lnTo>
                <a:lnTo>
                  <a:pt x="25110" y="601521"/>
                </a:lnTo>
                <a:lnTo>
                  <a:pt x="22131" y="590023"/>
                </a:lnTo>
                <a:lnTo>
                  <a:pt x="19152" y="579802"/>
                </a:lnTo>
                <a:lnTo>
                  <a:pt x="16598" y="570646"/>
                </a:lnTo>
                <a:lnTo>
                  <a:pt x="14257" y="562342"/>
                </a:lnTo>
                <a:lnTo>
                  <a:pt x="12555" y="554889"/>
                </a:lnTo>
                <a:lnTo>
                  <a:pt x="10640" y="548076"/>
                </a:lnTo>
                <a:lnTo>
                  <a:pt x="8938" y="542114"/>
                </a:lnTo>
                <a:lnTo>
                  <a:pt x="7661" y="537004"/>
                </a:lnTo>
                <a:lnTo>
                  <a:pt x="6384" y="532532"/>
                </a:lnTo>
                <a:lnTo>
                  <a:pt x="5533" y="528912"/>
                </a:lnTo>
                <a:lnTo>
                  <a:pt x="4469" y="525719"/>
                </a:lnTo>
                <a:lnTo>
                  <a:pt x="3830" y="522737"/>
                </a:lnTo>
                <a:lnTo>
                  <a:pt x="3192" y="520821"/>
                </a:lnTo>
                <a:lnTo>
                  <a:pt x="2766" y="518905"/>
                </a:lnTo>
                <a:lnTo>
                  <a:pt x="2341" y="517414"/>
                </a:lnTo>
                <a:lnTo>
                  <a:pt x="2128" y="516563"/>
                </a:lnTo>
                <a:lnTo>
                  <a:pt x="1915" y="515924"/>
                </a:lnTo>
                <a:lnTo>
                  <a:pt x="1702" y="515285"/>
                </a:lnTo>
                <a:lnTo>
                  <a:pt x="1702" y="514859"/>
                </a:lnTo>
                <a:lnTo>
                  <a:pt x="1489" y="514646"/>
                </a:lnTo>
                <a:lnTo>
                  <a:pt x="426" y="508258"/>
                </a:lnTo>
                <a:lnTo>
                  <a:pt x="0" y="502083"/>
                </a:lnTo>
                <a:lnTo>
                  <a:pt x="851" y="495483"/>
                </a:lnTo>
                <a:lnTo>
                  <a:pt x="2341" y="488882"/>
                </a:lnTo>
                <a:lnTo>
                  <a:pt x="5533" y="482707"/>
                </a:lnTo>
                <a:lnTo>
                  <a:pt x="9151" y="477384"/>
                </a:lnTo>
                <a:lnTo>
                  <a:pt x="13619" y="472700"/>
                </a:lnTo>
                <a:lnTo>
                  <a:pt x="18726" y="468654"/>
                </a:lnTo>
                <a:lnTo>
                  <a:pt x="24685" y="465673"/>
                </a:lnTo>
                <a:lnTo>
                  <a:pt x="30430" y="463544"/>
                </a:lnTo>
                <a:lnTo>
                  <a:pt x="47029" y="459072"/>
                </a:lnTo>
                <a:lnTo>
                  <a:pt x="62137" y="454814"/>
                </a:lnTo>
                <a:lnTo>
                  <a:pt x="76182" y="451194"/>
                </a:lnTo>
                <a:lnTo>
                  <a:pt x="88737" y="447574"/>
                </a:lnTo>
                <a:lnTo>
                  <a:pt x="100228" y="444593"/>
                </a:lnTo>
                <a:lnTo>
                  <a:pt x="110655" y="441825"/>
                </a:lnTo>
                <a:lnTo>
                  <a:pt x="120018" y="439270"/>
                </a:lnTo>
                <a:lnTo>
                  <a:pt x="128317" y="436928"/>
                </a:lnTo>
                <a:close/>
                <a:moveTo>
                  <a:pt x="265998" y="852"/>
                </a:moveTo>
                <a:lnTo>
                  <a:pt x="270254" y="426"/>
                </a:lnTo>
                <a:lnTo>
                  <a:pt x="274936" y="0"/>
                </a:lnTo>
                <a:lnTo>
                  <a:pt x="279830" y="213"/>
                </a:lnTo>
                <a:lnTo>
                  <a:pt x="284937" y="852"/>
                </a:lnTo>
                <a:lnTo>
                  <a:pt x="290044" y="1916"/>
                </a:lnTo>
                <a:lnTo>
                  <a:pt x="295364" y="3620"/>
                </a:lnTo>
                <a:lnTo>
                  <a:pt x="301110" y="5749"/>
                </a:lnTo>
                <a:lnTo>
                  <a:pt x="306430" y="8304"/>
                </a:lnTo>
                <a:lnTo>
                  <a:pt x="311962" y="11498"/>
                </a:lnTo>
                <a:lnTo>
                  <a:pt x="317282" y="15331"/>
                </a:lnTo>
                <a:lnTo>
                  <a:pt x="322177" y="19802"/>
                </a:lnTo>
                <a:lnTo>
                  <a:pt x="327284" y="24700"/>
                </a:lnTo>
                <a:lnTo>
                  <a:pt x="332178" y="30236"/>
                </a:lnTo>
                <a:lnTo>
                  <a:pt x="336647" y="36411"/>
                </a:lnTo>
                <a:lnTo>
                  <a:pt x="340903" y="43224"/>
                </a:lnTo>
                <a:lnTo>
                  <a:pt x="344733" y="50890"/>
                </a:lnTo>
                <a:lnTo>
                  <a:pt x="347925" y="59194"/>
                </a:lnTo>
                <a:lnTo>
                  <a:pt x="350691" y="68137"/>
                </a:lnTo>
                <a:lnTo>
                  <a:pt x="353032" y="77931"/>
                </a:lnTo>
                <a:lnTo>
                  <a:pt x="354735" y="88152"/>
                </a:lnTo>
                <a:lnTo>
                  <a:pt x="355586" y="99650"/>
                </a:lnTo>
                <a:lnTo>
                  <a:pt x="355799" y="111574"/>
                </a:lnTo>
                <a:lnTo>
                  <a:pt x="355373" y="124350"/>
                </a:lnTo>
                <a:lnTo>
                  <a:pt x="354309" y="138190"/>
                </a:lnTo>
                <a:lnTo>
                  <a:pt x="352181" y="152669"/>
                </a:lnTo>
                <a:lnTo>
                  <a:pt x="349840" y="166509"/>
                </a:lnTo>
                <a:lnTo>
                  <a:pt x="348138" y="179498"/>
                </a:lnTo>
                <a:lnTo>
                  <a:pt x="347287" y="191422"/>
                </a:lnTo>
                <a:lnTo>
                  <a:pt x="346648" y="202068"/>
                </a:lnTo>
                <a:lnTo>
                  <a:pt x="347287" y="211863"/>
                </a:lnTo>
                <a:lnTo>
                  <a:pt x="347925" y="220806"/>
                </a:lnTo>
                <a:lnTo>
                  <a:pt x="349415" y="228684"/>
                </a:lnTo>
                <a:lnTo>
                  <a:pt x="351330" y="235711"/>
                </a:lnTo>
                <a:lnTo>
                  <a:pt x="353671" y="241886"/>
                </a:lnTo>
                <a:lnTo>
                  <a:pt x="356863" y="247422"/>
                </a:lnTo>
                <a:lnTo>
                  <a:pt x="360055" y="252106"/>
                </a:lnTo>
                <a:lnTo>
                  <a:pt x="364098" y="255939"/>
                </a:lnTo>
                <a:lnTo>
                  <a:pt x="368141" y="259346"/>
                </a:lnTo>
                <a:lnTo>
                  <a:pt x="372823" y="262114"/>
                </a:lnTo>
                <a:lnTo>
                  <a:pt x="377717" y="264030"/>
                </a:lnTo>
                <a:lnTo>
                  <a:pt x="383037" y="265521"/>
                </a:lnTo>
                <a:lnTo>
                  <a:pt x="388995" y="266585"/>
                </a:lnTo>
                <a:lnTo>
                  <a:pt x="394741" y="267011"/>
                </a:lnTo>
                <a:lnTo>
                  <a:pt x="401125" y="267224"/>
                </a:lnTo>
                <a:lnTo>
                  <a:pt x="407721" y="266798"/>
                </a:lnTo>
                <a:lnTo>
                  <a:pt x="414318" y="265947"/>
                </a:lnTo>
                <a:lnTo>
                  <a:pt x="421341" y="265095"/>
                </a:lnTo>
                <a:lnTo>
                  <a:pt x="428576" y="264030"/>
                </a:lnTo>
                <a:lnTo>
                  <a:pt x="435811" y="262327"/>
                </a:lnTo>
                <a:lnTo>
                  <a:pt x="443259" y="260624"/>
                </a:lnTo>
                <a:lnTo>
                  <a:pt x="450707" y="258707"/>
                </a:lnTo>
                <a:lnTo>
                  <a:pt x="458580" y="256791"/>
                </a:lnTo>
                <a:lnTo>
                  <a:pt x="466241" y="254662"/>
                </a:lnTo>
                <a:lnTo>
                  <a:pt x="473902" y="252532"/>
                </a:lnTo>
                <a:lnTo>
                  <a:pt x="481775" y="250403"/>
                </a:lnTo>
                <a:lnTo>
                  <a:pt x="489436" y="248274"/>
                </a:lnTo>
                <a:lnTo>
                  <a:pt x="497522" y="246144"/>
                </a:lnTo>
                <a:lnTo>
                  <a:pt x="505183" y="244228"/>
                </a:lnTo>
                <a:lnTo>
                  <a:pt x="512844" y="242738"/>
                </a:lnTo>
                <a:lnTo>
                  <a:pt x="520292" y="241034"/>
                </a:lnTo>
                <a:lnTo>
                  <a:pt x="527739" y="239757"/>
                </a:lnTo>
                <a:lnTo>
                  <a:pt x="534975" y="238692"/>
                </a:lnTo>
                <a:lnTo>
                  <a:pt x="542210" y="238053"/>
                </a:lnTo>
                <a:lnTo>
                  <a:pt x="549232" y="237627"/>
                </a:lnTo>
                <a:lnTo>
                  <a:pt x="556042" y="237627"/>
                </a:lnTo>
                <a:lnTo>
                  <a:pt x="562426" y="238053"/>
                </a:lnTo>
                <a:lnTo>
                  <a:pt x="568810" y="238905"/>
                </a:lnTo>
                <a:lnTo>
                  <a:pt x="574981" y="240395"/>
                </a:lnTo>
                <a:lnTo>
                  <a:pt x="580513" y="242312"/>
                </a:lnTo>
                <a:lnTo>
                  <a:pt x="585834" y="244867"/>
                </a:lnTo>
                <a:lnTo>
                  <a:pt x="590941" y="248061"/>
                </a:lnTo>
                <a:lnTo>
                  <a:pt x="595622" y="252106"/>
                </a:lnTo>
                <a:lnTo>
                  <a:pt x="599879" y="256365"/>
                </a:lnTo>
                <a:lnTo>
                  <a:pt x="603709" y="261901"/>
                </a:lnTo>
                <a:lnTo>
                  <a:pt x="607114" y="267863"/>
                </a:lnTo>
                <a:lnTo>
                  <a:pt x="610093" y="274890"/>
                </a:lnTo>
                <a:lnTo>
                  <a:pt x="612646" y="282555"/>
                </a:lnTo>
                <a:lnTo>
                  <a:pt x="614136" y="291285"/>
                </a:lnTo>
                <a:lnTo>
                  <a:pt x="614136" y="299802"/>
                </a:lnTo>
                <a:lnTo>
                  <a:pt x="612433" y="308532"/>
                </a:lnTo>
                <a:lnTo>
                  <a:pt x="609667" y="317262"/>
                </a:lnTo>
                <a:lnTo>
                  <a:pt x="605411" y="325566"/>
                </a:lnTo>
                <a:lnTo>
                  <a:pt x="599878" y="333658"/>
                </a:lnTo>
                <a:lnTo>
                  <a:pt x="593282" y="341536"/>
                </a:lnTo>
                <a:lnTo>
                  <a:pt x="585621" y="348988"/>
                </a:lnTo>
                <a:lnTo>
                  <a:pt x="590941" y="350479"/>
                </a:lnTo>
                <a:lnTo>
                  <a:pt x="596048" y="352608"/>
                </a:lnTo>
                <a:lnTo>
                  <a:pt x="600942" y="354312"/>
                </a:lnTo>
                <a:lnTo>
                  <a:pt x="604773" y="356654"/>
                </a:lnTo>
                <a:lnTo>
                  <a:pt x="608816" y="358996"/>
                </a:lnTo>
                <a:lnTo>
                  <a:pt x="612433" y="361551"/>
                </a:lnTo>
                <a:lnTo>
                  <a:pt x="618179" y="366449"/>
                </a:lnTo>
                <a:lnTo>
                  <a:pt x="623499" y="371772"/>
                </a:lnTo>
                <a:lnTo>
                  <a:pt x="627755" y="377308"/>
                </a:lnTo>
                <a:lnTo>
                  <a:pt x="631159" y="383696"/>
                </a:lnTo>
                <a:lnTo>
                  <a:pt x="633713" y="390509"/>
                </a:lnTo>
                <a:lnTo>
                  <a:pt x="635203" y="398601"/>
                </a:lnTo>
                <a:lnTo>
                  <a:pt x="635841" y="406479"/>
                </a:lnTo>
                <a:lnTo>
                  <a:pt x="634990" y="413931"/>
                </a:lnTo>
                <a:lnTo>
                  <a:pt x="633075" y="421597"/>
                </a:lnTo>
                <a:lnTo>
                  <a:pt x="629670" y="428410"/>
                </a:lnTo>
                <a:lnTo>
                  <a:pt x="626052" y="435224"/>
                </a:lnTo>
                <a:lnTo>
                  <a:pt x="621371" y="441612"/>
                </a:lnTo>
                <a:lnTo>
                  <a:pt x="615838" y="446935"/>
                </a:lnTo>
                <a:lnTo>
                  <a:pt x="609880" y="451620"/>
                </a:lnTo>
                <a:lnTo>
                  <a:pt x="603070" y="455452"/>
                </a:lnTo>
                <a:lnTo>
                  <a:pt x="609880" y="458007"/>
                </a:lnTo>
                <a:lnTo>
                  <a:pt x="616477" y="461201"/>
                </a:lnTo>
                <a:lnTo>
                  <a:pt x="622222" y="465247"/>
                </a:lnTo>
                <a:lnTo>
                  <a:pt x="627755" y="469931"/>
                </a:lnTo>
                <a:lnTo>
                  <a:pt x="632437" y="475255"/>
                </a:lnTo>
                <a:lnTo>
                  <a:pt x="636693" y="481004"/>
                </a:lnTo>
                <a:lnTo>
                  <a:pt x="640097" y="487817"/>
                </a:lnTo>
                <a:lnTo>
                  <a:pt x="642438" y="495057"/>
                </a:lnTo>
                <a:lnTo>
                  <a:pt x="644140" y="502722"/>
                </a:lnTo>
                <a:lnTo>
                  <a:pt x="644353" y="510600"/>
                </a:lnTo>
                <a:lnTo>
                  <a:pt x="643928" y="518479"/>
                </a:lnTo>
                <a:lnTo>
                  <a:pt x="642013" y="525718"/>
                </a:lnTo>
                <a:lnTo>
                  <a:pt x="639459" y="532532"/>
                </a:lnTo>
                <a:lnTo>
                  <a:pt x="636054" y="539133"/>
                </a:lnTo>
                <a:lnTo>
                  <a:pt x="631585" y="545308"/>
                </a:lnTo>
                <a:lnTo>
                  <a:pt x="626265" y="550418"/>
                </a:lnTo>
                <a:lnTo>
                  <a:pt x="620307" y="555102"/>
                </a:lnTo>
                <a:lnTo>
                  <a:pt x="613923" y="558722"/>
                </a:lnTo>
                <a:lnTo>
                  <a:pt x="606688" y="561277"/>
                </a:lnTo>
                <a:lnTo>
                  <a:pt x="607326" y="562129"/>
                </a:lnTo>
                <a:lnTo>
                  <a:pt x="607539" y="562768"/>
                </a:lnTo>
                <a:lnTo>
                  <a:pt x="607965" y="562981"/>
                </a:lnTo>
                <a:lnTo>
                  <a:pt x="608390" y="563407"/>
                </a:lnTo>
                <a:lnTo>
                  <a:pt x="609029" y="563832"/>
                </a:lnTo>
                <a:lnTo>
                  <a:pt x="615200" y="567452"/>
                </a:lnTo>
                <a:lnTo>
                  <a:pt x="621371" y="571924"/>
                </a:lnTo>
                <a:lnTo>
                  <a:pt x="626478" y="577247"/>
                </a:lnTo>
                <a:lnTo>
                  <a:pt x="630947" y="582996"/>
                </a:lnTo>
                <a:lnTo>
                  <a:pt x="634352" y="589597"/>
                </a:lnTo>
                <a:lnTo>
                  <a:pt x="636905" y="596836"/>
                </a:lnTo>
                <a:lnTo>
                  <a:pt x="638395" y="604502"/>
                </a:lnTo>
                <a:lnTo>
                  <a:pt x="638607" y="612167"/>
                </a:lnTo>
                <a:lnTo>
                  <a:pt x="637331" y="619619"/>
                </a:lnTo>
                <a:lnTo>
                  <a:pt x="635203" y="627072"/>
                </a:lnTo>
                <a:lnTo>
                  <a:pt x="632011" y="634099"/>
                </a:lnTo>
                <a:lnTo>
                  <a:pt x="627755" y="640699"/>
                </a:lnTo>
                <a:lnTo>
                  <a:pt x="622647" y="646874"/>
                </a:lnTo>
                <a:lnTo>
                  <a:pt x="616902" y="652410"/>
                </a:lnTo>
                <a:lnTo>
                  <a:pt x="610093" y="656882"/>
                </a:lnTo>
                <a:lnTo>
                  <a:pt x="602645" y="660715"/>
                </a:lnTo>
                <a:lnTo>
                  <a:pt x="594558" y="663696"/>
                </a:lnTo>
                <a:lnTo>
                  <a:pt x="589026" y="664973"/>
                </a:lnTo>
                <a:lnTo>
                  <a:pt x="582642" y="666889"/>
                </a:lnTo>
                <a:lnTo>
                  <a:pt x="575194" y="669232"/>
                </a:lnTo>
                <a:lnTo>
                  <a:pt x="566682" y="671574"/>
                </a:lnTo>
                <a:lnTo>
                  <a:pt x="557319" y="674342"/>
                </a:lnTo>
                <a:lnTo>
                  <a:pt x="547317" y="677323"/>
                </a:lnTo>
                <a:lnTo>
                  <a:pt x="536464" y="680730"/>
                </a:lnTo>
                <a:lnTo>
                  <a:pt x="524973" y="684137"/>
                </a:lnTo>
                <a:lnTo>
                  <a:pt x="512844" y="687543"/>
                </a:lnTo>
                <a:lnTo>
                  <a:pt x="500289" y="691163"/>
                </a:lnTo>
                <a:lnTo>
                  <a:pt x="487095" y="694783"/>
                </a:lnTo>
                <a:lnTo>
                  <a:pt x="473902" y="698616"/>
                </a:lnTo>
                <a:lnTo>
                  <a:pt x="460283" y="702448"/>
                </a:lnTo>
                <a:lnTo>
                  <a:pt x="446664" y="705855"/>
                </a:lnTo>
                <a:lnTo>
                  <a:pt x="432619" y="709262"/>
                </a:lnTo>
                <a:lnTo>
                  <a:pt x="418574" y="712882"/>
                </a:lnTo>
                <a:lnTo>
                  <a:pt x="404530" y="716076"/>
                </a:lnTo>
                <a:lnTo>
                  <a:pt x="390698" y="719057"/>
                </a:lnTo>
                <a:lnTo>
                  <a:pt x="377078" y="722038"/>
                </a:lnTo>
                <a:lnTo>
                  <a:pt x="363460" y="724593"/>
                </a:lnTo>
                <a:lnTo>
                  <a:pt x="350479" y="726935"/>
                </a:lnTo>
                <a:lnTo>
                  <a:pt x="337711" y="728638"/>
                </a:lnTo>
                <a:lnTo>
                  <a:pt x="325581" y="730342"/>
                </a:lnTo>
                <a:lnTo>
                  <a:pt x="313877" y="731619"/>
                </a:lnTo>
                <a:lnTo>
                  <a:pt x="302599" y="732258"/>
                </a:lnTo>
                <a:lnTo>
                  <a:pt x="292385" y="732471"/>
                </a:lnTo>
                <a:lnTo>
                  <a:pt x="282809" y="732258"/>
                </a:lnTo>
                <a:lnTo>
                  <a:pt x="273871" y="731619"/>
                </a:lnTo>
                <a:lnTo>
                  <a:pt x="266211" y="730129"/>
                </a:lnTo>
                <a:lnTo>
                  <a:pt x="259401" y="728000"/>
                </a:lnTo>
                <a:lnTo>
                  <a:pt x="255279" y="726014"/>
                </a:lnTo>
                <a:lnTo>
                  <a:pt x="166960" y="426639"/>
                </a:lnTo>
                <a:lnTo>
                  <a:pt x="168749" y="426281"/>
                </a:lnTo>
                <a:lnTo>
                  <a:pt x="170451" y="425642"/>
                </a:lnTo>
                <a:lnTo>
                  <a:pt x="171516" y="425429"/>
                </a:lnTo>
                <a:lnTo>
                  <a:pt x="172154" y="425217"/>
                </a:lnTo>
                <a:lnTo>
                  <a:pt x="172792" y="425004"/>
                </a:lnTo>
                <a:lnTo>
                  <a:pt x="173218" y="425004"/>
                </a:lnTo>
                <a:lnTo>
                  <a:pt x="173430" y="424791"/>
                </a:lnTo>
                <a:lnTo>
                  <a:pt x="174920" y="410950"/>
                </a:lnTo>
                <a:lnTo>
                  <a:pt x="176410" y="397749"/>
                </a:lnTo>
                <a:lnTo>
                  <a:pt x="178325" y="384760"/>
                </a:lnTo>
                <a:lnTo>
                  <a:pt x="180666" y="372410"/>
                </a:lnTo>
                <a:lnTo>
                  <a:pt x="183219" y="360487"/>
                </a:lnTo>
                <a:lnTo>
                  <a:pt x="185773" y="348776"/>
                </a:lnTo>
                <a:lnTo>
                  <a:pt x="188752" y="337277"/>
                </a:lnTo>
                <a:lnTo>
                  <a:pt x="191944" y="325992"/>
                </a:lnTo>
                <a:lnTo>
                  <a:pt x="195136" y="314494"/>
                </a:lnTo>
                <a:lnTo>
                  <a:pt x="198541" y="303422"/>
                </a:lnTo>
                <a:lnTo>
                  <a:pt x="202158" y="291924"/>
                </a:lnTo>
                <a:lnTo>
                  <a:pt x="205563" y="280426"/>
                </a:lnTo>
                <a:lnTo>
                  <a:pt x="209181" y="268928"/>
                </a:lnTo>
                <a:lnTo>
                  <a:pt x="212798" y="256791"/>
                </a:lnTo>
                <a:lnTo>
                  <a:pt x="216416" y="244228"/>
                </a:lnTo>
                <a:lnTo>
                  <a:pt x="219820" y="231452"/>
                </a:lnTo>
                <a:lnTo>
                  <a:pt x="223438" y="218251"/>
                </a:lnTo>
                <a:lnTo>
                  <a:pt x="226843" y="204198"/>
                </a:lnTo>
                <a:lnTo>
                  <a:pt x="230035" y="189506"/>
                </a:lnTo>
                <a:lnTo>
                  <a:pt x="233227" y="174388"/>
                </a:lnTo>
                <a:lnTo>
                  <a:pt x="236206" y="157992"/>
                </a:lnTo>
                <a:lnTo>
                  <a:pt x="238760" y="140958"/>
                </a:lnTo>
                <a:lnTo>
                  <a:pt x="241313" y="122859"/>
                </a:lnTo>
                <a:lnTo>
                  <a:pt x="243654" y="103696"/>
                </a:lnTo>
                <a:lnTo>
                  <a:pt x="245569" y="83681"/>
                </a:lnTo>
                <a:lnTo>
                  <a:pt x="247272" y="62175"/>
                </a:lnTo>
                <a:lnTo>
                  <a:pt x="248548" y="39817"/>
                </a:lnTo>
                <a:lnTo>
                  <a:pt x="249399" y="15757"/>
                </a:lnTo>
                <a:lnTo>
                  <a:pt x="250251" y="12776"/>
                </a:lnTo>
                <a:lnTo>
                  <a:pt x="251315" y="10008"/>
                </a:lnTo>
                <a:lnTo>
                  <a:pt x="253230" y="7452"/>
                </a:lnTo>
                <a:lnTo>
                  <a:pt x="255571" y="5323"/>
                </a:lnTo>
                <a:lnTo>
                  <a:pt x="258550" y="3407"/>
                </a:lnTo>
                <a:lnTo>
                  <a:pt x="262168" y="1916"/>
                </a:lnTo>
                <a:close/>
              </a:path>
            </a:pathLst>
          </a:custGeom>
          <a:solidFill>
            <a:schemeClr val="bg1"/>
          </a:solidFill>
          <a:ln w="190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eaLnBrk="0" fontAlgn="base" hangingPunct="0">
              <a:spcBef>
                <a:spcPct val="0"/>
              </a:spcBef>
              <a:spcAft>
                <a:spcPct val="0"/>
              </a:spcAft>
            </a:pPr>
            <a:endParaRPr lang="de-DE" sz="1600">
              <a:solidFill>
                <a:srgbClr val="000000"/>
              </a:solidFill>
            </a:endParaRPr>
          </a:p>
        </p:txBody>
      </p:sp>
      <p:sp>
        <p:nvSpPr>
          <p:cNvPr id="9" name="Titel 1"/>
          <p:cNvSpPr txBox="1">
            <a:spLocks/>
          </p:cNvSpPr>
          <p:nvPr userDrawn="1"/>
        </p:nvSpPr>
        <p:spPr bwMode="gray">
          <a:xfrm>
            <a:off x="468312" y="2879623"/>
            <a:ext cx="8207375" cy="1244600"/>
          </a:xfrm>
          <a:prstGeom prst="rect">
            <a:avLst/>
          </a:prstGeom>
          <a:noFill/>
          <a:effectLst>
            <a:softEdge rad="381000"/>
          </a:effectLst>
        </p:spPr>
        <p:txBody>
          <a:bodyPr vert="horz" lIns="0" tIns="0" rIns="0" bIns="108000" rtlCol="0" anchor="b" anchorCtr="0">
            <a:noAutofit/>
          </a:bodyPr>
          <a:lstStyle>
            <a:lvl1pPr algn="l" defTabSz="914400" rtl="0" eaLnBrk="1" latinLnBrk="0" hangingPunct="1">
              <a:lnSpc>
                <a:spcPct val="90000"/>
              </a:lnSpc>
              <a:spcBef>
                <a:spcPct val="0"/>
              </a:spcBef>
              <a:buNone/>
              <a:defRPr lang="de-DE" sz="5400" b="0" kern="1200" baseline="0" dirty="0">
                <a:solidFill>
                  <a:schemeClr val="bg1"/>
                </a:solidFill>
                <a:latin typeface="+mn-lt"/>
                <a:ea typeface="+mn-ea"/>
                <a:cs typeface="+mn-cs"/>
              </a:defRPr>
            </a:lvl1pPr>
          </a:lstStyle>
          <a:p>
            <a:pPr algn="ctr"/>
            <a:r>
              <a:rPr lang="en-US" sz="4400">
                <a:solidFill>
                  <a:srgbClr val="FFFFFF"/>
                </a:solidFill>
              </a:rPr>
              <a:t>You have successfully</a:t>
            </a:r>
            <a:br>
              <a:rPr lang="en-US" sz="4400">
                <a:solidFill>
                  <a:srgbClr val="FFFFFF"/>
                </a:solidFill>
              </a:rPr>
            </a:br>
            <a:r>
              <a:rPr lang="en-US" sz="4400">
                <a:solidFill>
                  <a:srgbClr val="FFFFFF"/>
                </a:solidFill>
              </a:rPr>
              <a:t> completed the course!*</a:t>
            </a:r>
            <a:endParaRPr sz="4400">
              <a:solidFill>
                <a:srgbClr val="FFFFFF"/>
              </a:solidFill>
            </a:endParaRPr>
          </a:p>
        </p:txBody>
      </p:sp>
      <p:sp>
        <p:nvSpPr>
          <p:cNvPr id="10" name="Untertitel 2"/>
          <p:cNvSpPr txBox="1">
            <a:spLocks/>
          </p:cNvSpPr>
          <p:nvPr userDrawn="1"/>
        </p:nvSpPr>
        <p:spPr bwMode="gray">
          <a:xfrm>
            <a:off x="1763688" y="3842235"/>
            <a:ext cx="5616624" cy="1078370"/>
          </a:xfrm>
          <a:prstGeom prst="rect">
            <a:avLst/>
          </a:prstGeom>
        </p:spPr>
        <p:txBody>
          <a:bodyPr vert="horz" lIns="0" tIns="0" rIns="0" bIns="36000" rtlCol="0" anchor="b" anchorCtr="0">
            <a:noAutofit/>
          </a:bodyPr>
          <a:lstStyle>
            <a:lvl1pPr marL="0" indent="0" algn="l" defTabSz="914400" rtl="0" eaLnBrk="1" latinLnBrk="0" hangingPunct="1">
              <a:lnSpc>
                <a:spcPct val="91000"/>
              </a:lnSpc>
              <a:spcBef>
                <a:spcPts val="0"/>
              </a:spcBef>
              <a:spcAft>
                <a:spcPts val="1200"/>
              </a:spcAft>
              <a:buFont typeface="Arial" pitchFamily="34" charset="0"/>
              <a:buNone/>
              <a:defRPr sz="1800" b="1" kern="1200" baseline="0">
                <a:solidFill>
                  <a:schemeClr val="bg1"/>
                </a:solidFill>
                <a:latin typeface="+mj-lt"/>
                <a:ea typeface="+mn-ea"/>
                <a:cs typeface="+mn-cs"/>
              </a:defRPr>
            </a:lvl1pPr>
            <a:lvl2pPr marL="457200" indent="0" algn="ctr" defTabSz="914400" rtl="0" eaLnBrk="1" latinLnBrk="0" hangingPunct="1">
              <a:lnSpc>
                <a:spcPct val="90000"/>
              </a:lnSpc>
              <a:spcBef>
                <a:spcPts val="600"/>
              </a:spcBef>
              <a:spcAft>
                <a:spcPts val="600"/>
              </a:spcAft>
              <a:buFont typeface="Arial" pitchFamily="34" charset="0"/>
              <a:buNone/>
              <a:defRPr sz="1600" b="1" kern="1200">
                <a:solidFill>
                  <a:schemeClr val="tx1">
                    <a:tint val="75000"/>
                  </a:schemeClr>
                </a:solidFill>
                <a:latin typeface="+mj-lt"/>
                <a:ea typeface="+mn-ea"/>
                <a:cs typeface="+mn-cs"/>
              </a:defRPr>
            </a:lvl2pPr>
            <a:lvl3pPr marL="914400" indent="0" algn="ctr" defTabSz="914400" rtl="0" eaLnBrk="1" latinLnBrk="0" hangingPunct="1">
              <a:lnSpc>
                <a:spcPct val="90000"/>
              </a:lnSpc>
              <a:spcBef>
                <a:spcPts val="600"/>
              </a:spcBef>
              <a:spcAft>
                <a:spcPts val="300"/>
              </a:spcAft>
              <a:buClr>
                <a:schemeClr val="tx1">
                  <a:lumMod val="65000"/>
                  <a:lumOff val="35000"/>
                </a:schemeClr>
              </a:buClr>
              <a:buSzPct val="100000"/>
              <a:buFont typeface="Arial" pitchFamily="34" charset="0"/>
              <a:buNone/>
              <a:defRPr sz="1600" kern="1200">
                <a:solidFill>
                  <a:schemeClr val="tx1">
                    <a:tint val="75000"/>
                  </a:schemeClr>
                </a:solidFill>
                <a:latin typeface="+mn-lt"/>
                <a:ea typeface="+mn-ea"/>
                <a:cs typeface="+mn-cs"/>
              </a:defRPr>
            </a:lvl3pPr>
            <a:lvl4pPr marL="1371600" indent="0" algn="ctr" defTabSz="914400" rtl="0" eaLnBrk="1" latinLnBrk="0" hangingPunct="1">
              <a:lnSpc>
                <a:spcPct val="90000"/>
              </a:lnSpc>
              <a:spcBef>
                <a:spcPts val="300"/>
              </a:spcBef>
              <a:spcAft>
                <a:spcPts val="300"/>
              </a:spcAft>
              <a:buClr>
                <a:schemeClr val="tx1">
                  <a:lumMod val="65000"/>
                  <a:lumOff val="35000"/>
                </a:schemeClr>
              </a:buClr>
              <a:buFont typeface="Symbol" pitchFamily="18" charset="2"/>
              <a:buNone/>
              <a:defRPr sz="1400" kern="1200">
                <a:solidFill>
                  <a:schemeClr val="tx1">
                    <a:tint val="75000"/>
                  </a:schemeClr>
                </a:solidFill>
                <a:latin typeface="+mn-lt"/>
                <a:ea typeface="+mn-ea"/>
                <a:cs typeface="+mn-cs"/>
              </a:defRPr>
            </a:lvl4pPr>
            <a:lvl5pPr marL="1828800" indent="0" algn="ctr" defTabSz="914400" rtl="0" eaLnBrk="1" latinLnBrk="0" hangingPunct="1">
              <a:lnSpc>
                <a:spcPct val="90000"/>
              </a:lnSpc>
              <a:spcBef>
                <a:spcPts val="1200"/>
              </a:spcBef>
              <a:spcAft>
                <a:spcPts val="1200"/>
              </a:spcAft>
              <a:buFont typeface="Arial" pitchFamily="34" charset="0"/>
              <a:buNone/>
              <a:defRPr sz="28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dirty="0">
                <a:solidFill>
                  <a:srgbClr val="FFFFFF"/>
                </a:solidFill>
              </a:rPr>
              <a:t>To close the training unit please click on the close button at the top of the window.</a:t>
            </a:r>
            <a:endParaRPr lang="de-DE" dirty="0">
              <a:solidFill>
                <a:srgbClr val="FFFFFF"/>
              </a:solidFill>
            </a:endParaRPr>
          </a:p>
        </p:txBody>
      </p:sp>
      <p:sp>
        <p:nvSpPr>
          <p:cNvPr id="11" name="Pfeil nach unten 347"/>
          <p:cNvSpPr/>
          <p:nvPr userDrawn="1"/>
        </p:nvSpPr>
        <p:spPr>
          <a:xfrm rot="13500000">
            <a:off x="8485186" y="244475"/>
            <a:ext cx="381000" cy="575736"/>
          </a:xfrm>
          <a:prstGeom prst="down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lnSpc>
                <a:spcPct val="90000"/>
              </a:lnSpc>
              <a:spcBef>
                <a:spcPts val="600"/>
              </a:spcBef>
              <a:spcAft>
                <a:spcPts val="600"/>
              </a:spcAft>
            </a:pPr>
            <a:endParaRPr lang="de-DE" sz="1600" b="1" dirty="0" err="1">
              <a:solidFill>
                <a:srgbClr val="FFFFFF"/>
              </a:solidFill>
            </a:endParaRPr>
          </a:p>
        </p:txBody>
      </p:sp>
      <p:sp>
        <p:nvSpPr>
          <p:cNvPr id="2" name="TextBox 1"/>
          <p:cNvSpPr txBox="1"/>
          <p:nvPr userDrawn="1"/>
        </p:nvSpPr>
        <p:spPr>
          <a:xfrm>
            <a:off x="468313" y="5222309"/>
            <a:ext cx="8207375" cy="1086416"/>
          </a:xfrm>
          <a:prstGeom prst="rect">
            <a:avLst/>
          </a:prstGeom>
          <a:noFill/>
        </p:spPr>
        <p:txBody>
          <a:bodyPr wrap="square" lIns="0" tIns="0" rIns="0" bIns="0" rtlCol="0">
            <a:noAutofit/>
          </a:bodyPr>
          <a:lstStyle/>
          <a:p>
            <a:pPr algn="ctr">
              <a:lnSpc>
                <a:spcPct val="90000"/>
              </a:lnSpc>
              <a:spcBef>
                <a:spcPts val="600"/>
              </a:spcBef>
              <a:spcAft>
                <a:spcPts val="600"/>
              </a:spcAft>
              <a:buFont typeface="Arial" pitchFamily="34" charset="0"/>
              <a:buNone/>
              <a:defRPr/>
            </a:pPr>
            <a:r>
              <a:rPr lang="en-US" sz="1400" dirty="0">
                <a:solidFill>
                  <a:srgbClr val="FFFFFF"/>
                </a:solidFill>
                <a:latin typeface="Segoe UI Light"/>
              </a:rPr>
              <a:t>*In order to complete the course it is necessary to page through all slides!</a:t>
            </a:r>
          </a:p>
          <a:p>
            <a:pPr eaLnBrk="0" fontAlgn="base" hangingPunct="0">
              <a:lnSpc>
                <a:spcPct val="90000"/>
              </a:lnSpc>
              <a:spcBef>
                <a:spcPts val="600"/>
              </a:spcBef>
              <a:spcAft>
                <a:spcPts val="600"/>
              </a:spcAft>
            </a:pPr>
            <a:endParaRPr lang="en-US" sz="1600" dirty="0" err="1">
              <a:solidFill>
                <a:srgbClr val="FFFFFF"/>
              </a:solidFill>
            </a:endParaRPr>
          </a:p>
        </p:txBody>
      </p:sp>
    </p:spTree>
    <p:custDataLst>
      <p:tags r:id="rId1"/>
    </p:custDataLst>
    <p:extLst>
      <p:ext uri="{BB962C8B-B14F-4D97-AF65-F5344CB8AC3E}">
        <p14:creationId xmlns:p14="http://schemas.microsoft.com/office/powerpoint/2010/main" val="36879596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accel="30000" decel="7000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ppt_x"/>
                                          </p:val>
                                        </p:tav>
                                        <p:tav tm="100000">
                                          <p:val>
                                            <p:strVal val="#ppt_x"/>
                                          </p:val>
                                        </p:tav>
                                      </p:tavLst>
                                    </p:anim>
                                    <p:anim calcmode="lin" valueType="num">
                                      <p:cBhvr additive="base">
                                        <p:cTn id="8" dur="10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urse Completion-Quiz">
    <p:spTree>
      <p:nvGrpSpPr>
        <p:cNvPr id="1" name=""/>
        <p:cNvGrpSpPr/>
        <p:nvPr/>
      </p:nvGrpSpPr>
      <p:grpSpPr>
        <a:xfrm>
          <a:off x="0" y="0"/>
          <a:ext cx="0" cy="0"/>
          <a:chOff x="0" y="0"/>
          <a:chExt cx="0" cy="0"/>
        </a:xfrm>
      </p:grpSpPr>
      <p:sp>
        <p:nvSpPr>
          <p:cNvPr id="5" name="Rectangle 4"/>
          <p:cNvSpPr/>
          <p:nvPr userDrawn="1"/>
        </p:nvSpPr>
        <p:spPr bwMode="gray">
          <a:xfrm>
            <a:off x="0" y="1"/>
            <a:ext cx="9144000" cy="6857999"/>
          </a:xfrm>
          <a:prstGeom prst="rect">
            <a:avLst/>
          </a:prstGeom>
          <a:solidFill>
            <a:srgbClr val="008B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de-DE" sz="1600" b="1" dirty="0">
              <a:solidFill>
                <a:srgbClr val="000000"/>
              </a:solidFill>
            </a:endParaRPr>
          </a:p>
        </p:txBody>
      </p:sp>
      <p:sp>
        <p:nvSpPr>
          <p:cNvPr id="7" name="Ellipse 333"/>
          <p:cNvSpPr/>
          <p:nvPr userDrawn="1"/>
        </p:nvSpPr>
        <p:spPr>
          <a:xfrm>
            <a:off x="3963818" y="1140352"/>
            <a:ext cx="1168740" cy="116874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base" hangingPunct="0">
              <a:lnSpc>
                <a:spcPct val="90000"/>
              </a:lnSpc>
              <a:spcBef>
                <a:spcPts val="600"/>
              </a:spcBef>
              <a:spcAft>
                <a:spcPts val="600"/>
              </a:spcAft>
            </a:pPr>
            <a:r>
              <a:rPr lang="de-DE" sz="8000" b="1" dirty="0">
                <a:solidFill>
                  <a:srgbClr val="FFFFFF"/>
                </a:solidFill>
              </a:rPr>
              <a:t>?</a:t>
            </a:r>
          </a:p>
        </p:txBody>
      </p:sp>
      <p:sp>
        <p:nvSpPr>
          <p:cNvPr id="9" name="Titel 1"/>
          <p:cNvSpPr txBox="1">
            <a:spLocks/>
          </p:cNvSpPr>
          <p:nvPr userDrawn="1"/>
        </p:nvSpPr>
        <p:spPr bwMode="gray">
          <a:xfrm>
            <a:off x="468312" y="2879623"/>
            <a:ext cx="8207375" cy="1244600"/>
          </a:xfrm>
          <a:prstGeom prst="rect">
            <a:avLst/>
          </a:prstGeom>
          <a:noFill/>
          <a:effectLst>
            <a:softEdge rad="381000"/>
          </a:effectLst>
        </p:spPr>
        <p:txBody>
          <a:bodyPr vert="horz" lIns="0" tIns="0" rIns="0" bIns="108000" rtlCol="0" anchor="b" anchorCtr="0">
            <a:noAutofit/>
          </a:bodyPr>
          <a:lstStyle>
            <a:lvl1pPr algn="l" defTabSz="914400" rtl="0" eaLnBrk="1" latinLnBrk="0" hangingPunct="1">
              <a:lnSpc>
                <a:spcPct val="90000"/>
              </a:lnSpc>
              <a:spcBef>
                <a:spcPct val="0"/>
              </a:spcBef>
              <a:buNone/>
              <a:defRPr lang="de-DE" sz="5400" b="0" kern="1200" baseline="0" dirty="0">
                <a:solidFill>
                  <a:schemeClr val="bg1"/>
                </a:solidFill>
                <a:latin typeface="+mn-lt"/>
                <a:ea typeface="+mn-ea"/>
                <a:cs typeface="+mn-cs"/>
              </a:defRPr>
            </a:lvl1pPr>
          </a:lstStyle>
          <a:p>
            <a:pPr algn="ctr"/>
            <a:r>
              <a:rPr lang="en-US" sz="4400">
                <a:solidFill>
                  <a:srgbClr val="FFFFFF"/>
                </a:solidFill>
              </a:rPr>
              <a:t>A last step is necessary</a:t>
            </a:r>
          </a:p>
          <a:p>
            <a:pPr algn="ctr"/>
            <a:r>
              <a:rPr lang="en-US" sz="4400">
                <a:solidFill>
                  <a:srgbClr val="FFFFFF"/>
                </a:solidFill>
              </a:rPr>
              <a:t>to complete the course!</a:t>
            </a:r>
          </a:p>
        </p:txBody>
      </p:sp>
      <p:sp>
        <p:nvSpPr>
          <p:cNvPr id="10" name="Untertitel 2"/>
          <p:cNvSpPr txBox="1">
            <a:spLocks/>
          </p:cNvSpPr>
          <p:nvPr userDrawn="1"/>
        </p:nvSpPr>
        <p:spPr bwMode="gray">
          <a:xfrm>
            <a:off x="1372600" y="3842235"/>
            <a:ext cx="6398800" cy="1078370"/>
          </a:xfrm>
          <a:prstGeom prst="rect">
            <a:avLst/>
          </a:prstGeom>
        </p:spPr>
        <p:txBody>
          <a:bodyPr vert="horz" lIns="0" tIns="0" rIns="0" bIns="36000" rtlCol="0" anchor="b" anchorCtr="0">
            <a:noAutofit/>
          </a:bodyPr>
          <a:lstStyle>
            <a:lvl1pPr marL="0" indent="0" algn="l" defTabSz="914400" rtl="0" eaLnBrk="1" latinLnBrk="0" hangingPunct="1">
              <a:lnSpc>
                <a:spcPct val="91000"/>
              </a:lnSpc>
              <a:spcBef>
                <a:spcPts val="0"/>
              </a:spcBef>
              <a:spcAft>
                <a:spcPts val="1200"/>
              </a:spcAft>
              <a:buFont typeface="Arial" pitchFamily="34" charset="0"/>
              <a:buNone/>
              <a:defRPr sz="1800" b="1" kern="1200" baseline="0">
                <a:solidFill>
                  <a:schemeClr val="bg1"/>
                </a:solidFill>
                <a:latin typeface="+mj-lt"/>
                <a:ea typeface="+mn-ea"/>
                <a:cs typeface="+mn-cs"/>
              </a:defRPr>
            </a:lvl1pPr>
            <a:lvl2pPr marL="457200" indent="0" algn="ctr" defTabSz="914400" rtl="0" eaLnBrk="1" latinLnBrk="0" hangingPunct="1">
              <a:lnSpc>
                <a:spcPct val="90000"/>
              </a:lnSpc>
              <a:spcBef>
                <a:spcPts val="600"/>
              </a:spcBef>
              <a:spcAft>
                <a:spcPts val="600"/>
              </a:spcAft>
              <a:buFont typeface="Arial" pitchFamily="34" charset="0"/>
              <a:buNone/>
              <a:defRPr sz="1600" b="1" kern="1200">
                <a:solidFill>
                  <a:schemeClr val="tx1">
                    <a:tint val="75000"/>
                  </a:schemeClr>
                </a:solidFill>
                <a:latin typeface="+mj-lt"/>
                <a:ea typeface="+mn-ea"/>
                <a:cs typeface="+mn-cs"/>
              </a:defRPr>
            </a:lvl2pPr>
            <a:lvl3pPr marL="914400" indent="0" algn="ctr" defTabSz="914400" rtl="0" eaLnBrk="1" latinLnBrk="0" hangingPunct="1">
              <a:lnSpc>
                <a:spcPct val="90000"/>
              </a:lnSpc>
              <a:spcBef>
                <a:spcPts val="600"/>
              </a:spcBef>
              <a:spcAft>
                <a:spcPts val="300"/>
              </a:spcAft>
              <a:buClr>
                <a:schemeClr val="tx1">
                  <a:lumMod val="65000"/>
                  <a:lumOff val="35000"/>
                </a:schemeClr>
              </a:buClr>
              <a:buSzPct val="100000"/>
              <a:buFont typeface="Arial" pitchFamily="34" charset="0"/>
              <a:buNone/>
              <a:defRPr sz="1600" kern="1200">
                <a:solidFill>
                  <a:schemeClr val="tx1">
                    <a:tint val="75000"/>
                  </a:schemeClr>
                </a:solidFill>
                <a:latin typeface="+mn-lt"/>
                <a:ea typeface="+mn-ea"/>
                <a:cs typeface="+mn-cs"/>
              </a:defRPr>
            </a:lvl3pPr>
            <a:lvl4pPr marL="1371600" indent="0" algn="ctr" defTabSz="914400" rtl="0" eaLnBrk="1" latinLnBrk="0" hangingPunct="1">
              <a:lnSpc>
                <a:spcPct val="90000"/>
              </a:lnSpc>
              <a:spcBef>
                <a:spcPts val="300"/>
              </a:spcBef>
              <a:spcAft>
                <a:spcPts val="300"/>
              </a:spcAft>
              <a:buClr>
                <a:schemeClr val="tx1">
                  <a:lumMod val="65000"/>
                  <a:lumOff val="35000"/>
                </a:schemeClr>
              </a:buClr>
              <a:buFont typeface="Symbol" pitchFamily="18" charset="2"/>
              <a:buNone/>
              <a:defRPr sz="1400" kern="1200">
                <a:solidFill>
                  <a:schemeClr val="tx1">
                    <a:tint val="75000"/>
                  </a:schemeClr>
                </a:solidFill>
                <a:latin typeface="+mn-lt"/>
                <a:ea typeface="+mn-ea"/>
                <a:cs typeface="+mn-cs"/>
              </a:defRPr>
            </a:lvl4pPr>
            <a:lvl5pPr marL="1828800" indent="0" algn="ctr" defTabSz="914400" rtl="0" eaLnBrk="1" latinLnBrk="0" hangingPunct="1">
              <a:lnSpc>
                <a:spcPct val="90000"/>
              </a:lnSpc>
              <a:spcBef>
                <a:spcPts val="1200"/>
              </a:spcBef>
              <a:spcAft>
                <a:spcPts val="1200"/>
              </a:spcAft>
              <a:buFont typeface="Arial" pitchFamily="34" charset="0"/>
              <a:buNone/>
              <a:defRPr sz="28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dirty="0">
                <a:solidFill>
                  <a:srgbClr val="FFFFFF"/>
                </a:solidFill>
              </a:rPr>
              <a:t>Please answer the questions starting on the next slide </a:t>
            </a:r>
            <a:br>
              <a:rPr lang="en-US" dirty="0">
                <a:solidFill>
                  <a:srgbClr val="FFFFFF"/>
                </a:solidFill>
              </a:rPr>
            </a:br>
            <a:r>
              <a:rPr lang="en-US" dirty="0">
                <a:solidFill>
                  <a:srgbClr val="FFFFFF"/>
                </a:solidFill>
              </a:rPr>
              <a:t>in order to complete the training unit. </a:t>
            </a:r>
          </a:p>
        </p:txBody>
      </p:sp>
    </p:spTree>
    <p:custDataLst>
      <p:tags r:id="rId1"/>
    </p:custDataLst>
    <p:extLst>
      <p:ext uri="{BB962C8B-B14F-4D97-AF65-F5344CB8AC3E}">
        <p14:creationId xmlns:p14="http://schemas.microsoft.com/office/powerpoint/2010/main" val="15498370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accel="30000" decel="7000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ppt_x"/>
                                          </p:val>
                                        </p:tav>
                                        <p:tav tm="100000">
                                          <p:val>
                                            <p:strVal val="#ppt_x"/>
                                          </p:val>
                                        </p:tav>
                                      </p:tavLst>
                                    </p:anim>
                                    <p:anim calcmode="lin" valueType="num">
                                      <p:cBhvr additive="base">
                                        <p:cTn id="8" dur="10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title">
  <p:cSld name="Titelfolie">
    <p:spTree>
      <p:nvGrpSpPr>
        <p:cNvPr id="1" name=""/>
        <p:cNvGrpSpPr/>
        <p:nvPr/>
      </p:nvGrpSpPr>
      <p:grpSpPr>
        <a:xfrm>
          <a:off x="0" y="0"/>
          <a:ext cx="0" cy="0"/>
          <a:chOff x="0" y="0"/>
          <a:chExt cx="0" cy="0"/>
        </a:xfrm>
      </p:grpSpPr>
      <p:sp>
        <p:nvSpPr>
          <p:cNvPr id="3251205" name="Rectangle 5"/>
          <p:cNvSpPr>
            <a:spLocks noGrp="1" noChangeArrowheads="1"/>
          </p:cNvSpPr>
          <p:nvPr>
            <p:ph type="ctrTitle" sz="quarter"/>
          </p:nvPr>
        </p:nvSpPr>
        <p:spPr>
          <a:xfrm>
            <a:off x="466725" y="268288"/>
            <a:ext cx="6208713" cy="928687"/>
          </a:xfrm>
        </p:spPr>
        <p:txBody>
          <a:bodyPr/>
          <a:lstStyle>
            <a:lvl1pPr>
              <a:defRPr sz="2400"/>
            </a:lvl1pPr>
          </a:lstStyle>
          <a:p>
            <a:pPr lvl="0"/>
            <a:r>
              <a:rPr lang="de-DE" noProof="0"/>
              <a:t>Titelmasterformat durch Klicken bearbeiten</a:t>
            </a:r>
          </a:p>
        </p:txBody>
      </p:sp>
      <p:sp>
        <p:nvSpPr>
          <p:cNvPr id="3251215" name="Freeform 15"/>
          <p:cNvSpPr>
            <a:spLocks noEditPoints="1"/>
          </p:cNvSpPr>
          <p:nvPr>
            <p:custDataLst>
              <p:tags r:id="rId1"/>
            </p:custDataLst>
          </p:nvPr>
        </p:nvSpPr>
        <p:spPr bwMode="auto">
          <a:xfrm>
            <a:off x="8216900" y="379413"/>
            <a:ext cx="463550" cy="488950"/>
          </a:xfrm>
          <a:custGeom>
            <a:avLst/>
            <a:gdLst>
              <a:gd name="T0" fmla="*/ 743 w 4092"/>
              <a:gd name="T1" fmla="*/ 3836 h 4104"/>
              <a:gd name="T2" fmla="*/ 1652 w 4092"/>
              <a:gd name="T3" fmla="*/ 3680 h 4104"/>
              <a:gd name="T4" fmla="*/ 2573 w 4092"/>
              <a:gd name="T5" fmla="*/ 3692 h 4104"/>
              <a:gd name="T6" fmla="*/ 3476 w 4092"/>
              <a:gd name="T7" fmla="*/ 3873 h 4104"/>
              <a:gd name="T8" fmla="*/ 0 w 4092"/>
              <a:gd name="T9" fmla="*/ 0 h 4104"/>
              <a:gd name="T10" fmla="*/ 3802 w 4092"/>
              <a:gd name="T11" fmla="*/ 1443 h 4104"/>
              <a:gd name="T12" fmla="*/ 3712 w 4092"/>
              <a:gd name="T13" fmla="*/ 1281 h 4104"/>
              <a:gd name="T14" fmla="*/ 3509 w 4092"/>
              <a:gd name="T15" fmla="*/ 1254 h 4104"/>
              <a:gd name="T16" fmla="*/ 3662 w 4092"/>
              <a:gd name="T17" fmla="*/ 1523 h 4104"/>
              <a:gd name="T18" fmla="*/ 3865 w 4092"/>
              <a:gd name="T19" fmla="*/ 1799 h 4104"/>
              <a:gd name="T20" fmla="*/ 3900 w 4092"/>
              <a:gd name="T21" fmla="*/ 2004 h 4104"/>
              <a:gd name="T22" fmla="*/ 3313 w 4092"/>
              <a:gd name="T23" fmla="*/ 1825 h 4104"/>
              <a:gd name="T24" fmla="*/ 3412 w 4092"/>
              <a:gd name="T25" fmla="*/ 1939 h 4104"/>
              <a:gd name="T26" fmla="*/ 3572 w 4092"/>
              <a:gd name="T27" fmla="*/ 1876 h 4104"/>
              <a:gd name="T28" fmla="*/ 3353 w 4092"/>
              <a:gd name="T29" fmla="*/ 1570 h 4104"/>
              <a:gd name="T30" fmla="*/ 3203 w 4092"/>
              <a:gd name="T31" fmla="*/ 1305 h 4104"/>
              <a:gd name="T32" fmla="*/ 2422 w 4092"/>
              <a:gd name="T33" fmla="*/ 1158 h 4104"/>
              <a:gd name="T34" fmla="*/ 2958 w 4092"/>
              <a:gd name="T35" fmla="*/ 1319 h 4104"/>
              <a:gd name="T36" fmla="*/ 2839 w 4092"/>
              <a:gd name="T37" fmla="*/ 1250 h 4104"/>
              <a:gd name="T38" fmla="*/ 2783 w 4092"/>
              <a:gd name="T39" fmla="*/ 1403 h 4104"/>
              <a:gd name="T40" fmla="*/ 2986 w 4092"/>
              <a:gd name="T41" fmla="*/ 1654 h 4104"/>
              <a:gd name="T42" fmla="*/ 3113 w 4092"/>
              <a:gd name="T43" fmla="*/ 1932 h 4104"/>
              <a:gd name="T44" fmla="*/ 2408 w 4092"/>
              <a:gd name="T45" fmla="*/ 1754 h 4104"/>
              <a:gd name="T46" fmla="*/ 2577 w 4092"/>
              <a:gd name="T47" fmla="*/ 1912 h 4104"/>
              <a:gd name="T48" fmla="*/ 2802 w 4092"/>
              <a:gd name="T49" fmla="*/ 1948 h 4104"/>
              <a:gd name="T50" fmla="*/ 2677 w 4092"/>
              <a:gd name="T51" fmla="*/ 1714 h 4104"/>
              <a:gd name="T52" fmla="*/ 2446 w 4092"/>
              <a:gd name="T53" fmla="*/ 1400 h 4104"/>
              <a:gd name="T54" fmla="*/ 1842 w 4092"/>
              <a:gd name="T55" fmla="*/ 1948 h 4104"/>
              <a:gd name="T56" fmla="*/ 1927 w 4092"/>
              <a:gd name="T57" fmla="*/ 1911 h 4104"/>
              <a:gd name="T58" fmla="*/ 1913 w 4092"/>
              <a:gd name="T59" fmla="*/ 1271 h 4104"/>
              <a:gd name="T60" fmla="*/ 2306 w 4092"/>
              <a:gd name="T61" fmla="*/ 1158 h 4104"/>
              <a:gd name="T62" fmla="*/ 2224 w 4092"/>
              <a:gd name="T63" fmla="*/ 1287 h 4104"/>
              <a:gd name="T64" fmla="*/ 2224 w 4092"/>
              <a:gd name="T65" fmla="*/ 1912 h 4104"/>
              <a:gd name="T66" fmla="*/ 2306 w 4092"/>
              <a:gd name="T67" fmla="*/ 2039 h 4104"/>
              <a:gd name="T68" fmla="*/ 1057 w 4092"/>
              <a:gd name="T69" fmla="*/ 1935 h 4104"/>
              <a:gd name="T70" fmla="*/ 1085 w 4092"/>
              <a:gd name="T71" fmla="*/ 1299 h 4104"/>
              <a:gd name="T72" fmla="*/ 1026 w 4092"/>
              <a:gd name="T73" fmla="*/ 1250 h 4104"/>
              <a:gd name="T74" fmla="*/ 1620 w 4092"/>
              <a:gd name="T75" fmla="*/ 1356 h 4104"/>
              <a:gd name="T76" fmla="*/ 1530 w 4092"/>
              <a:gd name="T77" fmla="*/ 1259 h 4104"/>
              <a:gd name="T78" fmla="*/ 1432 w 4092"/>
              <a:gd name="T79" fmla="*/ 1548 h 4104"/>
              <a:gd name="T80" fmla="*/ 1477 w 4092"/>
              <a:gd name="T81" fmla="*/ 1445 h 4104"/>
              <a:gd name="T82" fmla="*/ 1465 w 4092"/>
              <a:gd name="T83" fmla="*/ 1681 h 4104"/>
              <a:gd name="T84" fmla="*/ 1369 w 4092"/>
              <a:gd name="T85" fmla="*/ 1948 h 4104"/>
              <a:gd name="T86" fmla="*/ 1589 w 4092"/>
              <a:gd name="T87" fmla="*/ 1894 h 4104"/>
              <a:gd name="T88" fmla="*/ 1648 w 4092"/>
              <a:gd name="T89" fmla="*/ 1754 h 4104"/>
              <a:gd name="T90" fmla="*/ 180 w 4092"/>
              <a:gd name="T91" fmla="*/ 1948 h 4104"/>
              <a:gd name="T92" fmla="*/ 309 w 4092"/>
              <a:gd name="T93" fmla="*/ 1667 h 4104"/>
              <a:gd name="T94" fmla="*/ 538 w 4092"/>
              <a:gd name="T95" fmla="*/ 1368 h 4104"/>
              <a:gd name="T96" fmla="*/ 443 w 4092"/>
              <a:gd name="T97" fmla="*/ 1255 h 4104"/>
              <a:gd name="T98" fmla="*/ 315 w 4092"/>
              <a:gd name="T99" fmla="*/ 1374 h 4104"/>
              <a:gd name="T100" fmla="*/ 912 w 4092"/>
              <a:gd name="T101" fmla="*/ 1195 h 4104"/>
              <a:gd name="T102" fmla="*/ 784 w 4092"/>
              <a:gd name="T103" fmla="*/ 1516 h 4104"/>
              <a:gd name="T104" fmla="*/ 551 w 4092"/>
              <a:gd name="T105" fmla="*/ 1825 h 4104"/>
              <a:gd name="T106" fmla="*/ 707 w 4092"/>
              <a:gd name="T107" fmla="*/ 1925 h 4104"/>
              <a:gd name="T108" fmla="*/ 786 w 4092"/>
              <a:gd name="T109" fmla="*/ 1827 h 4104"/>
              <a:gd name="T110" fmla="*/ 173 w 4092"/>
              <a:gd name="T111" fmla="*/ 1998 h 4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92" h="4104">
                <a:moveTo>
                  <a:pt x="0" y="4104"/>
                </a:moveTo>
                <a:lnTo>
                  <a:pt x="121" y="4051"/>
                </a:lnTo>
                <a:lnTo>
                  <a:pt x="243" y="4001"/>
                </a:lnTo>
                <a:lnTo>
                  <a:pt x="366" y="3955"/>
                </a:lnTo>
                <a:lnTo>
                  <a:pt x="491" y="3912"/>
                </a:lnTo>
                <a:lnTo>
                  <a:pt x="617" y="3873"/>
                </a:lnTo>
                <a:lnTo>
                  <a:pt x="743" y="3836"/>
                </a:lnTo>
                <a:lnTo>
                  <a:pt x="871" y="3804"/>
                </a:lnTo>
                <a:lnTo>
                  <a:pt x="1000" y="3775"/>
                </a:lnTo>
                <a:lnTo>
                  <a:pt x="1129" y="3749"/>
                </a:lnTo>
                <a:lnTo>
                  <a:pt x="1259" y="3727"/>
                </a:lnTo>
                <a:lnTo>
                  <a:pt x="1389" y="3707"/>
                </a:lnTo>
                <a:lnTo>
                  <a:pt x="1521" y="3692"/>
                </a:lnTo>
                <a:lnTo>
                  <a:pt x="1652" y="3680"/>
                </a:lnTo>
                <a:lnTo>
                  <a:pt x="1783" y="3671"/>
                </a:lnTo>
                <a:lnTo>
                  <a:pt x="1915" y="3666"/>
                </a:lnTo>
                <a:lnTo>
                  <a:pt x="2047" y="3664"/>
                </a:lnTo>
                <a:lnTo>
                  <a:pt x="2178" y="3666"/>
                </a:lnTo>
                <a:lnTo>
                  <a:pt x="2311" y="3671"/>
                </a:lnTo>
                <a:lnTo>
                  <a:pt x="2442" y="3680"/>
                </a:lnTo>
                <a:lnTo>
                  <a:pt x="2573" y="3692"/>
                </a:lnTo>
                <a:lnTo>
                  <a:pt x="2704" y="3707"/>
                </a:lnTo>
                <a:lnTo>
                  <a:pt x="2835" y="3727"/>
                </a:lnTo>
                <a:lnTo>
                  <a:pt x="2964" y="3749"/>
                </a:lnTo>
                <a:lnTo>
                  <a:pt x="3093" y="3775"/>
                </a:lnTo>
                <a:lnTo>
                  <a:pt x="3222" y="3804"/>
                </a:lnTo>
                <a:lnTo>
                  <a:pt x="3350" y="3836"/>
                </a:lnTo>
                <a:lnTo>
                  <a:pt x="3476" y="3873"/>
                </a:lnTo>
                <a:lnTo>
                  <a:pt x="3602" y="3912"/>
                </a:lnTo>
                <a:lnTo>
                  <a:pt x="3726" y="3955"/>
                </a:lnTo>
                <a:lnTo>
                  <a:pt x="3850" y="4001"/>
                </a:lnTo>
                <a:lnTo>
                  <a:pt x="3972" y="4051"/>
                </a:lnTo>
                <a:lnTo>
                  <a:pt x="4092" y="4104"/>
                </a:lnTo>
                <a:lnTo>
                  <a:pt x="4092" y="0"/>
                </a:lnTo>
                <a:lnTo>
                  <a:pt x="0" y="0"/>
                </a:lnTo>
                <a:lnTo>
                  <a:pt x="0" y="4104"/>
                </a:lnTo>
                <a:close/>
                <a:moveTo>
                  <a:pt x="3198" y="1210"/>
                </a:moveTo>
                <a:lnTo>
                  <a:pt x="3205" y="1184"/>
                </a:lnTo>
                <a:lnTo>
                  <a:pt x="3214" y="1158"/>
                </a:lnTo>
                <a:lnTo>
                  <a:pt x="3891" y="1158"/>
                </a:lnTo>
                <a:lnTo>
                  <a:pt x="3891" y="1443"/>
                </a:lnTo>
                <a:lnTo>
                  <a:pt x="3802" y="1443"/>
                </a:lnTo>
                <a:lnTo>
                  <a:pt x="3788" y="1394"/>
                </a:lnTo>
                <a:lnTo>
                  <a:pt x="3770" y="1352"/>
                </a:lnTo>
                <a:lnTo>
                  <a:pt x="3761" y="1334"/>
                </a:lnTo>
                <a:lnTo>
                  <a:pt x="3749" y="1319"/>
                </a:lnTo>
                <a:lnTo>
                  <a:pt x="3738" y="1304"/>
                </a:lnTo>
                <a:lnTo>
                  <a:pt x="3725" y="1292"/>
                </a:lnTo>
                <a:lnTo>
                  <a:pt x="3712" y="1281"/>
                </a:lnTo>
                <a:lnTo>
                  <a:pt x="3698" y="1272"/>
                </a:lnTo>
                <a:lnTo>
                  <a:pt x="3682" y="1264"/>
                </a:lnTo>
                <a:lnTo>
                  <a:pt x="3667" y="1258"/>
                </a:lnTo>
                <a:lnTo>
                  <a:pt x="3631" y="1250"/>
                </a:lnTo>
                <a:lnTo>
                  <a:pt x="3592" y="1248"/>
                </a:lnTo>
                <a:lnTo>
                  <a:pt x="3509" y="1248"/>
                </a:lnTo>
                <a:lnTo>
                  <a:pt x="3509" y="1254"/>
                </a:lnTo>
                <a:lnTo>
                  <a:pt x="3517" y="1281"/>
                </a:lnTo>
                <a:lnTo>
                  <a:pt x="3528" y="1311"/>
                </a:lnTo>
                <a:lnTo>
                  <a:pt x="3548" y="1353"/>
                </a:lnTo>
                <a:lnTo>
                  <a:pt x="3575" y="1403"/>
                </a:lnTo>
                <a:lnTo>
                  <a:pt x="3613" y="1459"/>
                </a:lnTo>
                <a:lnTo>
                  <a:pt x="3635" y="1491"/>
                </a:lnTo>
                <a:lnTo>
                  <a:pt x="3662" y="1523"/>
                </a:lnTo>
                <a:lnTo>
                  <a:pt x="3691" y="1556"/>
                </a:lnTo>
                <a:lnTo>
                  <a:pt x="3724" y="1590"/>
                </a:lnTo>
                <a:lnTo>
                  <a:pt x="3749" y="1618"/>
                </a:lnTo>
                <a:lnTo>
                  <a:pt x="3778" y="1654"/>
                </a:lnTo>
                <a:lnTo>
                  <a:pt x="3808" y="1698"/>
                </a:lnTo>
                <a:lnTo>
                  <a:pt x="3838" y="1747"/>
                </a:lnTo>
                <a:lnTo>
                  <a:pt x="3865" y="1799"/>
                </a:lnTo>
                <a:lnTo>
                  <a:pt x="3887" y="1852"/>
                </a:lnTo>
                <a:lnTo>
                  <a:pt x="3895" y="1879"/>
                </a:lnTo>
                <a:lnTo>
                  <a:pt x="3901" y="1906"/>
                </a:lnTo>
                <a:lnTo>
                  <a:pt x="3904" y="1932"/>
                </a:lnTo>
                <a:lnTo>
                  <a:pt x="3906" y="1957"/>
                </a:lnTo>
                <a:lnTo>
                  <a:pt x="3905" y="1983"/>
                </a:lnTo>
                <a:lnTo>
                  <a:pt x="3900" y="2004"/>
                </a:lnTo>
                <a:lnTo>
                  <a:pt x="3893" y="2022"/>
                </a:lnTo>
                <a:lnTo>
                  <a:pt x="3883" y="2039"/>
                </a:lnTo>
                <a:lnTo>
                  <a:pt x="3199" y="2039"/>
                </a:lnTo>
                <a:lnTo>
                  <a:pt x="3199" y="1754"/>
                </a:lnTo>
                <a:lnTo>
                  <a:pt x="3293" y="1754"/>
                </a:lnTo>
                <a:lnTo>
                  <a:pt x="3302" y="1791"/>
                </a:lnTo>
                <a:lnTo>
                  <a:pt x="3313" y="1825"/>
                </a:lnTo>
                <a:lnTo>
                  <a:pt x="3328" y="1858"/>
                </a:lnTo>
                <a:lnTo>
                  <a:pt x="3346" y="1887"/>
                </a:lnTo>
                <a:lnTo>
                  <a:pt x="3356" y="1900"/>
                </a:lnTo>
                <a:lnTo>
                  <a:pt x="3369" y="1912"/>
                </a:lnTo>
                <a:lnTo>
                  <a:pt x="3381" y="1922"/>
                </a:lnTo>
                <a:lnTo>
                  <a:pt x="3396" y="1932"/>
                </a:lnTo>
                <a:lnTo>
                  <a:pt x="3412" y="1939"/>
                </a:lnTo>
                <a:lnTo>
                  <a:pt x="3430" y="1944"/>
                </a:lnTo>
                <a:lnTo>
                  <a:pt x="3450" y="1947"/>
                </a:lnTo>
                <a:lnTo>
                  <a:pt x="3472" y="1948"/>
                </a:lnTo>
                <a:lnTo>
                  <a:pt x="3594" y="1948"/>
                </a:lnTo>
                <a:lnTo>
                  <a:pt x="3594" y="1941"/>
                </a:lnTo>
                <a:lnTo>
                  <a:pt x="3586" y="1918"/>
                </a:lnTo>
                <a:lnTo>
                  <a:pt x="3572" y="1876"/>
                </a:lnTo>
                <a:lnTo>
                  <a:pt x="3554" y="1841"/>
                </a:lnTo>
                <a:lnTo>
                  <a:pt x="3529" y="1800"/>
                </a:lnTo>
                <a:lnTo>
                  <a:pt x="3499" y="1758"/>
                </a:lnTo>
                <a:lnTo>
                  <a:pt x="3469" y="1714"/>
                </a:lnTo>
                <a:lnTo>
                  <a:pt x="3412" y="1641"/>
                </a:lnTo>
                <a:lnTo>
                  <a:pt x="3383" y="1603"/>
                </a:lnTo>
                <a:lnTo>
                  <a:pt x="3353" y="1570"/>
                </a:lnTo>
                <a:lnTo>
                  <a:pt x="3324" y="1533"/>
                </a:lnTo>
                <a:lnTo>
                  <a:pt x="3288" y="1485"/>
                </a:lnTo>
                <a:lnTo>
                  <a:pt x="3254" y="1430"/>
                </a:lnTo>
                <a:lnTo>
                  <a:pt x="3238" y="1400"/>
                </a:lnTo>
                <a:lnTo>
                  <a:pt x="3224" y="1370"/>
                </a:lnTo>
                <a:lnTo>
                  <a:pt x="3212" y="1337"/>
                </a:lnTo>
                <a:lnTo>
                  <a:pt x="3203" y="1305"/>
                </a:lnTo>
                <a:lnTo>
                  <a:pt x="3197" y="1273"/>
                </a:lnTo>
                <a:lnTo>
                  <a:pt x="3195" y="1240"/>
                </a:lnTo>
                <a:lnTo>
                  <a:pt x="3198" y="1210"/>
                </a:lnTo>
                <a:close/>
                <a:moveTo>
                  <a:pt x="2404" y="1225"/>
                </a:moveTo>
                <a:lnTo>
                  <a:pt x="2406" y="1210"/>
                </a:lnTo>
                <a:lnTo>
                  <a:pt x="2413" y="1184"/>
                </a:lnTo>
                <a:lnTo>
                  <a:pt x="2422" y="1158"/>
                </a:lnTo>
                <a:lnTo>
                  <a:pt x="3099" y="1158"/>
                </a:lnTo>
                <a:lnTo>
                  <a:pt x="3099" y="1443"/>
                </a:lnTo>
                <a:lnTo>
                  <a:pt x="3010" y="1443"/>
                </a:lnTo>
                <a:lnTo>
                  <a:pt x="2996" y="1394"/>
                </a:lnTo>
                <a:lnTo>
                  <a:pt x="2978" y="1352"/>
                </a:lnTo>
                <a:lnTo>
                  <a:pt x="2968" y="1334"/>
                </a:lnTo>
                <a:lnTo>
                  <a:pt x="2958" y="1319"/>
                </a:lnTo>
                <a:lnTo>
                  <a:pt x="2945" y="1304"/>
                </a:lnTo>
                <a:lnTo>
                  <a:pt x="2933" y="1292"/>
                </a:lnTo>
                <a:lnTo>
                  <a:pt x="2920" y="1281"/>
                </a:lnTo>
                <a:lnTo>
                  <a:pt x="2906" y="1272"/>
                </a:lnTo>
                <a:lnTo>
                  <a:pt x="2890" y="1264"/>
                </a:lnTo>
                <a:lnTo>
                  <a:pt x="2875" y="1258"/>
                </a:lnTo>
                <a:lnTo>
                  <a:pt x="2839" y="1250"/>
                </a:lnTo>
                <a:lnTo>
                  <a:pt x="2800" y="1248"/>
                </a:lnTo>
                <a:lnTo>
                  <a:pt x="2717" y="1248"/>
                </a:lnTo>
                <a:lnTo>
                  <a:pt x="2717" y="1254"/>
                </a:lnTo>
                <a:lnTo>
                  <a:pt x="2725" y="1281"/>
                </a:lnTo>
                <a:lnTo>
                  <a:pt x="2737" y="1311"/>
                </a:lnTo>
                <a:lnTo>
                  <a:pt x="2756" y="1353"/>
                </a:lnTo>
                <a:lnTo>
                  <a:pt x="2783" y="1403"/>
                </a:lnTo>
                <a:lnTo>
                  <a:pt x="2820" y="1459"/>
                </a:lnTo>
                <a:lnTo>
                  <a:pt x="2844" y="1491"/>
                </a:lnTo>
                <a:lnTo>
                  <a:pt x="2870" y="1523"/>
                </a:lnTo>
                <a:lnTo>
                  <a:pt x="2900" y="1556"/>
                </a:lnTo>
                <a:lnTo>
                  <a:pt x="2932" y="1590"/>
                </a:lnTo>
                <a:lnTo>
                  <a:pt x="2957" y="1618"/>
                </a:lnTo>
                <a:lnTo>
                  <a:pt x="2986" y="1654"/>
                </a:lnTo>
                <a:lnTo>
                  <a:pt x="3016" y="1698"/>
                </a:lnTo>
                <a:lnTo>
                  <a:pt x="3046" y="1747"/>
                </a:lnTo>
                <a:lnTo>
                  <a:pt x="3073" y="1799"/>
                </a:lnTo>
                <a:lnTo>
                  <a:pt x="3095" y="1852"/>
                </a:lnTo>
                <a:lnTo>
                  <a:pt x="3103" y="1879"/>
                </a:lnTo>
                <a:lnTo>
                  <a:pt x="3109" y="1906"/>
                </a:lnTo>
                <a:lnTo>
                  <a:pt x="3113" y="1932"/>
                </a:lnTo>
                <a:lnTo>
                  <a:pt x="3114" y="1957"/>
                </a:lnTo>
                <a:lnTo>
                  <a:pt x="3113" y="1983"/>
                </a:lnTo>
                <a:lnTo>
                  <a:pt x="3108" y="2004"/>
                </a:lnTo>
                <a:lnTo>
                  <a:pt x="3101" y="2022"/>
                </a:lnTo>
                <a:lnTo>
                  <a:pt x="3090" y="2039"/>
                </a:lnTo>
                <a:lnTo>
                  <a:pt x="2408" y="2039"/>
                </a:lnTo>
                <a:lnTo>
                  <a:pt x="2408" y="1754"/>
                </a:lnTo>
                <a:lnTo>
                  <a:pt x="2500" y="1754"/>
                </a:lnTo>
                <a:lnTo>
                  <a:pt x="2510" y="1791"/>
                </a:lnTo>
                <a:lnTo>
                  <a:pt x="2521" y="1825"/>
                </a:lnTo>
                <a:lnTo>
                  <a:pt x="2536" y="1858"/>
                </a:lnTo>
                <a:lnTo>
                  <a:pt x="2554" y="1887"/>
                </a:lnTo>
                <a:lnTo>
                  <a:pt x="2564" y="1900"/>
                </a:lnTo>
                <a:lnTo>
                  <a:pt x="2577" y="1912"/>
                </a:lnTo>
                <a:lnTo>
                  <a:pt x="2590" y="1922"/>
                </a:lnTo>
                <a:lnTo>
                  <a:pt x="2605" y="1932"/>
                </a:lnTo>
                <a:lnTo>
                  <a:pt x="2620" y="1939"/>
                </a:lnTo>
                <a:lnTo>
                  <a:pt x="2639" y="1944"/>
                </a:lnTo>
                <a:lnTo>
                  <a:pt x="2659" y="1947"/>
                </a:lnTo>
                <a:lnTo>
                  <a:pt x="2681" y="1948"/>
                </a:lnTo>
                <a:lnTo>
                  <a:pt x="2802" y="1948"/>
                </a:lnTo>
                <a:lnTo>
                  <a:pt x="2802" y="1941"/>
                </a:lnTo>
                <a:lnTo>
                  <a:pt x="2794" y="1918"/>
                </a:lnTo>
                <a:lnTo>
                  <a:pt x="2781" y="1876"/>
                </a:lnTo>
                <a:lnTo>
                  <a:pt x="2762" y="1841"/>
                </a:lnTo>
                <a:lnTo>
                  <a:pt x="2737" y="1800"/>
                </a:lnTo>
                <a:lnTo>
                  <a:pt x="2708" y="1758"/>
                </a:lnTo>
                <a:lnTo>
                  <a:pt x="2677" y="1714"/>
                </a:lnTo>
                <a:lnTo>
                  <a:pt x="2620" y="1641"/>
                </a:lnTo>
                <a:lnTo>
                  <a:pt x="2589" y="1603"/>
                </a:lnTo>
                <a:lnTo>
                  <a:pt x="2561" y="1570"/>
                </a:lnTo>
                <a:lnTo>
                  <a:pt x="2531" y="1533"/>
                </a:lnTo>
                <a:lnTo>
                  <a:pt x="2496" y="1485"/>
                </a:lnTo>
                <a:lnTo>
                  <a:pt x="2462" y="1430"/>
                </a:lnTo>
                <a:lnTo>
                  <a:pt x="2446" y="1400"/>
                </a:lnTo>
                <a:lnTo>
                  <a:pt x="2433" y="1370"/>
                </a:lnTo>
                <a:lnTo>
                  <a:pt x="2420" y="1337"/>
                </a:lnTo>
                <a:lnTo>
                  <a:pt x="2411" y="1305"/>
                </a:lnTo>
                <a:lnTo>
                  <a:pt x="2406" y="1273"/>
                </a:lnTo>
                <a:lnTo>
                  <a:pt x="2402" y="1240"/>
                </a:lnTo>
                <a:lnTo>
                  <a:pt x="2404" y="1225"/>
                </a:lnTo>
                <a:close/>
                <a:moveTo>
                  <a:pt x="1842" y="1948"/>
                </a:moveTo>
                <a:lnTo>
                  <a:pt x="1876" y="1948"/>
                </a:lnTo>
                <a:lnTo>
                  <a:pt x="1884" y="1947"/>
                </a:lnTo>
                <a:lnTo>
                  <a:pt x="1894" y="1943"/>
                </a:lnTo>
                <a:lnTo>
                  <a:pt x="1903" y="1937"/>
                </a:lnTo>
                <a:lnTo>
                  <a:pt x="1913" y="1930"/>
                </a:lnTo>
                <a:lnTo>
                  <a:pt x="1921" y="1920"/>
                </a:lnTo>
                <a:lnTo>
                  <a:pt x="1927" y="1911"/>
                </a:lnTo>
                <a:lnTo>
                  <a:pt x="1931" y="1901"/>
                </a:lnTo>
                <a:lnTo>
                  <a:pt x="1932" y="1892"/>
                </a:lnTo>
                <a:lnTo>
                  <a:pt x="1932" y="1308"/>
                </a:lnTo>
                <a:lnTo>
                  <a:pt x="1931" y="1299"/>
                </a:lnTo>
                <a:lnTo>
                  <a:pt x="1927" y="1289"/>
                </a:lnTo>
                <a:lnTo>
                  <a:pt x="1921" y="1280"/>
                </a:lnTo>
                <a:lnTo>
                  <a:pt x="1913" y="1271"/>
                </a:lnTo>
                <a:lnTo>
                  <a:pt x="1903" y="1262"/>
                </a:lnTo>
                <a:lnTo>
                  <a:pt x="1893" y="1255"/>
                </a:lnTo>
                <a:lnTo>
                  <a:pt x="1882" y="1251"/>
                </a:lnTo>
                <a:lnTo>
                  <a:pt x="1872" y="1250"/>
                </a:lnTo>
                <a:lnTo>
                  <a:pt x="1842" y="1250"/>
                </a:lnTo>
                <a:lnTo>
                  <a:pt x="1842" y="1158"/>
                </a:lnTo>
                <a:lnTo>
                  <a:pt x="2306" y="1158"/>
                </a:lnTo>
                <a:lnTo>
                  <a:pt x="2306" y="1250"/>
                </a:lnTo>
                <a:lnTo>
                  <a:pt x="2275" y="1250"/>
                </a:lnTo>
                <a:lnTo>
                  <a:pt x="2263" y="1252"/>
                </a:lnTo>
                <a:lnTo>
                  <a:pt x="2251" y="1257"/>
                </a:lnTo>
                <a:lnTo>
                  <a:pt x="2241" y="1265"/>
                </a:lnTo>
                <a:lnTo>
                  <a:pt x="2232" y="1276"/>
                </a:lnTo>
                <a:lnTo>
                  <a:pt x="2224" y="1287"/>
                </a:lnTo>
                <a:lnTo>
                  <a:pt x="2219" y="1299"/>
                </a:lnTo>
                <a:lnTo>
                  <a:pt x="2216" y="1309"/>
                </a:lnTo>
                <a:lnTo>
                  <a:pt x="2214" y="1319"/>
                </a:lnTo>
                <a:lnTo>
                  <a:pt x="2214" y="1881"/>
                </a:lnTo>
                <a:lnTo>
                  <a:pt x="2215" y="1890"/>
                </a:lnTo>
                <a:lnTo>
                  <a:pt x="2219" y="1900"/>
                </a:lnTo>
                <a:lnTo>
                  <a:pt x="2224" y="1912"/>
                </a:lnTo>
                <a:lnTo>
                  <a:pt x="2230" y="1923"/>
                </a:lnTo>
                <a:lnTo>
                  <a:pt x="2239" y="1933"/>
                </a:lnTo>
                <a:lnTo>
                  <a:pt x="2249" y="1941"/>
                </a:lnTo>
                <a:lnTo>
                  <a:pt x="2260" y="1946"/>
                </a:lnTo>
                <a:lnTo>
                  <a:pt x="2271" y="1948"/>
                </a:lnTo>
                <a:lnTo>
                  <a:pt x="2306" y="1948"/>
                </a:lnTo>
                <a:lnTo>
                  <a:pt x="2306" y="2039"/>
                </a:lnTo>
                <a:lnTo>
                  <a:pt x="1842" y="2039"/>
                </a:lnTo>
                <a:lnTo>
                  <a:pt x="1842" y="1948"/>
                </a:lnTo>
                <a:close/>
                <a:moveTo>
                  <a:pt x="995" y="1946"/>
                </a:moveTo>
                <a:lnTo>
                  <a:pt x="1030" y="1946"/>
                </a:lnTo>
                <a:lnTo>
                  <a:pt x="1038" y="1944"/>
                </a:lnTo>
                <a:lnTo>
                  <a:pt x="1047" y="1941"/>
                </a:lnTo>
                <a:lnTo>
                  <a:pt x="1057" y="1935"/>
                </a:lnTo>
                <a:lnTo>
                  <a:pt x="1066" y="1927"/>
                </a:lnTo>
                <a:lnTo>
                  <a:pt x="1075" y="1918"/>
                </a:lnTo>
                <a:lnTo>
                  <a:pt x="1081" y="1909"/>
                </a:lnTo>
                <a:lnTo>
                  <a:pt x="1085" y="1899"/>
                </a:lnTo>
                <a:lnTo>
                  <a:pt x="1086" y="1889"/>
                </a:lnTo>
                <a:lnTo>
                  <a:pt x="1086" y="1308"/>
                </a:lnTo>
                <a:lnTo>
                  <a:pt x="1085" y="1299"/>
                </a:lnTo>
                <a:lnTo>
                  <a:pt x="1081" y="1289"/>
                </a:lnTo>
                <a:lnTo>
                  <a:pt x="1075" y="1280"/>
                </a:lnTo>
                <a:lnTo>
                  <a:pt x="1066" y="1271"/>
                </a:lnTo>
                <a:lnTo>
                  <a:pt x="1057" y="1262"/>
                </a:lnTo>
                <a:lnTo>
                  <a:pt x="1046" y="1256"/>
                </a:lnTo>
                <a:lnTo>
                  <a:pt x="1036" y="1251"/>
                </a:lnTo>
                <a:lnTo>
                  <a:pt x="1026" y="1250"/>
                </a:lnTo>
                <a:lnTo>
                  <a:pt x="995" y="1250"/>
                </a:lnTo>
                <a:lnTo>
                  <a:pt x="995" y="1158"/>
                </a:lnTo>
                <a:lnTo>
                  <a:pt x="1742" y="1158"/>
                </a:lnTo>
                <a:lnTo>
                  <a:pt x="1742" y="1443"/>
                </a:lnTo>
                <a:lnTo>
                  <a:pt x="1648" y="1443"/>
                </a:lnTo>
                <a:lnTo>
                  <a:pt x="1635" y="1397"/>
                </a:lnTo>
                <a:lnTo>
                  <a:pt x="1620" y="1356"/>
                </a:lnTo>
                <a:lnTo>
                  <a:pt x="1602" y="1323"/>
                </a:lnTo>
                <a:lnTo>
                  <a:pt x="1592" y="1308"/>
                </a:lnTo>
                <a:lnTo>
                  <a:pt x="1581" y="1296"/>
                </a:lnTo>
                <a:lnTo>
                  <a:pt x="1570" y="1284"/>
                </a:lnTo>
                <a:lnTo>
                  <a:pt x="1557" y="1275"/>
                </a:lnTo>
                <a:lnTo>
                  <a:pt x="1544" y="1267"/>
                </a:lnTo>
                <a:lnTo>
                  <a:pt x="1530" y="1259"/>
                </a:lnTo>
                <a:lnTo>
                  <a:pt x="1514" y="1254"/>
                </a:lnTo>
                <a:lnTo>
                  <a:pt x="1498" y="1251"/>
                </a:lnTo>
                <a:lnTo>
                  <a:pt x="1461" y="1248"/>
                </a:lnTo>
                <a:lnTo>
                  <a:pt x="1369" y="1248"/>
                </a:lnTo>
                <a:lnTo>
                  <a:pt x="1369" y="1553"/>
                </a:lnTo>
                <a:lnTo>
                  <a:pt x="1416" y="1553"/>
                </a:lnTo>
                <a:lnTo>
                  <a:pt x="1432" y="1548"/>
                </a:lnTo>
                <a:lnTo>
                  <a:pt x="1441" y="1542"/>
                </a:lnTo>
                <a:lnTo>
                  <a:pt x="1452" y="1533"/>
                </a:lnTo>
                <a:lnTo>
                  <a:pt x="1461" y="1524"/>
                </a:lnTo>
                <a:lnTo>
                  <a:pt x="1470" y="1513"/>
                </a:lnTo>
                <a:lnTo>
                  <a:pt x="1475" y="1500"/>
                </a:lnTo>
                <a:lnTo>
                  <a:pt x="1477" y="1485"/>
                </a:lnTo>
                <a:lnTo>
                  <a:pt x="1477" y="1445"/>
                </a:lnTo>
                <a:lnTo>
                  <a:pt x="1568" y="1445"/>
                </a:lnTo>
                <a:lnTo>
                  <a:pt x="1568" y="1752"/>
                </a:lnTo>
                <a:lnTo>
                  <a:pt x="1477" y="1752"/>
                </a:lnTo>
                <a:lnTo>
                  <a:pt x="1477" y="1714"/>
                </a:lnTo>
                <a:lnTo>
                  <a:pt x="1476" y="1704"/>
                </a:lnTo>
                <a:lnTo>
                  <a:pt x="1472" y="1693"/>
                </a:lnTo>
                <a:lnTo>
                  <a:pt x="1465" y="1681"/>
                </a:lnTo>
                <a:lnTo>
                  <a:pt x="1457" y="1671"/>
                </a:lnTo>
                <a:lnTo>
                  <a:pt x="1447" y="1661"/>
                </a:lnTo>
                <a:lnTo>
                  <a:pt x="1433" y="1652"/>
                </a:lnTo>
                <a:lnTo>
                  <a:pt x="1419" y="1646"/>
                </a:lnTo>
                <a:lnTo>
                  <a:pt x="1401" y="1644"/>
                </a:lnTo>
                <a:lnTo>
                  <a:pt x="1369" y="1644"/>
                </a:lnTo>
                <a:lnTo>
                  <a:pt x="1369" y="1948"/>
                </a:lnTo>
                <a:lnTo>
                  <a:pt x="1471" y="1948"/>
                </a:lnTo>
                <a:lnTo>
                  <a:pt x="1497" y="1946"/>
                </a:lnTo>
                <a:lnTo>
                  <a:pt x="1524" y="1939"/>
                </a:lnTo>
                <a:lnTo>
                  <a:pt x="1551" y="1925"/>
                </a:lnTo>
                <a:lnTo>
                  <a:pt x="1564" y="1917"/>
                </a:lnTo>
                <a:lnTo>
                  <a:pt x="1577" y="1907"/>
                </a:lnTo>
                <a:lnTo>
                  <a:pt x="1589" y="1894"/>
                </a:lnTo>
                <a:lnTo>
                  <a:pt x="1600" y="1881"/>
                </a:lnTo>
                <a:lnTo>
                  <a:pt x="1611" y="1865"/>
                </a:lnTo>
                <a:lnTo>
                  <a:pt x="1621" y="1847"/>
                </a:lnTo>
                <a:lnTo>
                  <a:pt x="1629" y="1827"/>
                </a:lnTo>
                <a:lnTo>
                  <a:pt x="1637" y="1805"/>
                </a:lnTo>
                <a:lnTo>
                  <a:pt x="1644" y="1781"/>
                </a:lnTo>
                <a:lnTo>
                  <a:pt x="1648" y="1754"/>
                </a:lnTo>
                <a:lnTo>
                  <a:pt x="1742" y="1754"/>
                </a:lnTo>
                <a:lnTo>
                  <a:pt x="1742" y="2039"/>
                </a:lnTo>
                <a:lnTo>
                  <a:pt x="995" y="2039"/>
                </a:lnTo>
                <a:lnTo>
                  <a:pt x="995" y="1946"/>
                </a:lnTo>
                <a:close/>
                <a:moveTo>
                  <a:pt x="173" y="1998"/>
                </a:moveTo>
                <a:lnTo>
                  <a:pt x="174" y="1983"/>
                </a:lnTo>
                <a:lnTo>
                  <a:pt x="180" y="1948"/>
                </a:lnTo>
                <a:lnTo>
                  <a:pt x="192" y="1901"/>
                </a:lnTo>
                <a:lnTo>
                  <a:pt x="201" y="1874"/>
                </a:lnTo>
                <a:lnTo>
                  <a:pt x="213" y="1846"/>
                </a:lnTo>
                <a:lnTo>
                  <a:pt x="235" y="1796"/>
                </a:lnTo>
                <a:lnTo>
                  <a:pt x="267" y="1734"/>
                </a:lnTo>
                <a:lnTo>
                  <a:pt x="287" y="1700"/>
                </a:lnTo>
                <a:lnTo>
                  <a:pt x="309" y="1667"/>
                </a:lnTo>
                <a:lnTo>
                  <a:pt x="334" y="1635"/>
                </a:lnTo>
                <a:lnTo>
                  <a:pt x="360" y="1605"/>
                </a:lnTo>
                <a:lnTo>
                  <a:pt x="392" y="1572"/>
                </a:lnTo>
                <a:lnTo>
                  <a:pt x="420" y="1540"/>
                </a:lnTo>
                <a:lnTo>
                  <a:pt x="469" y="1477"/>
                </a:lnTo>
                <a:lnTo>
                  <a:pt x="508" y="1420"/>
                </a:lnTo>
                <a:lnTo>
                  <a:pt x="538" y="1368"/>
                </a:lnTo>
                <a:lnTo>
                  <a:pt x="559" y="1324"/>
                </a:lnTo>
                <a:lnTo>
                  <a:pt x="574" y="1289"/>
                </a:lnTo>
                <a:lnTo>
                  <a:pt x="588" y="1254"/>
                </a:lnTo>
                <a:lnTo>
                  <a:pt x="588" y="1248"/>
                </a:lnTo>
                <a:lnTo>
                  <a:pt x="506" y="1248"/>
                </a:lnTo>
                <a:lnTo>
                  <a:pt x="472" y="1250"/>
                </a:lnTo>
                <a:lnTo>
                  <a:pt x="443" y="1255"/>
                </a:lnTo>
                <a:lnTo>
                  <a:pt x="418" y="1264"/>
                </a:lnTo>
                <a:lnTo>
                  <a:pt x="395" y="1276"/>
                </a:lnTo>
                <a:lnTo>
                  <a:pt x="375" y="1289"/>
                </a:lnTo>
                <a:lnTo>
                  <a:pt x="359" y="1305"/>
                </a:lnTo>
                <a:lnTo>
                  <a:pt x="344" y="1322"/>
                </a:lnTo>
                <a:lnTo>
                  <a:pt x="332" y="1340"/>
                </a:lnTo>
                <a:lnTo>
                  <a:pt x="315" y="1374"/>
                </a:lnTo>
                <a:lnTo>
                  <a:pt x="303" y="1405"/>
                </a:lnTo>
                <a:lnTo>
                  <a:pt x="295" y="1443"/>
                </a:lnTo>
                <a:lnTo>
                  <a:pt x="206" y="1443"/>
                </a:lnTo>
                <a:lnTo>
                  <a:pt x="206" y="1158"/>
                </a:lnTo>
                <a:lnTo>
                  <a:pt x="913" y="1158"/>
                </a:lnTo>
                <a:lnTo>
                  <a:pt x="913" y="1182"/>
                </a:lnTo>
                <a:lnTo>
                  <a:pt x="912" y="1195"/>
                </a:lnTo>
                <a:lnTo>
                  <a:pt x="907" y="1226"/>
                </a:lnTo>
                <a:lnTo>
                  <a:pt x="897" y="1271"/>
                </a:lnTo>
                <a:lnTo>
                  <a:pt x="881" y="1325"/>
                </a:lnTo>
                <a:lnTo>
                  <a:pt x="859" y="1379"/>
                </a:lnTo>
                <a:lnTo>
                  <a:pt x="835" y="1428"/>
                </a:lnTo>
                <a:lnTo>
                  <a:pt x="810" y="1474"/>
                </a:lnTo>
                <a:lnTo>
                  <a:pt x="784" y="1516"/>
                </a:lnTo>
                <a:lnTo>
                  <a:pt x="757" y="1554"/>
                </a:lnTo>
                <a:lnTo>
                  <a:pt x="730" y="1590"/>
                </a:lnTo>
                <a:lnTo>
                  <a:pt x="673" y="1658"/>
                </a:lnTo>
                <a:lnTo>
                  <a:pt x="620" y="1723"/>
                </a:lnTo>
                <a:lnTo>
                  <a:pt x="596" y="1756"/>
                </a:lnTo>
                <a:lnTo>
                  <a:pt x="572" y="1790"/>
                </a:lnTo>
                <a:lnTo>
                  <a:pt x="551" y="1825"/>
                </a:lnTo>
                <a:lnTo>
                  <a:pt x="533" y="1864"/>
                </a:lnTo>
                <a:lnTo>
                  <a:pt x="516" y="1904"/>
                </a:lnTo>
                <a:lnTo>
                  <a:pt x="503" y="1948"/>
                </a:lnTo>
                <a:lnTo>
                  <a:pt x="624" y="1948"/>
                </a:lnTo>
                <a:lnTo>
                  <a:pt x="651" y="1946"/>
                </a:lnTo>
                <a:lnTo>
                  <a:pt x="680" y="1939"/>
                </a:lnTo>
                <a:lnTo>
                  <a:pt x="707" y="1925"/>
                </a:lnTo>
                <a:lnTo>
                  <a:pt x="720" y="1917"/>
                </a:lnTo>
                <a:lnTo>
                  <a:pt x="733" y="1907"/>
                </a:lnTo>
                <a:lnTo>
                  <a:pt x="744" y="1894"/>
                </a:lnTo>
                <a:lnTo>
                  <a:pt x="756" y="1881"/>
                </a:lnTo>
                <a:lnTo>
                  <a:pt x="767" y="1865"/>
                </a:lnTo>
                <a:lnTo>
                  <a:pt x="777" y="1847"/>
                </a:lnTo>
                <a:lnTo>
                  <a:pt x="786" y="1827"/>
                </a:lnTo>
                <a:lnTo>
                  <a:pt x="793" y="1805"/>
                </a:lnTo>
                <a:lnTo>
                  <a:pt x="799" y="1781"/>
                </a:lnTo>
                <a:lnTo>
                  <a:pt x="805" y="1754"/>
                </a:lnTo>
                <a:lnTo>
                  <a:pt x="897" y="1754"/>
                </a:lnTo>
                <a:lnTo>
                  <a:pt x="897" y="2039"/>
                </a:lnTo>
                <a:lnTo>
                  <a:pt x="173" y="2039"/>
                </a:lnTo>
                <a:lnTo>
                  <a:pt x="173" y="1998"/>
                </a:lnTo>
                <a:close/>
              </a:path>
            </a:pathLst>
          </a:custGeom>
          <a:solidFill>
            <a:srgbClr val="0000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e-DE" sz="1600">
              <a:solidFill>
                <a:srgbClr val="000000"/>
              </a:solidFill>
            </a:endParaRPr>
          </a:p>
        </p:txBody>
      </p:sp>
      <p:pic>
        <p:nvPicPr>
          <p:cNvPr id="3251248" name="Bild 2" descr="13_DSC_0298_foleys_Präse2.jpg"/>
          <p:cNvPicPr>
            <a:picLocks noChangeAspect="1"/>
          </p:cNvPicPr>
          <p:nvPr/>
        </p:nvPicPr>
        <p:blipFill>
          <a:blip r:embed="rId3">
            <a:extLst>
              <a:ext uri="{28A0092B-C50C-407E-A947-70E740481C1C}">
                <a14:useLocalDpi xmlns:a14="http://schemas.microsoft.com/office/drawing/2010/main" val="0"/>
              </a:ext>
            </a:extLst>
          </a:blip>
          <a:srcRect t="10429" r="2383" b="9293"/>
          <a:stretch>
            <a:fillRect/>
          </a:stretch>
        </p:blipFill>
        <p:spPr bwMode="auto">
          <a:xfrm>
            <a:off x="0" y="1350963"/>
            <a:ext cx="9144000" cy="435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7722130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6D67EEE-1FA6-4B6B-877E-8592EF09C0AE}" type="datetime1">
              <a:rPr lang="de-DE" smtClean="0">
                <a:solidFill>
                  <a:srgbClr val="000000"/>
                </a:solidFill>
              </a:rPr>
              <a:pPr/>
              <a:t>28.02.2019</a:t>
            </a:fld>
            <a:endParaRPr lang="en-US">
              <a:solidFill>
                <a:srgbClr val="000000"/>
              </a:solidFill>
            </a:endParaRPr>
          </a:p>
        </p:txBody>
      </p:sp>
      <p:sp>
        <p:nvSpPr>
          <p:cNvPr id="8" name="Footer Placeholder 7"/>
          <p:cNvSpPr>
            <a:spLocks noGrp="1"/>
          </p:cNvSpPr>
          <p:nvPr>
            <p:ph type="ftr" sz="quarter" idx="11"/>
          </p:nvPr>
        </p:nvSpPr>
        <p:spPr/>
        <p:txBody>
          <a:bodyPr/>
          <a:lstStyle/>
          <a:p>
            <a:r>
              <a:rPr lang="en-US">
                <a:solidFill>
                  <a:srgbClr val="000000"/>
                </a:solidFill>
              </a:rPr>
              <a:t>Carl Zeiss Microscopy</a:t>
            </a:r>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pPr eaLnBrk="0" fontAlgn="base" hangingPunct="0">
              <a:spcBef>
                <a:spcPct val="0"/>
              </a:spcBef>
              <a:spcAft>
                <a:spcPct val="0"/>
              </a:spcAft>
            </a:pPr>
            <a:fld id="{38E4604C-6AF7-4384-B9E0-44299672C995}" type="slidenum">
              <a:rPr lang="en-US" sz="1600" smtClean="0">
                <a:solidFill>
                  <a:srgbClr val="000000"/>
                </a:solidFill>
              </a:rPr>
              <a:pPr eaLnBrk="0" fontAlgn="base" hangingPunct="0">
                <a:spcBef>
                  <a:spcPct val="0"/>
                </a:spcBef>
                <a:spcAft>
                  <a:spcPct val="0"/>
                </a:spcAft>
              </a:pPr>
              <a:t>‹#›</a:t>
            </a:fld>
            <a:endParaRPr lang="en-US" sz="1600">
              <a:solidFill>
                <a:srgbClr val="000000"/>
              </a:solidFill>
            </a:endParaRPr>
          </a:p>
        </p:txBody>
      </p:sp>
    </p:spTree>
    <p:extLst>
      <p:ext uri="{BB962C8B-B14F-4D97-AF65-F5344CB8AC3E}">
        <p14:creationId xmlns:p14="http://schemas.microsoft.com/office/powerpoint/2010/main" val="318729970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3" name="Freeform 15"/>
          <p:cNvSpPr>
            <a:spLocks noEditPoints="1"/>
          </p:cNvSpPr>
          <p:nvPr>
            <p:custDataLst>
              <p:tags r:id="rId2"/>
            </p:custDataLst>
          </p:nvPr>
        </p:nvSpPr>
        <p:spPr bwMode="auto">
          <a:xfrm>
            <a:off x="8216900" y="379413"/>
            <a:ext cx="463550" cy="488950"/>
          </a:xfrm>
          <a:custGeom>
            <a:avLst/>
            <a:gdLst>
              <a:gd name="T0" fmla="*/ 84169 w 4092"/>
              <a:gd name="T1" fmla="*/ 457021 h 4104"/>
              <a:gd name="T2" fmla="*/ 187142 w 4092"/>
              <a:gd name="T3" fmla="*/ 438435 h 4104"/>
              <a:gd name="T4" fmla="*/ 291475 w 4092"/>
              <a:gd name="T5" fmla="*/ 439864 h 4104"/>
              <a:gd name="T6" fmla="*/ 393768 w 4092"/>
              <a:gd name="T7" fmla="*/ 461429 h 4104"/>
              <a:gd name="T8" fmla="*/ 0 w 4092"/>
              <a:gd name="T9" fmla="*/ 0 h 4104"/>
              <a:gd name="T10" fmla="*/ 430698 w 4092"/>
              <a:gd name="T11" fmla="*/ 171919 h 4104"/>
              <a:gd name="T12" fmla="*/ 420503 w 4092"/>
              <a:gd name="T13" fmla="*/ 152618 h 4104"/>
              <a:gd name="T14" fmla="*/ 397507 w 4092"/>
              <a:gd name="T15" fmla="*/ 149401 h 4104"/>
              <a:gd name="T16" fmla="*/ 414839 w 4092"/>
              <a:gd name="T17" fmla="*/ 181450 h 4104"/>
              <a:gd name="T18" fmla="*/ 437835 w 4092"/>
              <a:gd name="T19" fmla="*/ 214333 h 4104"/>
              <a:gd name="T20" fmla="*/ 441800 w 4092"/>
              <a:gd name="T21" fmla="*/ 238756 h 4104"/>
              <a:gd name="T22" fmla="*/ 375303 w 4092"/>
              <a:gd name="T23" fmla="*/ 217430 h 4104"/>
              <a:gd name="T24" fmla="*/ 386518 w 4092"/>
              <a:gd name="T25" fmla="*/ 231012 h 4104"/>
              <a:gd name="T26" fmla="*/ 404643 w 4092"/>
              <a:gd name="T27" fmla="*/ 223506 h 4104"/>
              <a:gd name="T28" fmla="*/ 379835 w 4092"/>
              <a:gd name="T29" fmla="*/ 187050 h 4104"/>
              <a:gd name="T30" fmla="*/ 362842 w 4092"/>
              <a:gd name="T31" fmla="*/ 155478 h 4104"/>
              <a:gd name="T32" fmla="*/ 274369 w 4092"/>
              <a:gd name="T33" fmla="*/ 137964 h 4104"/>
              <a:gd name="T34" fmla="*/ 335088 w 4092"/>
              <a:gd name="T35" fmla="*/ 157145 h 4104"/>
              <a:gd name="T36" fmla="*/ 321608 w 4092"/>
              <a:gd name="T37" fmla="*/ 148925 h 4104"/>
              <a:gd name="T38" fmla="*/ 315264 w 4092"/>
              <a:gd name="T39" fmla="*/ 167153 h 4104"/>
              <a:gd name="T40" fmla="*/ 338260 w 4092"/>
              <a:gd name="T41" fmla="*/ 197057 h 4104"/>
              <a:gd name="T42" fmla="*/ 352647 w 4092"/>
              <a:gd name="T43" fmla="*/ 230178 h 4104"/>
              <a:gd name="T44" fmla="*/ 272783 w 4092"/>
              <a:gd name="T45" fmla="*/ 208971 h 4104"/>
              <a:gd name="T46" fmla="*/ 291928 w 4092"/>
              <a:gd name="T47" fmla="*/ 227795 h 4104"/>
              <a:gd name="T48" fmla="*/ 317416 w 4092"/>
              <a:gd name="T49" fmla="*/ 232084 h 4104"/>
              <a:gd name="T50" fmla="*/ 303256 w 4092"/>
              <a:gd name="T51" fmla="*/ 204206 h 4104"/>
              <a:gd name="T52" fmla="*/ 277088 w 4092"/>
              <a:gd name="T53" fmla="*/ 166796 h 4104"/>
              <a:gd name="T54" fmla="*/ 208665 w 4092"/>
              <a:gd name="T55" fmla="*/ 232084 h 4104"/>
              <a:gd name="T56" fmla="*/ 218294 w 4092"/>
              <a:gd name="T57" fmla="*/ 227676 h 4104"/>
              <a:gd name="T58" fmla="*/ 216708 w 4092"/>
              <a:gd name="T59" fmla="*/ 151427 h 4104"/>
              <a:gd name="T60" fmla="*/ 261228 w 4092"/>
              <a:gd name="T61" fmla="*/ 137964 h 4104"/>
              <a:gd name="T62" fmla="*/ 251939 w 4092"/>
              <a:gd name="T63" fmla="*/ 153333 h 4104"/>
              <a:gd name="T64" fmla="*/ 251939 w 4092"/>
              <a:gd name="T65" fmla="*/ 227795 h 4104"/>
              <a:gd name="T66" fmla="*/ 261228 w 4092"/>
              <a:gd name="T67" fmla="*/ 242926 h 4104"/>
              <a:gd name="T68" fmla="*/ 119739 w 4092"/>
              <a:gd name="T69" fmla="*/ 230536 h 4104"/>
              <a:gd name="T70" fmla="*/ 122911 w 4092"/>
              <a:gd name="T71" fmla="*/ 154763 h 4104"/>
              <a:gd name="T72" fmla="*/ 116227 w 4092"/>
              <a:gd name="T73" fmla="*/ 148925 h 4104"/>
              <a:gd name="T74" fmla="*/ 183517 w 4092"/>
              <a:gd name="T75" fmla="*/ 161554 h 4104"/>
              <a:gd name="T76" fmla="*/ 173321 w 4092"/>
              <a:gd name="T77" fmla="*/ 149997 h 4104"/>
              <a:gd name="T78" fmla="*/ 162220 w 4092"/>
              <a:gd name="T79" fmla="*/ 184429 h 4104"/>
              <a:gd name="T80" fmla="*/ 167318 w 4092"/>
              <a:gd name="T81" fmla="*/ 172157 h 4104"/>
              <a:gd name="T82" fmla="*/ 165958 w 4092"/>
              <a:gd name="T83" fmla="*/ 200274 h 4104"/>
              <a:gd name="T84" fmla="*/ 155083 w 4092"/>
              <a:gd name="T85" fmla="*/ 232084 h 4104"/>
              <a:gd name="T86" fmla="*/ 180005 w 4092"/>
              <a:gd name="T87" fmla="*/ 225651 h 4104"/>
              <a:gd name="T88" fmla="*/ 186689 w 4092"/>
              <a:gd name="T89" fmla="*/ 208971 h 4104"/>
              <a:gd name="T90" fmla="*/ 20391 w 4092"/>
              <a:gd name="T91" fmla="*/ 232084 h 4104"/>
              <a:gd name="T92" fmla="*/ 35004 w 4092"/>
              <a:gd name="T93" fmla="*/ 198606 h 4104"/>
              <a:gd name="T94" fmla="*/ 60946 w 4092"/>
              <a:gd name="T95" fmla="*/ 162983 h 4104"/>
              <a:gd name="T96" fmla="*/ 50184 w 4092"/>
              <a:gd name="T97" fmla="*/ 149521 h 4104"/>
              <a:gd name="T98" fmla="*/ 35684 w 4092"/>
              <a:gd name="T99" fmla="*/ 163698 h 4104"/>
              <a:gd name="T100" fmla="*/ 103313 w 4092"/>
              <a:gd name="T101" fmla="*/ 142372 h 4104"/>
              <a:gd name="T102" fmla="*/ 88813 w 4092"/>
              <a:gd name="T103" fmla="*/ 180616 h 4104"/>
              <a:gd name="T104" fmla="*/ 62418 w 4092"/>
              <a:gd name="T105" fmla="*/ 217430 h 4104"/>
              <a:gd name="T106" fmla="*/ 80090 w 4092"/>
              <a:gd name="T107" fmla="*/ 229344 h 4104"/>
              <a:gd name="T108" fmla="*/ 89040 w 4092"/>
              <a:gd name="T109" fmla="*/ 217669 h 4104"/>
              <a:gd name="T110" fmla="*/ 19598 w 4092"/>
              <a:gd name="T111" fmla="*/ 238041 h 410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092" h="4104">
                <a:moveTo>
                  <a:pt x="0" y="4104"/>
                </a:moveTo>
                <a:lnTo>
                  <a:pt x="121" y="4051"/>
                </a:lnTo>
                <a:lnTo>
                  <a:pt x="243" y="4001"/>
                </a:lnTo>
                <a:lnTo>
                  <a:pt x="366" y="3955"/>
                </a:lnTo>
                <a:lnTo>
                  <a:pt x="491" y="3912"/>
                </a:lnTo>
                <a:lnTo>
                  <a:pt x="617" y="3873"/>
                </a:lnTo>
                <a:lnTo>
                  <a:pt x="743" y="3836"/>
                </a:lnTo>
                <a:lnTo>
                  <a:pt x="871" y="3804"/>
                </a:lnTo>
                <a:lnTo>
                  <a:pt x="1000" y="3775"/>
                </a:lnTo>
                <a:lnTo>
                  <a:pt x="1129" y="3749"/>
                </a:lnTo>
                <a:lnTo>
                  <a:pt x="1259" y="3727"/>
                </a:lnTo>
                <a:lnTo>
                  <a:pt x="1389" y="3707"/>
                </a:lnTo>
                <a:lnTo>
                  <a:pt x="1521" y="3692"/>
                </a:lnTo>
                <a:lnTo>
                  <a:pt x="1652" y="3680"/>
                </a:lnTo>
                <a:lnTo>
                  <a:pt x="1783" y="3671"/>
                </a:lnTo>
                <a:lnTo>
                  <a:pt x="1915" y="3666"/>
                </a:lnTo>
                <a:lnTo>
                  <a:pt x="2047" y="3664"/>
                </a:lnTo>
                <a:lnTo>
                  <a:pt x="2178" y="3666"/>
                </a:lnTo>
                <a:lnTo>
                  <a:pt x="2311" y="3671"/>
                </a:lnTo>
                <a:lnTo>
                  <a:pt x="2442" y="3680"/>
                </a:lnTo>
                <a:lnTo>
                  <a:pt x="2573" y="3692"/>
                </a:lnTo>
                <a:lnTo>
                  <a:pt x="2704" y="3707"/>
                </a:lnTo>
                <a:lnTo>
                  <a:pt x="2835" y="3727"/>
                </a:lnTo>
                <a:lnTo>
                  <a:pt x="2964" y="3749"/>
                </a:lnTo>
                <a:lnTo>
                  <a:pt x="3093" y="3775"/>
                </a:lnTo>
                <a:lnTo>
                  <a:pt x="3222" y="3804"/>
                </a:lnTo>
                <a:lnTo>
                  <a:pt x="3350" y="3836"/>
                </a:lnTo>
                <a:lnTo>
                  <a:pt x="3476" y="3873"/>
                </a:lnTo>
                <a:lnTo>
                  <a:pt x="3602" y="3912"/>
                </a:lnTo>
                <a:lnTo>
                  <a:pt x="3726" y="3955"/>
                </a:lnTo>
                <a:lnTo>
                  <a:pt x="3850" y="4001"/>
                </a:lnTo>
                <a:lnTo>
                  <a:pt x="3972" y="4051"/>
                </a:lnTo>
                <a:lnTo>
                  <a:pt x="4092" y="4104"/>
                </a:lnTo>
                <a:lnTo>
                  <a:pt x="4092" y="0"/>
                </a:lnTo>
                <a:lnTo>
                  <a:pt x="0" y="0"/>
                </a:lnTo>
                <a:lnTo>
                  <a:pt x="0" y="4104"/>
                </a:lnTo>
                <a:close/>
                <a:moveTo>
                  <a:pt x="3198" y="1210"/>
                </a:moveTo>
                <a:lnTo>
                  <a:pt x="3205" y="1184"/>
                </a:lnTo>
                <a:lnTo>
                  <a:pt x="3214" y="1158"/>
                </a:lnTo>
                <a:lnTo>
                  <a:pt x="3891" y="1158"/>
                </a:lnTo>
                <a:lnTo>
                  <a:pt x="3891" y="1443"/>
                </a:lnTo>
                <a:lnTo>
                  <a:pt x="3802" y="1443"/>
                </a:lnTo>
                <a:lnTo>
                  <a:pt x="3788" y="1394"/>
                </a:lnTo>
                <a:lnTo>
                  <a:pt x="3770" y="1352"/>
                </a:lnTo>
                <a:lnTo>
                  <a:pt x="3761" y="1334"/>
                </a:lnTo>
                <a:lnTo>
                  <a:pt x="3749" y="1319"/>
                </a:lnTo>
                <a:lnTo>
                  <a:pt x="3738" y="1304"/>
                </a:lnTo>
                <a:lnTo>
                  <a:pt x="3725" y="1292"/>
                </a:lnTo>
                <a:lnTo>
                  <a:pt x="3712" y="1281"/>
                </a:lnTo>
                <a:lnTo>
                  <a:pt x="3698" y="1272"/>
                </a:lnTo>
                <a:lnTo>
                  <a:pt x="3682" y="1264"/>
                </a:lnTo>
                <a:lnTo>
                  <a:pt x="3667" y="1258"/>
                </a:lnTo>
                <a:lnTo>
                  <a:pt x="3631" y="1250"/>
                </a:lnTo>
                <a:lnTo>
                  <a:pt x="3592" y="1248"/>
                </a:lnTo>
                <a:lnTo>
                  <a:pt x="3509" y="1248"/>
                </a:lnTo>
                <a:lnTo>
                  <a:pt x="3509" y="1254"/>
                </a:lnTo>
                <a:lnTo>
                  <a:pt x="3517" y="1281"/>
                </a:lnTo>
                <a:lnTo>
                  <a:pt x="3528" y="1311"/>
                </a:lnTo>
                <a:lnTo>
                  <a:pt x="3548" y="1353"/>
                </a:lnTo>
                <a:lnTo>
                  <a:pt x="3575" y="1403"/>
                </a:lnTo>
                <a:lnTo>
                  <a:pt x="3613" y="1459"/>
                </a:lnTo>
                <a:lnTo>
                  <a:pt x="3635" y="1491"/>
                </a:lnTo>
                <a:lnTo>
                  <a:pt x="3662" y="1523"/>
                </a:lnTo>
                <a:lnTo>
                  <a:pt x="3691" y="1556"/>
                </a:lnTo>
                <a:lnTo>
                  <a:pt x="3724" y="1590"/>
                </a:lnTo>
                <a:lnTo>
                  <a:pt x="3749" y="1618"/>
                </a:lnTo>
                <a:lnTo>
                  <a:pt x="3778" y="1654"/>
                </a:lnTo>
                <a:lnTo>
                  <a:pt x="3808" y="1698"/>
                </a:lnTo>
                <a:lnTo>
                  <a:pt x="3838" y="1747"/>
                </a:lnTo>
                <a:lnTo>
                  <a:pt x="3865" y="1799"/>
                </a:lnTo>
                <a:lnTo>
                  <a:pt x="3887" y="1852"/>
                </a:lnTo>
                <a:lnTo>
                  <a:pt x="3895" y="1879"/>
                </a:lnTo>
                <a:lnTo>
                  <a:pt x="3901" y="1906"/>
                </a:lnTo>
                <a:lnTo>
                  <a:pt x="3904" y="1932"/>
                </a:lnTo>
                <a:lnTo>
                  <a:pt x="3906" y="1957"/>
                </a:lnTo>
                <a:lnTo>
                  <a:pt x="3905" y="1983"/>
                </a:lnTo>
                <a:lnTo>
                  <a:pt x="3900" y="2004"/>
                </a:lnTo>
                <a:lnTo>
                  <a:pt x="3893" y="2022"/>
                </a:lnTo>
                <a:lnTo>
                  <a:pt x="3883" y="2039"/>
                </a:lnTo>
                <a:lnTo>
                  <a:pt x="3199" y="2039"/>
                </a:lnTo>
                <a:lnTo>
                  <a:pt x="3199" y="1754"/>
                </a:lnTo>
                <a:lnTo>
                  <a:pt x="3293" y="1754"/>
                </a:lnTo>
                <a:lnTo>
                  <a:pt x="3302" y="1791"/>
                </a:lnTo>
                <a:lnTo>
                  <a:pt x="3313" y="1825"/>
                </a:lnTo>
                <a:lnTo>
                  <a:pt x="3328" y="1858"/>
                </a:lnTo>
                <a:lnTo>
                  <a:pt x="3346" y="1887"/>
                </a:lnTo>
                <a:lnTo>
                  <a:pt x="3356" y="1900"/>
                </a:lnTo>
                <a:lnTo>
                  <a:pt x="3369" y="1912"/>
                </a:lnTo>
                <a:lnTo>
                  <a:pt x="3381" y="1922"/>
                </a:lnTo>
                <a:lnTo>
                  <a:pt x="3396" y="1932"/>
                </a:lnTo>
                <a:lnTo>
                  <a:pt x="3412" y="1939"/>
                </a:lnTo>
                <a:lnTo>
                  <a:pt x="3430" y="1944"/>
                </a:lnTo>
                <a:lnTo>
                  <a:pt x="3450" y="1947"/>
                </a:lnTo>
                <a:lnTo>
                  <a:pt x="3472" y="1948"/>
                </a:lnTo>
                <a:lnTo>
                  <a:pt x="3594" y="1948"/>
                </a:lnTo>
                <a:lnTo>
                  <a:pt x="3594" y="1941"/>
                </a:lnTo>
                <a:lnTo>
                  <a:pt x="3586" y="1918"/>
                </a:lnTo>
                <a:lnTo>
                  <a:pt x="3572" y="1876"/>
                </a:lnTo>
                <a:lnTo>
                  <a:pt x="3554" y="1841"/>
                </a:lnTo>
                <a:lnTo>
                  <a:pt x="3529" y="1800"/>
                </a:lnTo>
                <a:lnTo>
                  <a:pt x="3499" y="1758"/>
                </a:lnTo>
                <a:lnTo>
                  <a:pt x="3469" y="1714"/>
                </a:lnTo>
                <a:lnTo>
                  <a:pt x="3412" y="1641"/>
                </a:lnTo>
                <a:lnTo>
                  <a:pt x="3383" y="1603"/>
                </a:lnTo>
                <a:lnTo>
                  <a:pt x="3353" y="1570"/>
                </a:lnTo>
                <a:lnTo>
                  <a:pt x="3324" y="1533"/>
                </a:lnTo>
                <a:lnTo>
                  <a:pt x="3288" y="1485"/>
                </a:lnTo>
                <a:lnTo>
                  <a:pt x="3254" y="1430"/>
                </a:lnTo>
                <a:lnTo>
                  <a:pt x="3238" y="1400"/>
                </a:lnTo>
                <a:lnTo>
                  <a:pt x="3224" y="1370"/>
                </a:lnTo>
                <a:lnTo>
                  <a:pt x="3212" y="1337"/>
                </a:lnTo>
                <a:lnTo>
                  <a:pt x="3203" y="1305"/>
                </a:lnTo>
                <a:lnTo>
                  <a:pt x="3197" y="1273"/>
                </a:lnTo>
                <a:lnTo>
                  <a:pt x="3195" y="1240"/>
                </a:lnTo>
                <a:lnTo>
                  <a:pt x="3198" y="1210"/>
                </a:lnTo>
                <a:close/>
                <a:moveTo>
                  <a:pt x="2404" y="1225"/>
                </a:moveTo>
                <a:lnTo>
                  <a:pt x="2406" y="1210"/>
                </a:lnTo>
                <a:lnTo>
                  <a:pt x="2413" y="1184"/>
                </a:lnTo>
                <a:lnTo>
                  <a:pt x="2422" y="1158"/>
                </a:lnTo>
                <a:lnTo>
                  <a:pt x="3099" y="1158"/>
                </a:lnTo>
                <a:lnTo>
                  <a:pt x="3099" y="1443"/>
                </a:lnTo>
                <a:lnTo>
                  <a:pt x="3010" y="1443"/>
                </a:lnTo>
                <a:lnTo>
                  <a:pt x="2996" y="1394"/>
                </a:lnTo>
                <a:lnTo>
                  <a:pt x="2978" y="1352"/>
                </a:lnTo>
                <a:lnTo>
                  <a:pt x="2968" y="1334"/>
                </a:lnTo>
                <a:lnTo>
                  <a:pt x="2958" y="1319"/>
                </a:lnTo>
                <a:lnTo>
                  <a:pt x="2945" y="1304"/>
                </a:lnTo>
                <a:lnTo>
                  <a:pt x="2933" y="1292"/>
                </a:lnTo>
                <a:lnTo>
                  <a:pt x="2920" y="1281"/>
                </a:lnTo>
                <a:lnTo>
                  <a:pt x="2906" y="1272"/>
                </a:lnTo>
                <a:lnTo>
                  <a:pt x="2890" y="1264"/>
                </a:lnTo>
                <a:lnTo>
                  <a:pt x="2875" y="1258"/>
                </a:lnTo>
                <a:lnTo>
                  <a:pt x="2839" y="1250"/>
                </a:lnTo>
                <a:lnTo>
                  <a:pt x="2800" y="1248"/>
                </a:lnTo>
                <a:lnTo>
                  <a:pt x="2717" y="1248"/>
                </a:lnTo>
                <a:lnTo>
                  <a:pt x="2717" y="1254"/>
                </a:lnTo>
                <a:lnTo>
                  <a:pt x="2725" y="1281"/>
                </a:lnTo>
                <a:lnTo>
                  <a:pt x="2737" y="1311"/>
                </a:lnTo>
                <a:lnTo>
                  <a:pt x="2756" y="1353"/>
                </a:lnTo>
                <a:lnTo>
                  <a:pt x="2783" y="1403"/>
                </a:lnTo>
                <a:lnTo>
                  <a:pt x="2820" y="1459"/>
                </a:lnTo>
                <a:lnTo>
                  <a:pt x="2844" y="1491"/>
                </a:lnTo>
                <a:lnTo>
                  <a:pt x="2870" y="1523"/>
                </a:lnTo>
                <a:lnTo>
                  <a:pt x="2900" y="1556"/>
                </a:lnTo>
                <a:lnTo>
                  <a:pt x="2932" y="1590"/>
                </a:lnTo>
                <a:lnTo>
                  <a:pt x="2957" y="1618"/>
                </a:lnTo>
                <a:lnTo>
                  <a:pt x="2986" y="1654"/>
                </a:lnTo>
                <a:lnTo>
                  <a:pt x="3016" y="1698"/>
                </a:lnTo>
                <a:lnTo>
                  <a:pt x="3046" y="1747"/>
                </a:lnTo>
                <a:lnTo>
                  <a:pt x="3073" y="1799"/>
                </a:lnTo>
                <a:lnTo>
                  <a:pt x="3095" y="1852"/>
                </a:lnTo>
                <a:lnTo>
                  <a:pt x="3103" y="1879"/>
                </a:lnTo>
                <a:lnTo>
                  <a:pt x="3109" y="1906"/>
                </a:lnTo>
                <a:lnTo>
                  <a:pt x="3113" y="1932"/>
                </a:lnTo>
                <a:lnTo>
                  <a:pt x="3114" y="1957"/>
                </a:lnTo>
                <a:lnTo>
                  <a:pt x="3113" y="1983"/>
                </a:lnTo>
                <a:lnTo>
                  <a:pt x="3108" y="2004"/>
                </a:lnTo>
                <a:lnTo>
                  <a:pt x="3101" y="2022"/>
                </a:lnTo>
                <a:lnTo>
                  <a:pt x="3090" y="2039"/>
                </a:lnTo>
                <a:lnTo>
                  <a:pt x="2408" y="2039"/>
                </a:lnTo>
                <a:lnTo>
                  <a:pt x="2408" y="1754"/>
                </a:lnTo>
                <a:lnTo>
                  <a:pt x="2500" y="1754"/>
                </a:lnTo>
                <a:lnTo>
                  <a:pt x="2510" y="1791"/>
                </a:lnTo>
                <a:lnTo>
                  <a:pt x="2521" y="1825"/>
                </a:lnTo>
                <a:lnTo>
                  <a:pt x="2536" y="1858"/>
                </a:lnTo>
                <a:lnTo>
                  <a:pt x="2554" y="1887"/>
                </a:lnTo>
                <a:lnTo>
                  <a:pt x="2564" y="1900"/>
                </a:lnTo>
                <a:lnTo>
                  <a:pt x="2577" y="1912"/>
                </a:lnTo>
                <a:lnTo>
                  <a:pt x="2590" y="1922"/>
                </a:lnTo>
                <a:lnTo>
                  <a:pt x="2605" y="1932"/>
                </a:lnTo>
                <a:lnTo>
                  <a:pt x="2620" y="1939"/>
                </a:lnTo>
                <a:lnTo>
                  <a:pt x="2639" y="1944"/>
                </a:lnTo>
                <a:lnTo>
                  <a:pt x="2659" y="1947"/>
                </a:lnTo>
                <a:lnTo>
                  <a:pt x="2681" y="1948"/>
                </a:lnTo>
                <a:lnTo>
                  <a:pt x="2802" y="1948"/>
                </a:lnTo>
                <a:lnTo>
                  <a:pt x="2802" y="1941"/>
                </a:lnTo>
                <a:lnTo>
                  <a:pt x="2794" y="1918"/>
                </a:lnTo>
                <a:lnTo>
                  <a:pt x="2781" y="1876"/>
                </a:lnTo>
                <a:lnTo>
                  <a:pt x="2762" y="1841"/>
                </a:lnTo>
                <a:lnTo>
                  <a:pt x="2737" y="1800"/>
                </a:lnTo>
                <a:lnTo>
                  <a:pt x="2708" y="1758"/>
                </a:lnTo>
                <a:lnTo>
                  <a:pt x="2677" y="1714"/>
                </a:lnTo>
                <a:lnTo>
                  <a:pt x="2620" y="1641"/>
                </a:lnTo>
                <a:lnTo>
                  <a:pt x="2589" y="1603"/>
                </a:lnTo>
                <a:lnTo>
                  <a:pt x="2561" y="1570"/>
                </a:lnTo>
                <a:lnTo>
                  <a:pt x="2531" y="1533"/>
                </a:lnTo>
                <a:lnTo>
                  <a:pt x="2496" y="1485"/>
                </a:lnTo>
                <a:lnTo>
                  <a:pt x="2462" y="1430"/>
                </a:lnTo>
                <a:lnTo>
                  <a:pt x="2446" y="1400"/>
                </a:lnTo>
                <a:lnTo>
                  <a:pt x="2433" y="1370"/>
                </a:lnTo>
                <a:lnTo>
                  <a:pt x="2420" y="1337"/>
                </a:lnTo>
                <a:lnTo>
                  <a:pt x="2411" y="1305"/>
                </a:lnTo>
                <a:lnTo>
                  <a:pt x="2406" y="1273"/>
                </a:lnTo>
                <a:lnTo>
                  <a:pt x="2402" y="1240"/>
                </a:lnTo>
                <a:lnTo>
                  <a:pt x="2404" y="1225"/>
                </a:lnTo>
                <a:close/>
                <a:moveTo>
                  <a:pt x="1842" y="1948"/>
                </a:moveTo>
                <a:lnTo>
                  <a:pt x="1876" y="1948"/>
                </a:lnTo>
                <a:lnTo>
                  <a:pt x="1884" y="1947"/>
                </a:lnTo>
                <a:lnTo>
                  <a:pt x="1894" y="1943"/>
                </a:lnTo>
                <a:lnTo>
                  <a:pt x="1903" y="1937"/>
                </a:lnTo>
                <a:lnTo>
                  <a:pt x="1913" y="1930"/>
                </a:lnTo>
                <a:lnTo>
                  <a:pt x="1921" y="1920"/>
                </a:lnTo>
                <a:lnTo>
                  <a:pt x="1927" y="1911"/>
                </a:lnTo>
                <a:lnTo>
                  <a:pt x="1931" y="1901"/>
                </a:lnTo>
                <a:lnTo>
                  <a:pt x="1932" y="1892"/>
                </a:lnTo>
                <a:lnTo>
                  <a:pt x="1932" y="1308"/>
                </a:lnTo>
                <a:lnTo>
                  <a:pt x="1931" y="1299"/>
                </a:lnTo>
                <a:lnTo>
                  <a:pt x="1927" y="1289"/>
                </a:lnTo>
                <a:lnTo>
                  <a:pt x="1921" y="1280"/>
                </a:lnTo>
                <a:lnTo>
                  <a:pt x="1913" y="1271"/>
                </a:lnTo>
                <a:lnTo>
                  <a:pt x="1903" y="1262"/>
                </a:lnTo>
                <a:lnTo>
                  <a:pt x="1893" y="1255"/>
                </a:lnTo>
                <a:lnTo>
                  <a:pt x="1882" y="1251"/>
                </a:lnTo>
                <a:lnTo>
                  <a:pt x="1872" y="1250"/>
                </a:lnTo>
                <a:lnTo>
                  <a:pt x="1842" y="1250"/>
                </a:lnTo>
                <a:lnTo>
                  <a:pt x="1842" y="1158"/>
                </a:lnTo>
                <a:lnTo>
                  <a:pt x="2306" y="1158"/>
                </a:lnTo>
                <a:lnTo>
                  <a:pt x="2306" y="1250"/>
                </a:lnTo>
                <a:lnTo>
                  <a:pt x="2275" y="1250"/>
                </a:lnTo>
                <a:lnTo>
                  <a:pt x="2263" y="1252"/>
                </a:lnTo>
                <a:lnTo>
                  <a:pt x="2251" y="1257"/>
                </a:lnTo>
                <a:lnTo>
                  <a:pt x="2241" y="1265"/>
                </a:lnTo>
                <a:lnTo>
                  <a:pt x="2232" y="1276"/>
                </a:lnTo>
                <a:lnTo>
                  <a:pt x="2224" y="1287"/>
                </a:lnTo>
                <a:lnTo>
                  <a:pt x="2219" y="1299"/>
                </a:lnTo>
                <a:lnTo>
                  <a:pt x="2216" y="1309"/>
                </a:lnTo>
                <a:lnTo>
                  <a:pt x="2214" y="1319"/>
                </a:lnTo>
                <a:lnTo>
                  <a:pt x="2214" y="1881"/>
                </a:lnTo>
                <a:lnTo>
                  <a:pt x="2215" y="1890"/>
                </a:lnTo>
                <a:lnTo>
                  <a:pt x="2219" y="1900"/>
                </a:lnTo>
                <a:lnTo>
                  <a:pt x="2224" y="1912"/>
                </a:lnTo>
                <a:lnTo>
                  <a:pt x="2230" y="1923"/>
                </a:lnTo>
                <a:lnTo>
                  <a:pt x="2239" y="1933"/>
                </a:lnTo>
                <a:lnTo>
                  <a:pt x="2249" y="1941"/>
                </a:lnTo>
                <a:lnTo>
                  <a:pt x="2260" y="1946"/>
                </a:lnTo>
                <a:lnTo>
                  <a:pt x="2271" y="1948"/>
                </a:lnTo>
                <a:lnTo>
                  <a:pt x="2306" y="1948"/>
                </a:lnTo>
                <a:lnTo>
                  <a:pt x="2306" y="2039"/>
                </a:lnTo>
                <a:lnTo>
                  <a:pt x="1842" y="2039"/>
                </a:lnTo>
                <a:lnTo>
                  <a:pt x="1842" y="1948"/>
                </a:lnTo>
                <a:close/>
                <a:moveTo>
                  <a:pt x="995" y="1946"/>
                </a:moveTo>
                <a:lnTo>
                  <a:pt x="1030" y="1946"/>
                </a:lnTo>
                <a:lnTo>
                  <a:pt x="1038" y="1944"/>
                </a:lnTo>
                <a:lnTo>
                  <a:pt x="1047" y="1941"/>
                </a:lnTo>
                <a:lnTo>
                  <a:pt x="1057" y="1935"/>
                </a:lnTo>
                <a:lnTo>
                  <a:pt x="1066" y="1927"/>
                </a:lnTo>
                <a:lnTo>
                  <a:pt x="1075" y="1918"/>
                </a:lnTo>
                <a:lnTo>
                  <a:pt x="1081" y="1909"/>
                </a:lnTo>
                <a:lnTo>
                  <a:pt x="1085" y="1899"/>
                </a:lnTo>
                <a:lnTo>
                  <a:pt x="1086" y="1889"/>
                </a:lnTo>
                <a:lnTo>
                  <a:pt x="1086" y="1308"/>
                </a:lnTo>
                <a:lnTo>
                  <a:pt x="1085" y="1299"/>
                </a:lnTo>
                <a:lnTo>
                  <a:pt x="1081" y="1289"/>
                </a:lnTo>
                <a:lnTo>
                  <a:pt x="1075" y="1280"/>
                </a:lnTo>
                <a:lnTo>
                  <a:pt x="1066" y="1271"/>
                </a:lnTo>
                <a:lnTo>
                  <a:pt x="1057" y="1262"/>
                </a:lnTo>
                <a:lnTo>
                  <a:pt x="1046" y="1256"/>
                </a:lnTo>
                <a:lnTo>
                  <a:pt x="1036" y="1251"/>
                </a:lnTo>
                <a:lnTo>
                  <a:pt x="1026" y="1250"/>
                </a:lnTo>
                <a:lnTo>
                  <a:pt x="995" y="1250"/>
                </a:lnTo>
                <a:lnTo>
                  <a:pt x="995" y="1158"/>
                </a:lnTo>
                <a:lnTo>
                  <a:pt x="1742" y="1158"/>
                </a:lnTo>
                <a:lnTo>
                  <a:pt x="1742" y="1443"/>
                </a:lnTo>
                <a:lnTo>
                  <a:pt x="1648" y="1443"/>
                </a:lnTo>
                <a:lnTo>
                  <a:pt x="1635" y="1397"/>
                </a:lnTo>
                <a:lnTo>
                  <a:pt x="1620" y="1356"/>
                </a:lnTo>
                <a:lnTo>
                  <a:pt x="1602" y="1323"/>
                </a:lnTo>
                <a:lnTo>
                  <a:pt x="1592" y="1308"/>
                </a:lnTo>
                <a:lnTo>
                  <a:pt x="1581" y="1296"/>
                </a:lnTo>
                <a:lnTo>
                  <a:pt x="1570" y="1284"/>
                </a:lnTo>
                <a:lnTo>
                  <a:pt x="1557" y="1275"/>
                </a:lnTo>
                <a:lnTo>
                  <a:pt x="1544" y="1267"/>
                </a:lnTo>
                <a:lnTo>
                  <a:pt x="1530" y="1259"/>
                </a:lnTo>
                <a:lnTo>
                  <a:pt x="1514" y="1254"/>
                </a:lnTo>
                <a:lnTo>
                  <a:pt x="1498" y="1251"/>
                </a:lnTo>
                <a:lnTo>
                  <a:pt x="1461" y="1248"/>
                </a:lnTo>
                <a:lnTo>
                  <a:pt x="1369" y="1248"/>
                </a:lnTo>
                <a:lnTo>
                  <a:pt x="1369" y="1553"/>
                </a:lnTo>
                <a:lnTo>
                  <a:pt x="1416" y="1553"/>
                </a:lnTo>
                <a:lnTo>
                  <a:pt x="1432" y="1548"/>
                </a:lnTo>
                <a:lnTo>
                  <a:pt x="1441" y="1542"/>
                </a:lnTo>
                <a:lnTo>
                  <a:pt x="1452" y="1533"/>
                </a:lnTo>
                <a:lnTo>
                  <a:pt x="1461" y="1524"/>
                </a:lnTo>
                <a:lnTo>
                  <a:pt x="1470" y="1513"/>
                </a:lnTo>
                <a:lnTo>
                  <a:pt x="1475" y="1500"/>
                </a:lnTo>
                <a:lnTo>
                  <a:pt x="1477" y="1485"/>
                </a:lnTo>
                <a:lnTo>
                  <a:pt x="1477" y="1445"/>
                </a:lnTo>
                <a:lnTo>
                  <a:pt x="1568" y="1445"/>
                </a:lnTo>
                <a:lnTo>
                  <a:pt x="1568" y="1752"/>
                </a:lnTo>
                <a:lnTo>
                  <a:pt x="1477" y="1752"/>
                </a:lnTo>
                <a:lnTo>
                  <a:pt x="1477" y="1714"/>
                </a:lnTo>
                <a:lnTo>
                  <a:pt x="1476" y="1704"/>
                </a:lnTo>
                <a:lnTo>
                  <a:pt x="1472" y="1693"/>
                </a:lnTo>
                <a:lnTo>
                  <a:pt x="1465" y="1681"/>
                </a:lnTo>
                <a:lnTo>
                  <a:pt x="1457" y="1671"/>
                </a:lnTo>
                <a:lnTo>
                  <a:pt x="1447" y="1661"/>
                </a:lnTo>
                <a:lnTo>
                  <a:pt x="1433" y="1652"/>
                </a:lnTo>
                <a:lnTo>
                  <a:pt x="1419" y="1646"/>
                </a:lnTo>
                <a:lnTo>
                  <a:pt x="1401" y="1644"/>
                </a:lnTo>
                <a:lnTo>
                  <a:pt x="1369" y="1644"/>
                </a:lnTo>
                <a:lnTo>
                  <a:pt x="1369" y="1948"/>
                </a:lnTo>
                <a:lnTo>
                  <a:pt x="1471" y="1948"/>
                </a:lnTo>
                <a:lnTo>
                  <a:pt x="1497" y="1946"/>
                </a:lnTo>
                <a:lnTo>
                  <a:pt x="1524" y="1939"/>
                </a:lnTo>
                <a:lnTo>
                  <a:pt x="1551" y="1925"/>
                </a:lnTo>
                <a:lnTo>
                  <a:pt x="1564" y="1917"/>
                </a:lnTo>
                <a:lnTo>
                  <a:pt x="1577" y="1907"/>
                </a:lnTo>
                <a:lnTo>
                  <a:pt x="1589" y="1894"/>
                </a:lnTo>
                <a:lnTo>
                  <a:pt x="1600" y="1881"/>
                </a:lnTo>
                <a:lnTo>
                  <a:pt x="1611" y="1865"/>
                </a:lnTo>
                <a:lnTo>
                  <a:pt x="1621" y="1847"/>
                </a:lnTo>
                <a:lnTo>
                  <a:pt x="1629" y="1827"/>
                </a:lnTo>
                <a:lnTo>
                  <a:pt x="1637" y="1805"/>
                </a:lnTo>
                <a:lnTo>
                  <a:pt x="1644" y="1781"/>
                </a:lnTo>
                <a:lnTo>
                  <a:pt x="1648" y="1754"/>
                </a:lnTo>
                <a:lnTo>
                  <a:pt x="1742" y="1754"/>
                </a:lnTo>
                <a:lnTo>
                  <a:pt x="1742" y="2039"/>
                </a:lnTo>
                <a:lnTo>
                  <a:pt x="995" y="2039"/>
                </a:lnTo>
                <a:lnTo>
                  <a:pt x="995" y="1946"/>
                </a:lnTo>
                <a:close/>
                <a:moveTo>
                  <a:pt x="173" y="1998"/>
                </a:moveTo>
                <a:lnTo>
                  <a:pt x="174" y="1983"/>
                </a:lnTo>
                <a:lnTo>
                  <a:pt x="180" y="1948"/>
                </a:lnTo>
                <a:lnTo>
                  <a:pt x="192" y="1901"/>
                </a:lnTo>
                <a:lnTo>
                  <a:pt x="201" y="1874"/>
                </a:lnTo>
                <a:lnTo>
                  <a:pt x="213" y="1846"/>
                </a:lnTo>
                <a:lnTo>
                  <a:pt x="235" y="1796"/>
                </a:lnTo>
                <a:lnTo>
                  <a:pt x="267" y="1734"/>
                </a:lnTo>
                <a:lnTo>
                  <a:pt x="287" y="1700"/>
                </a:lnTo>
                <a:lnTo>
                  <a:pt x="309" y="1667"/>
                </a:lnTo>
                <a:lnTo>
                  <a:pt x="334" y="1635"/>
                </a:lnTo>
                <a:lnTo>
                  <a:pt x="360" y="1605"/>
                </a:lnTo>
                <a:lnTo>
                  <a:pt x="392" y="1572"/>
                </a:lnTo>
                <a:lnTo>
                  <a:pt x="420" y="1540"/>
                </a:lnTo>
                <a:lnTo>
                  <a:pt x="469" y="1477"/>
                </a:lnTo>
                <a:lnTo>
                  <a:pt x="508" y="1420"/>
                </a:lnTo>
                <a:lnTo>
                  <a:pt x="538" y="1368"/>
                </a:lnTo>
                <a:lnTo>
                  <a:pt x="559" y="1324"/>
                </a:lnTo>
                <a:lnTo>
                  <a:pt x="574" y="1289"/>
                </a:lnTo>
                <a:lnTo>
                  <a:pt x="588" y="1254"/>
                </a:lnTo>
                <a:lnTo>
                  <a:pt x="588" y="1248"/>
                </a:lnTo>
                <a:lnTo>
                  <a:pt x="506" y="1248"/>
                </a:lnTo>
                <a:lnTo>
                  <a:pt x="472" y="1250"/>
                </a:lnTo>
                <a:lnTo>
                  <a:pt x="443" y="1255"/>
                </a:lnTo>
                <a:lnTo>
                  <a:pt x="418" y="1264"/>
                </a:lnTo>
                <a:lnTo>
                  <a:pt x="395" y="1276"/>
                </a:lnTo>
                <a:lnTo>
                  <a:pt x="375" y="1289"/>
                </a:lnTo>
                <a:lnTo>
                  <a:pt x="359" y="1305"/>
                </a:lnTo>
                <a:lnTo>
                  <a:pt x="344" y="1322"/>
                </a:lnTo>
                <a:lnTo>
                  <a:pt x="332" y="1340"/>
                </a:lnTo>
                <a:lnTo>
                  <a:pt x="315" y="1374"/>
                </a:lnTo>
                <a:lnTo>
                  <a:pt x="303" y="1405"/>
                </a:lnTo>
                <a:lnTo>
                  <a:pt x="295" y="1443"/>
                </a:lnTo>
                <a:lnTo>
                  <a:pt x="206" y="1443"/>
                </a:lnTo>
                <a:lnTo>
                  <a:pt x="206" y="1158"/>
                </a:lnTo>
                <a:lnTo>
                  <a:pt x="913" y="1158"/>
                </a:lnTo>
                <a:lnTo>
                  <a:pt x="913" y="1182"/>
                </a:lnTo>
                <a:lnTo>
                  <a:pt x="912" y="1195"/>
                </a:lnTo>
                <a:lnTo>
                  <a:pt x="907" y="1226"/>
                </a:lnTo>
                <a:lnTo>
                  <a:pt x="897" y="1271"/>
                </a:lnTo>
                <a:lnTo>
                  <a:pt x="881" y="1325"/>
                </a:lnTo>
                <a:lnTo>
                  <a:pt x="859" y="1379"/>
                </a:lnTo>
                <a:lnTo>
                  <a:pt x="835" y="1428"/>
                </a:lnTo>
                <a:lnTo>
                  <a:pt x="810" y="1474"/>
                </a:lnTo>
                <a:lnTo>
                  <a:pt x="784" y="1516"/>
                </a:lnTo>
                <a:lnTo>
                  <a:pt x="757" y="1554"/>
                </a:lnTo>
                <a:lnTo>
                  <a:pt x="730" y="1590"/>
                </a:lnTo>
                <a:lnTo>
                  <a:pt x="673" y="1658"/>
                </a:lnTo>
                <a:lnTo>
                  <a:pt x="620" y="1723"/>
                </a:lnTo>
                <a:lnTo>
                  <a:pt x="596" y="1756"/>
                </a:lnTo>
                <a:lnTo>
                  <a:pt x="572" y="1790"/>
                </a:lnTo>
                <a:lnTo>
                  <a:pt x="551" y="1825"/>
                </a:lnTo>
                <a:lnTo>
                  <a:pt x="533" y="1864"/>
                </a:lnTo>
                <a:lnTo>
                  <a:pt x="516" y="1904"/>
                </a:lnTo>
                <a:lnTo>
                  <a:pt x="503" y="1948"/>
                </a:lnTo>
                <a:lnTo>
                  <a:pt x="624" y="1948"/>
                </a:lnTo>
                <a:lnTo>
                  <a:pt x="651" y="1946"/>
                </a:lnTo>
                <a:lnTo>
                  <a:pt x="680" y="1939"/>
                </a:lnTo>
                <a:lnTo>
                  <a:pt x="707" y="1925"/>
                </a:lnTo>
                <a:lnTo>
                  <a:pt x="720" y="1917"/>
                </a:lnTo>
                <a:lnTo>
                  <a:pt x="733" y="1907"/>
                </a:lnTo>
                <a:lnTo>
                  <a:pt x="744" y="1894"/>
                </a:lnTo>
                <a:lnTo>
                  <a:pt x="756" y="1881"/>
                </a:lnTo>
                <a:lnTo>
                  <a:pt x="767" y="1865"/>
                </a:lnTo>
                <a:lnTo>
                  <a:pt x="777" y="1847"/>
                </a:lnTo>
                <a:lnTo>
                  <a:pt x="786" y="1827"/>
                </a:lnTo>
                <a:lnTo>
                  <a:pt x="793" y="1805"/>
                </a:lnTo>
                <a:lnTo>
                  <a:pt x="799" y="1781"/>
                </a:lnTo>
                <a:lnTo>
                  <a:pt x="805" y="1754"/>
                </a:lnTo>
                <a:lnTo>
                  <a:pt x="897" y="1754"/>
                </a:lnTo>
                <a:lnTo>
                  <a:pt x="897" y="2039"/>
                </a:lnTo>
                <a:lnTo>
                  <a:pt x="173" y="2039"/>
                </a:lnTo>
                <a:lnTo>
                  <a:pt x="173" y="1998"/>
                </a:lnTo>
                <a:close/>
              </a:path>
            </a:pathLst>
          </a:custGeom>
          <a:solidFill>
            <a:srgbClr val="0000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e-DE" sz="1600">
              <a:solidFill>
                <a:srgbClr val="000000"/>
              </a:solidFill>
            </a:endParaRPr>
          </a:p>
        </p:txBody>
      </p:sp>
      <p:sp>
        <p:nvSpPr>
          <p:cNvPr id="3251205" name="Rectangle 5"/>
          <p:cNvSpPr>
            <a:spLocks noGrp="1" noChangeArrowheads="1"/>
          </p:cNvSpPr>
          <p:nvPr>
            <p:ph type="ctrTitle" sz="quarter"/>
          </p:nvPr>
        </p:nvSpPr>
        <p:spPr>
          <a:xfrm>
            <a:off x="466725" y="268288"/>
            <a:ext cx="6208713" cy="928687"/>
          </a:xfrm>
        </p:spPr>
        <p:txBody>
          <a:bodyPr/>
          <a:lstStyle>
            <a:lvl1pPr>
              <a:defRPr sz="2400"/>
            </a:lvl1pPr>
          </a:lstStyle>
          <a:p>
            <a:pPr lvl="0"/>
            <a:r>
              <a:rPr lang="de-DE" noProof="0"/>
              <a:t>Titelmasterformat durch Klicken bearbeiten</a:t>
            </a:r>
          </a:p>
        </p:txBody>
      </p:sp>
      <p:pic>
        <p:nvPicPr>
          <p:cNvPr id="5" name="Grafik 4"/>
          <p:cNvPicPr>
            <a:picLocks noChangeAspect="1"/>
          </p:cNvPicPr>
          <p:nvPr userDrawn="1"/>
        </p:nvPicPr>
        <p:blipFill rotWithShape="1">
          <a:blip r:embed="rId4" cstate="print">
            <a:extLst>
              <a:ext uri="{28A0092B-C50C-407E-A947-70E740481C1C}">
                <a14:useLocalDpi xmlns:a14="http://schemas.microsoft.com/office/drawing/2010/main" val="0"/>
              </a:ext>
            </a:extLst>
          </a:blip>
          <a:srcRect l="1904" t="34724" r="3017" b="12091"/>
          <a:stretch/>
        </p:blipFill>
        <p:spPr>
          <a:xfrm>
            <a:off x="-1" y="2272541"/>
            <a:ext cx="9144001" cy="3132069"/>
          </a:xfrm>
          <a:prstGeom prst="rect">
            <a:avLst/>
          </a:prstGeom>
        </p:spPr>
      </p:pic>
    </p:spTree>
    <p:custDataLst>
      <p:tags r:id="rId1"/>
    </p:custDataLst>
    <p:extLst>
      <p:ext uri="{BB962C8B-B14F-4D97-AF65-F5344CB8AC3E}">
        <p14:creationId xmlns:p14="http://schemas.microsoft.com/office/powerpoint/2010/main" val="275913144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F765975-A351-42C2-A247-B41DB5844E41}" type="datetimeFigureOut">
              <a:rPr lang="en-US" smtClean="0">
                <a:solidFill>
                  <a:prstClr val="black">
                    <a:tint val="75000"/>
                  </a:prstClr>
                </a:solidFill>
              </a:rPr>
              <a:pPr/>
              <a:t>2/28/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4742254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TW_Footer_3"/>
          <p:cNvSpPr>
            <a:spLocks noGrp="1" noChangeArrowheads="1"/>
          </p:cNvSpPr>
          <p:nvPr>
            <p:ph type="dt" sz="half" idx="10"/>
          </p:nvPr>
        </p:nvSpPr>
        <p:spPr>
          <a:ln/>
        </p:spPr>
        <p:txBody>
          <a:bodyPr/>
          <a:lstStyle>
            <a:lvl1pPr>
              <a:defRPr/>
            </a:lvl1pPr>
          </a:lstStyle>
          <a:p>
            <a:pPr>
              <a:defRPr/>
            </a:pPr>
            <a:fld id="{C2837CB1-70E0-406F-BAD9-8411B6A00ED6}" type="datetime1">
              <a:rPr lang="de-DE" smtClean="0">
                <a:solidFill>
                  <a:srgbClr val="000000"/>
                </a:solidFill>
              </a:rPr>
              <a:pPr>
                <a:defRPr/>
              </a:pPr>
              <a:t>28.02.2019</a:t>
            </a:fld>
            <a:endParaRPr lang="de-DE">
              <a:solidFill>
                <a:srgbClr val="000000"/>
              </a:solidFill>
            </a:endParaRPr>
          </a:p>
        </p:txBody>
      </p:sp>
      <p:sp>
        <p:nvSpPr>
          <p:cNvPr id="5" name="Rectangle 19"/>
          <p:cNvSpPr>
            <a:spLocks noGrp="1" noChangeArrowheads="1"/>
          </p:cNvSpPr>
          <p:nvPr>
            <p:ph type="sldNum" sz="quarter" idx="11"/>
          </p:nvPr>
        </p:nvSpPr>
        <p:spPr>
          <a:ln/>
        </p:spPr>
        <p:txBody>
          <a:bodyPr/>
          <a:lstStyle>
            <a:lvl1pPr>
              <a:defRPr/>
            </a:lvl1pPr>
          </a:lstStyle>
          <a:p>
            <a:pPr>
              <a:defRPr/>
            </a:pPr>
            <a:fld id="{7810398B-0FBD-4CF5-97DE-DEBA0D3FD65B}" type="slidenum">
              <a:rPr lang="de-DE">
                <a:solidFill>
                  <a:srgbClr val="000000"/>
                </a:solidFill>
              </a:rPr>
              <a:pPr>
                <a:defRPr/>
              </a:pPr>
              <a:t>‹#›</a:t>
            </a:fld>
            <a:endParaRPr lang="de-DE">
              <a:solidFill>
                <a:srgbClr val="000000"/>
              </a:solidFill>
            </a:endParaRPr>
          </a:p>
        </p:txBody>
      </p:sp>
      <p:sp>
        <p:nvSpPr>
          <p:cNvPr id="6" name="TW_Footer_1"/>
          <p:cNvSpPr>
            <a:spLocks noGrp="1" noChangeArrowheads="1"/>
          </p:cNvSpPr>
          <p:nvPr>
            <p:ph type="ftr" sz="quarter" idx="12"/>
          </p:nvPr>
        </p:nvSpPr>
        <p:spPr>
          <a:ln/>
        </p:spPr>
        <p:txBody>
          <a:bodyPr/>
          <a:lstStyle>
            <a:lvl1pPr>
              <a:defRPr/>
            </a:lvl1pPr>
          </a:lstStyle>
          <a:p>
            <a:pPr>
              <a:defRPr/>
            </a:pPr>
            <a:r>
              <a:rPr lang="de-DE">
                <a:solidFill>
                  <a:srgbClr val="000000"/>
                </a:solidFill>
              </a:rPr>
              <a:t>Carl Zeiss Microscopy</a:t>
            </a:r>
          </a:p>
        </p:txBody>
      </p:sp>
    </p:spTree>
    <p:extLst>
      <p:ext uri="{BB962C8B-B14F-4D97-AF65-F5344CB8AC3E}">
        <p14:creationId xmlns:p14="http://schemas.microsoft.com/office/powerpoint/2010/main" val="222719823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lstStyle>
            <a:lvl1pPr algn="l">
              <a:defRPr sz="4000" b="1" cap="all"/>
            </a:lvl1pPr>
          </a:lstStyle>
          <a:p>
            <a:r>
              <a:rPr lang="de-DE"/>
              <a:t>Titelmasterformat durch Klicken bearbeiten</a:t>
            </a:r>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 bearbeiten</a:t>
            </a:r>
          </a:p>
        </p:txBody>
      </p:sp>
      <p:sp>
        <p:nvSpPr>
          <p:cNvPr id="4" name="TW_Footer_3"/>
          <p:cNvSpPr>
            <a:spLocks noGrp="1" noChangeArrowheads="1"/>
          </p:cNvSpPr>
          <p:nvPr>
            <p:ph type="dt" sz="half" idx="10"/>
          </p:nvPr>
        </p:nvSpPr>
        <p:spPr>
          <a:ln/>
        </p:spPr>
        <p:txBody>
          <a:bodyPr/>
          <a:lstStyle>
            <a:lvl1pPr>
              <a:defRPr/>
            </a:lvl1pPr>
          </a:lstStyle>
          <a:p>
            <a:pPr>
              <a:defRPr/>
            </a:pPr>
            <a:fld id="{1FFB8944-297D-4A2C-BB53-1A0C6A240894}" type="datetime1">
              <a:rPr lang="de-DE" smtClean="0">
                <a:solidFill>
                  <a:srgbClr val="000000"/>
                </a:solidFill>
              </a:rPr>
              <a:pPr>
                <a:defRPr/>
              </a:pPr>
              <a:t>28.02.2019</a:t>
            </a:fld>
            <a:endParaRPr lang="de-DE">
              <a:solidFill>
                <a:srgbClr val="000000"/>
              </a:solidFill>
            </a:endParaRPr>
          </a:p>
        </p:txBody>
      </p:sp>
      <p:sp>
        <p:nvSpPr>
          <p:cNvPr id="5" name="Rectangle 19"/>
          <p:cNvSpPr>
            <a:spLocks noGrp="1" noChangeArrowheads="1"/>
          </p:cNvSpPr>
          <p:nvPr>
            <p:ph type="sldNum" sz="quarter" idx="11"/>
          </p:nvPr>
        </p:nvSpPr>
        <p:spPr>
          <a:ln/>
        </p:spPr>
        <p:txBody>
          <a:bodyPr/>
          <a:lstStyle>
            <a:lvl1pPr>
              <a:defRPr/>
            </a:lvl1pPr>
          </a:lstStyle>
          <a:p>
            <a:pPr>
              <a:defRPr/>
            </a:pPr>
            <a:fld id="{B3C0FEC6-F7B5-457F-A22E-131A8F0C9816}" type="slidenum">
              <a:rPr lang="de-DE">
                <a:solidFill>
                  <a:srgbClr val="000000"/>
                </a:solidFill>
              </a:rPr>
              <a:pPr>
                <a:defRPr/>
              </a:pPr>
              <a:t>‹#›</a:t>
            </a:fld>
            <a:endParaRPr lang="de-DE">
              <a:solidFill>
                <a:srgbClr val="000000"/>
              </a:solidFill>
            </a:endParaRPr>
          </a:p>
        </p:txBody>
      </p:sp>
      <p:sp>
        <p:nvSpPr>
          <p:cNvPr id="6" name="TW_Footer_1"/>
          <p:cNvSpPr>
            <a:spLocks noGrp="1" noChangeArrowheads="1"/>
          </p:cNvSpPr>
          <p:nvPr>
            <p:ph type="ftr" sz="quarter" idx="12"/>
          </p:nvPr>
        </p:nvSpPr>
        <p:spPr>
          <a:ln/>
        </p:spPr>
        <p:txBody>
          <a:bodyPr/>
          <a:lstStyle>
            <a:lvl1pPr>
              <a:defRPr/>
            </a:lvl1pPr>
          </a:lstStyle>
          <a:p>
            <a:pPr>
              <a:defRPr/>
            </a:pPr>
            <a:r>
              <a:rPr lang="de-DE">
                <a:solidFill>
                  <a:srgbClr val="000000"/>
                </a:solidFill>
              </a:rPr>
              <a:t>Carl Zeiss Microscopy</a:t>
            </a:r>
          </a:p>
        </p:txBody>
      </p:sp>
    </p:spTree>
    <p:extLst>
      <p:ext uri="{BB962C8B-B14F-4D97-AF65-F5344CB8AC3E}">
        <p14:creationId xmlns:p14="http://schemas.microsoft.com/office/powerpoint/2010/main" val="103378540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466725" y="1708150"/>
            <a:ext cx="4027488" cy="44624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4646613" y="1708150"/>
            <a:ext cx="4029075" cy="44624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W_Footer_3"/>
          <p:cNvSpPr>
            <a:spLocks noGrp="1" noChangeArrowheads="1"/>
          </p:cNvSpPr>
          <p:nvPr>
            <p:ph type="dt" sz="half" idx="10"/>
          </p:nvPr>
        </p:nvSpPr>
        <p:spPr>
          <a:ln/>
        </p:spPr>
        <p:txBody>
          <a:bodyPr/>
          <a:lstStyle>
            <a:lvl1pPr>
              <a:defRPr/>
            </a:lvl1pPr>
          </a:lstStyle>
          <a:p>
            <a:pPr>
              <a:defRPr/>
            </a:pPr>
            <a:fld id="{DA7D284D-391B-4E80-ACF6-778B26116935}" type="datetime1">
              <a:rPr lang="de-DE" smtClean="0">
                <a:solidFill>
                  <a:srgbClr val="000000"/>
                </a:solidFill>
              </a:rPr>
              <a:pPr>
                <a:defRPr/>
              </a:pPr>
              <a:t>28.02.2019</a:t>
            </a:fld>
            <a:endParaRPr lang="de-DE">
              <a:solidFill>
                <a:srgbClr val="000000"/>
              </a:solidFill>
            </a:endParaRPr>
          </a:p>
        </p:txBody>
      </p:sp>
      <p:sp>
        <p:nvSpPr>
          <p:cNvPr id="6" name="Rectangle 19"/>
          <p:cNvSpPr>
            <a:spLocks noGrp="1" noChangeArrowheads="1"/>
          </p:cNvSpPr>
          <p:nvPr>
            <p:ph type="sldNum" sz="quarter" idx="11"/>
          </p:nvPr>
        </p:nvSpPr>
        <p:spPr>
          <a:ln/>
        </p:spPr>
        <p:txBody>
          <a:bodyPr/>
          <a:lstStyle>
            <a:lvl1pPr>
              <a:defRPr/>
            </a:lvl1pPr>
          </a:lstStyle>
          <a:p>
            <a:pPr>
              <a:defRPr/>
            </a:pPr>
            <a:fld id="{4CDC37C1-573C-4141-AABC-CF582650838D}" type="slidenum">
              <a:rPr lang="de-DE">
                <a:solidFill>
                  <a:srgbClr val="000000"/>
                </a:solidFill>
              </a:rPr>
              <a:pPr>
                <a:defRPr/>
              </a:pPr>
              <a:t>‹#›</a:t>
            </a:fld>
            <a:endParaRPr lang="de-DE">
              <a:solidFill>
                <a:srgbClr val="000000"/>
              </a:solidFill>
            </a:endParaRPr>
          </a:p>
        </p:txBody>
      </p:sp>
      <p:sp>
        <p:nvSpPr>
          <p:cNvPr id="7" name="TW_Footer_1"/>
          <p:cNvSpPr>
            <a:spLocks noGrp="1" noChangeArrowheads="1"/>
          </p:cNvSpPr>
          <p:nvPr>
            <p:ph type="ftr" sz="quarter" idx="12"/>
          </p:nvPr>
        </p:nvSpPr>
        <p:spPr>
          <a:ln/>
        </p:spPr>
        <p:txBody>
          <a:bodyPr/>
          <a:lstStyle>
            <a:lvl1pPr>
              <a:defRPr/>
            </a:lvl1pPr>
          </a:lstStyle>
          <a:p>
            <a:pPr>
              <a:defRPr/>
            </a:pPr>
            <a:r>
              <a:rPr lang="de-DE">
                <a:solidFill>
                  <a:srgbClr val="000000"/>
                </a:solidFill>
              </a:rPr>
              <a:t>Carl Zeiss Microscopy</a:t>
            </a:r>
          </a:p>
        </p:txBody>
      </p:sp>
    </p:spTree>
    <p:extLst>
      <p:ext uri="{BB962C8B-B14F-4D97-AF65-F5344CB8AC3E}">
        <p14:creationId xmlns:p14="http://schemas.microsoft.com/office/powerpoint/2010/main" val="77298392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e-DE"/>
              <a:t>Titelmasterformat durch Klicken bearbeiten</a:t>
            </a:r>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7" name="TW_Footer_3"/>
          <p:cNvSpPr>
            <a:spLocks noGrp="1" noChangeArrowheads="1"/>
          </p:cNvSpPr>
          <p:nvPr>
            <p:ph type="dt" sz="half" idx="10"/>
          </p:nvPr>
        </p:nvSpPr>
        <p:spPr>
          <a:ln/>
        </p:spPr>
        <p:txBody>
          <a:bodyPr/>
          <a:lstStyle>
            <a:lvl1pPr>
              <a:defRPr/>
            </a:lvl1pPr>
          </a:lstStyle>
          <a:p>
            <a:pPr>
              <a:defRPr/>
            </a:pPr>
            <a:fld id="{73F4B164-8041-4EAB-9A9D-582ABD03EC24}" type="datetime1">
              <a:rPr lang="de-DE" smtClean="0">
                <a:solidFill>
                  <a:srgbClr val="000000"/>
                </a:solidFill>
              </a:rPr>
              <a:pPr>
                <a:defRPr/>
              </a:pPr>
              <a:t>28.02.2019</a:t>
            </a:fld>
            <a:endParaRPr lang="de-DE">
              <a:solidFill>
                <a:srgbClr val="000000"/>
              </a:solidFill>
            </a:endParaRPr>
          </a:p>
        </p:txBody>
      </p:sp>
      <p:sp>
        <p:nvSpPr>
          <p:cNvPr id="8" name="Rectangle 19"/>
          <p:cNvSpPr>
            <a:spLocks noGrp="1" noChangeArrowheads="1"/>
          </p:cNvSpPr>
          <p:nvPr>
            <p:ph type="sldNum" sz="quarter" idx="11"/>
          </p:nvPr>
        </p:nvSpPr>
        <p:spPr>
          <a:ln/>
        </p:spPr>
        <p:txBody>
          <a:bodyPr/>
          <a:lstStyle>
            <a:lvl1pPr>
              <a:defRPr/>
            </a:lvl1pPr>
          </a:lstStyle>
          <a:p>
            <a:pPr>
              <a:defRPr/>
            </a:pPr>
            <a:fld id="{EC317880-9F9B-4958-8DCC-793369BB7688}" type="slidenum">
              <a:rPr lang="de-DE">
                <a:solidFill>
                  <a:srgbClr val="000000"/>
                </a:solidFill>
              </a:rPr>
              <a:pPr>
                <a:defRPr/>
              </a:pPr>
              <a:t>‹#›</a:t>
            </a:fld>
            <a:endParaRPr lang="de-DE">
              <a:solidFill>
                <a:srgbClr val="000000"/>
              </a:solidFill>
            </a:endParaRPr>
          </a:p>
        </p:txBody>
      </p:sp>
      <p:sp>
        <p:nvSpPr>
          <p:cNvPr id="9" name="TW_Footer_1"/>
          <p:cNvSpPr>
            <a:spLocks noGrp="1" noChangeArrowheads="1"/>
          </p:cNvSpPr>
          <p:nvPr>
            <p:ph type="ftr" sz="quarter" idx="12"/>
          </p:nvPr>
        </p:nvSpPr>
        <p:spPr>
          <a:ln/>
        </p:spPr>
        <p:txBody>
          <a:bodyPr/>
          <a:lstStyle>
            <a:lvl1pPr>
              <a:defRPr/>
            </a:lvl1pPr>
          </a:lstStyle>
          <a:p>
            <a:pPr>
              <a:defRPr/>
            </a:pPr>
            <a:r>
              <a:rPr lang="de-DE">
                <a:solidFill>
                  <a:srgbClr val="000000"/>
                </a:solidFill>
              </a:rPr>
              <a:t>Carl Zeiss Microscopy</a:t>
            </a:r>
          </a:p>
        </p:txBody>
      </p:sp>
    </p:spTree>
    <p:extLst>
      <p:ext uri="{BB962C8B-B14F-4D97-AF65-F5344CB8AC3E}">
        <p14:creationId xmlns:p14="http://schemas.microsoft.com/office/powerpoint/2010/main" val="552675748"/>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TW_Footer_3"/>
          <p:cNvSpPr>
            <a:spLocks noGrp="1" noChangeArrowheads="1"/>
          </p:cNvSpPr>
          <p:nvPr>
            <p:ph type="dt" sz="half" idx="10"/>
          </p:nvPr>
        </p:nvSpPr>
        <p:spPr>
          <a:ln/>
        </p:spPr>
        <p:txBody>
          <a:bodyPr/>
          <a:lstStyle>
            <a:lvl1pPr>
              <a:defRPr/>
            </a:lvl1pPr>
          </a:lstStyle>
          <a:p>
            <a:pPr>
              <a:defRPr/>
            </a:pPr>
            <a:fld id="{3F2FA3B0-AB88-4A4D-BEF6-1D9D61560B16}" type="datetime1">
              <a:rPr lang="de-DE" smtClean="0">
                <a:solidFill>
                  <a:srgbClr val="000000"/>
                </a:solidFill>
              </a:rPr>
              <a:pPr>
                <a:defRPr/>
              </a:pPr>
              <a:t>28.02.2019</a:t>
            </a:fld>
            <a:endParaRPr lang="de-DE">
              <a:solidFill>
                <a:srgbClr val="000000"/>
              </a:solidFill>
            </a:endParaRPr>
          </a:p>
        </p:txBody>
      </p:sp>
      <p:sp>
        <p:nvSpPr>
          <p:cNvPr id="4" name="Rectangle 19"/>
          <p:cNvSpPr>
            <a:spLocks noGrp="1" noChangeArrowheads="1"/>
          </p:cNvSpPr>
          <p:nvPr>
            <p:ph type="sldNum" sz="quarter" idx="11"/>
          </p:nvPr>
        </p:nvSpPr>
        <p:spPr>
          <a:ln/>
        </p:spPr>
        <p:txBody>
          <a:bodyPr/>
          <a:lstStyle>
            <a:lvl1pPr>
              <a:defRPr/>
            </a:lvl1pPr>
          </a:lstStyle>
          <a:p>
            <a:pPr>
              <a:defRPr/>
            </a:pPr>
            <a:fld id="{E110B4F4-3320-4BA7-9898-32A9729DB341}" type="slidenum">
              <a:rPr lang="de-DE">
                <a:solidFill>
                  <a:srgbClr val="000000"/>
                </a:solidFill>
              </a:rPr>
              <a:pPr>
                <a:defRPr/>
              </a:pPr>
              <a:t>‹#›</a:t>
            </a:fld>
            <a:endParaRPr lang="de-DE">
              <a:solidFill>
                <a:srgbClr val="000000"/>
              </a:solidFill>
            </a:endParaRPr>
          </a:p>
        </p:txBody>
      </p:sp>
      <p:sp>
        <p:nvSpPr>
          <p:cNvPr id="5" name="TW_Footer_1"/>
          <p:cNvSpPr>
            <a:spLocks noGrp="1" noChangeArrowheads="1"/>
          </p:cNvSpPr>
          <p:nvPr>
            <p:ph type="ftr" sz="quarter" idx="12"/>
          </p:nvPr>
        </p:nvSpPr>
        <p:spPr>
          <a:ln/>
        </p:spPr>
        <p:txBody>
          <a:bodyPr/>
          <a:lstStyle>
            <a:lvl1pPr>
              <a:defRPr/>
            </a:lvl1pPr>
          </a:lstStyle>
          <a:p>
            <a:pPr>
              <a:defRPr/>
            </a:pPr>
            <a:r>
              <a:rPr lang="de-DE">
                <a:solidFill>
                  <a:srgbClr val="000000"/>
                </a:solidFill>
              </a:rPr>
              <a:t>Carl Zeiss Microscopy</a:t>
            </a:r>
          </a:p>
        </p:txBody>
      </p:sp>
    </p:spTree>
    <p:extLst>
      <p:ext uri="{BB962C8B-B14F-4D97-AF65-F5344CB8AC3E}">
        <p14:creationId xmlns:p14="http://schemas.microsoft.com/office/powerpoint/2010/main" val="329585364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TW_Footer_3"/>
          <p:cNvSpPr>
            <a:spLocks noGrp="1" noChangeArrowheads="1"/>
          </p:cNvSpPr>
          <p:nvPr>
            <p:ph type="dt" sz="half" idx="10"/>
          </p:nvPr>
        </p:nvSpPr>
        <p:spPr>
          <a:ln/>
        </p:spPr>
        <p:txBody>
          <a:bodyPr/>
          <a:lstStyle>
            <a:lvl1pPr>
              <a:defRPr/>
            </a:lvl1pPr>
          </a:lstStyle>
          <a:p>
            <a:pPr>
              <a:defRPr/>
            </a:pPr>
            <a:fld id="{51BEBEC6-5142-4CD2-9D6F-D5057ED541E3}" type="datetime1">
              <a:rPr lang="de-DE" smtClean="0">
                <a:solidFill>
                  <a:srgbClr val="000000"/>
                </a:solidFill>
              </a:rPr>
              <a:pPr>
                <a:defRPr/>
              </a:pPr>
              <a:t>28.02.2019</a:t>
            </a:fld>
            <a:endParaRPr lang="de-DE">
              <a:solidFill>
                <a:srgbClr val="000000"/>
              </a:solidFill>
            </a:endParaRPr>
          </a:p>
        </p:txBody>
      </p:sp>
      <p:sp>
        <p:nvSpPr>
          <p:cNvPr id="3" name="Rectangle 19"/>
          <p:cNvSpPr>
            <a:spLocks noGrp="1" noChangeArrowheads="1"/>
          </p:cNvSpPr>
          <p:nvPr>
            <p:ph type="sldNum" sz="quarter" idx="11"/>
          </p:nvPr>
        </p:nvSpPr>
        <p:spPr>
          <a:ln/>
        </p:spPr>
        <p:txBody>
          <a:bodyPr/>
          <a:lstStyle>
            <a:lvl1pPr>
              <a:defRPr/>
            </a:lvl1pPr>
          </a:lstStyle>
          <a:p>
            <a:pPr>
              <a:defRPr/>
            </a:pPr>
            <a:fld id="{81AE6D63-12F1-4737-8AB3-5F94B7A2E5A5}" type="slidenum">
              <a:rPr lang="de-DE">
                <a:solidFill>
                  <a:srgbClr val="000000"/>
                </a:solidFill>
              </a:rPr>
              <a:pPr>
                <a:defRPr/>
              </a:pPr>
              <a:t>‹#›</a:t>
            </a:fld>
            <a:endParaRPr lang="de-DE">
              <a:solidFill>
                <a:srgbClr val="000000"/>
              </a:solidFill>
            </a:endParaRPr>
          </a:p>
        </p:txBody>
      </p:sp>
      <p:sp>
        <p:nvSpPr>
          <p:cNvPr id="4" name="TW_Footer_1"/>
          <p:cNvSpPr>
            <a:spLocks noGrp="1" noChangeArrowheads="1"/>
          </p:cNvSpPr>
          <p:nvPr>
            <p:ph type="ftr" sz="quarter" idx="12"/>
          </p:nvPr>
        </p:nvSpPr>
        <p:spPr>
          <a:ln/>
        </p:spPr>
        <p:txBody>
          <a:bodyPr/>
          <a:lstStyle>
            <a:lvl1pPr>
              <a:defRPr/>
            </a:lvl1pPr>
          </a:lstStyle>
          <a:p>
            <a:pPr>
              <a:defRPr/>
            </a:pPr>
            <a:r>
              <a:rPr lang="de-DE">
                <a:solidFill>
                  <a:srgbClr val="000000"/>
                </a:solidFill>
              </a:rPr>
              <a:t>Carl Zeiss Microscopy</a:t>
            </a:r>
          </a:p>
        </p:txBody>
      </p:sp>
    </p:spTree>
    <p:extLst>
      <p:ext uri="{BB962C8B-B14F-4D97-AF65-F5344CB8AC3E}">
        <p14:creationId xmlns:p14="http://schemas.microsoft.com/office/powerpoint/2010/main" val="259981772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e-DE"/>
              <a:t>Titelmasterformat durch Klicken bearbeiten</a:t>
            </a:r>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TW_Footer_3"/>
          <p:cNvSpPr>
            <a:spLocks noGrp="1" noChangeArrowheads="1"/>
          </p:cNvSpPr>
          <p:nvPr>
            <p:ph type="dt" sz="half" idx="10"/>
          </p:nvPr>
        </p:nvSpPr>
        <p:spPr>
          <a:ln/>
        </p:spPr>
        <p:txBody>
          <a:bodyPr/>
          <a:lstStyle>
            <a:lvl1pPr>
              <a:defRPr/>
            </a:lvl1pPr>
          </a:lstStyle>
          <a:p>
            <a:pPr>
              <a:defRPr/>
            </a:pPr>
            <a:fld id="{5664DC22-CD91-4421-8C04-240881CD28A1}" type="datetime1">
              <a:rPr lang="de-DE" smtClean="0">
                <a:solidFill>
                  <a:srgbClr val="000000"/>
                </a:solidFill>
              </a:rPr>
              <a:pPr>
                <a:defRPr/>
              </a:pPr>
              <a:t>28.02.2019</a:t>
            </a:fld>
            <a:endParaRPr lang="de-DE">
              <a:solidFill>
                <a:srgbClr val="000000"/>
              </a:solidFill>
            </a:endParaRPr>
          </a:p>
        </p:txBody>
      </p:sp>
      <p:sp>
        <p:nvSpPr>
          <p:cNvPr id="6" name="Rectangle 19"/>
          <p:cNvSpPr>
            <a:spLocks noGrp="1" noChangeArrowheads="1"/>
          </p:cNvSpPr>
          <p:nvPr>
            <p:ph type="sldNum" sz="quarter" idx="11"/>
          </p:nvPr>
        </p:nvSpPr>
        <p:spPr>
          <a:ln/>
        </p:spPr>
        <p:txBody>
          <a:bodyPr/>
          <a:lstStyle>
            <a:lvl1pPr>
              <a:defRPr/>
            </a:lvl1pPr>
          </a:lstStyle>
          <a:p>
            <a:pPr>
              <a:defRPr/>
            </a:pPr>
            <a:fld id="{EE573771-3FFF-48F2-A9BE-AAB3B635B93C}" type="slidenum">
              <a:rPr lang="de-DE">
                <a:solidFill>
                  <a:srgbClr val="000000"/>
                </a:solidFill>
              </a:rPr>
              <a:pPr>
                <a:defRPr/>
              </a:pPr>
              <a:t>‹#›</a:t>
            </a:fld>
            <a:endParaRPr lang="de-DE">
              <a:solidFill>
                <a:srgbClr val="000000"/>
              </a:solidFill>
            </a:endParaRPr>
          </a:p>
        </p:txBody>
      </p:sp>
      <p:sp>
        <p:nvSpPr>
          <p:cNvPr id="7" name="TW_Footer_1"/>
          <p:cNvSpPr>
            <a:spLocks noGrp="1" noChangeArrowheads="1"/>
          </p:cNvSpPr>
          <p:nvPr>
            <p:ph type="ftr" sz="quarter" idx="12"/>
          </p:nvPr>
        </p:nvSpPr>
        <p:spPr>
          <a:ln/>
        </p:spPr>
        <p:txBody>
          <a:bodyPr/>
          <a:lstStyle>
            <a:lvl1pPr>
              <a:defRPr/>
            </a:lvl1pPr>
          </a:lstStyle>
          <a:p>
            <a:pPr>
              <a:defRPr/>
            </a:pPr>
            <a:r>
              <a:rPr lang="de-DE">
                <a:solidFill>
                  <a:srgbClr val="000000"/>
                </a:solidFill>
              </a:rPr>
              <a:t>Carl Zeiss Microscopy</a:t>
            </a:r>
          </a:p>
        </p:txBody>
      </p:sp>
    </p:spTree>
    <p:extLst>
      <p:ext uri="{BB962C8B-B14F-4D97-AF65-F5344CB8AC3E}">
        <p14:creationId xmlns:p14="http://schemas.microsoft.com/office/powerpoint/2010/main" val="293573226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a:t>Titelmasterformat durch Klicken bearbeiten</a:t>
            </a:r>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TW_Footer_3"/>
          <p:cNvSpPr>
            <a:spLocks noGrp="1" noChangeArrowheads="1"/>
          </p:cNvSpPr>
          <p:nvPr>
            <p:ph type="dt" sz="half" idx="10"/>
          </p:nvPr>
        </p:nvSpPr>
        <p:spPr>
          <a:ln/>
        </p:spPr>
        <p:txBody>
          <a:bodyPr/>
          <a:lstStyle>
            <a:lvl1pPr>
              <a:defRPr/>
            </a:lvl1pPr>
          </a:lstStyle>
          <a:p>
            <a:pPr>
              <a:defRPr/>
            </a:pPr>
            <a:fld id="{9D0494D8-906B-4E87-A086-F2DB9A8FFE93}" type="datetime1">
              <a:rPr lang="de-DE" smtClean="0">
                <a:solidFill>
                  <a:srgbClr val="000000"/>
                </a:solidFill>
              </a:rPr>
              <a:pPr>
                <a:defRPr/>
              </a:pPr>
              <a:t>28.02.2019</a:t>
            </a:fld>
            <a:endParaRPr lang="de-DE">
              <a:solidFill>
                <a:srgbClr val="000000"/>
              </a:solidFill>
            </a:endParaRPr>
          </a:p>
        </p:txBody>
      </p:sp>
      <p:sp>
        <p:nvSpPr>
          <p:cNvPr id="6" name="Rectangle 19"/>
          <p:cNvSpPr>
            <a:spLocks noGrp="1" noChangeArrowheads="1"/>
          </p:cNvSpPr>
          <p:nvPr>
            <p:ph type="sldNum" sz="quarter" idx="11"/>
          </p:nvPr>
        </p:nvSpPr>
        <p:spPr>
          <a:ln/>
        </p:spPr>
        <p:txBody>
          <a:bodyPr/>
          <a:lstStyle>
            <a:lvl1pPr>
              <a:defRPr/>
            </a:lvl1pPr>
          </a:lstStyle>
          <a:p>
            <a:pPr>
              <a:defRPr/>
            </a:pPr>
            <a:fld id="{7D8D18F7-A770-4728-94C5-DEDC936B0947}" type="slidenum">
              <a:rPr lang="de-DE">
                <a:solidFill>
                  <a:srgbClr val="000000"/>
                </a:solidFill>
              </a:rPr>
              <a:pPr>
                <a:defRPr/>
              </a:pPr>
              <a:t>‹#›</a:t>
            </a:fld>
            <a:endParaRPr lang="de-DE">
              <a:solidFill>
                <a:srgbClr val="000000"/>
              </a:solidFill>
            </a:endParaRPr>
          </a:p>
        </p:txBody>
      </p:sp>
      <p:sp>
        <p:nvSpPr>
          <p:cNvPr id="7" name="TW_Footer_1"/>
          <p:cNvSpPr>
            <a:spLocks noGrp="1" noChangeArrowheads="1"/>
          </p:cNvSpPr>
          <p:nvPr>
            <p:ph type="ftr" sz="quarter" idx="12"/>
          </p:nvPr>
        </p:nvSpPr>
        <p:spPr>
          <a:ln/>
        </p:spPr>
        <p:txBody>
          <a:bodyPr/>
          <a:lstStyle>
            <a:lvl1pPr>
              <a:defRPr/>
            </a:lvl1pPr>
          </a:lstStyle>
          <a:p>
            <a:pPr>
              <a:defRPr/>
            </a:pPr>
            <a:r>
              <a:rPr lang="de-DE">
                <a:solidFill>
                  <a:srgbClr val="000000"/>
                </a:solidFill>
              </a:rPr>
              <a:t>Carl Zeiss Microscopy</a:t>
            </a:r>
          </a:p>
        </p:txBody>
      </p:sp>
    </p:spTree>
    <p:extLst>
      <p:ext uri="{BB962C8B-B14F-4D97-AF65-F5344CB8AC3E}">
        <p14:creationId xmlns:p14="http://schemas.microsoft.com/office/powerpoint/2010/main" val="240426177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TW_Footer_3"/>
          <p:cNvSpPr>
            <a:spLocks noGrp="1" noChangeArrowheads="1"/>
          </p:cNvSpPr>
          <p:nvPr>
            <p:ph type="dt" sz="half" idx="10"/>
          </p:nvPr>
        </p:nvSpPr>
        <p:spPr>
          <a:ln/>
        </p:spPr>
        <p:txBody>
          <a:bodyPr/>
          <a:lstStyle>
            <a:lvl1pPr>
              <a:defRPr/>
            </a:lvl1pPr>
          </a:lstStyle>
          <a:p>
            <a:pPr>
              <a:defRPr/>
            </a:pPr>
            <a:fld id="{EBDDC5DA-E82B-4BE1-B600-474AF72876BE}" type="datetime1">
              <a:rPr lang="de-DE" smtClean="0">
                <a:solidFill>
                  <a:srgbClr val="000000"/>
                </a:solidFill>
              </a:rPr>
              <a:pPr>
                <a:defRPr/>
              </a:pPr>
              <a:t>28.02.2019</a:t>
            </a:fld>
            <a:endParaRPr lang="de-DE">
              <a:solidFill>
                <a:srgbClr val="000000"/>
              </a:solidFill>
            </a:endParaRPr>
          </a:p>
        </p:txBody>
      </p:sp>
      <p:sp>
        <p:nvSpPr>
          <p:cNvPr id="5" name="Rectangle 19"/>
          <p:cNvSpPr>
            <a:spLocks noGrp="1" noChangeArrowheads="1"/>
          </p:cNvSpPr>
          <p:nvPr>
            <p:ph type="sldNum" sz="quarter" idx="11"/>
          </p:nvPr>
        </p:nvSpPr>
        <p:spPr>
          <a:ln/>
        </p:spPr>
        <p:txBody>
          <a:bodyPr/>
          <a:lstStyle>
            <a:lvl1pPr>
              <a:defRPr/>
            </a:lvl1pPr>
          </a:lstStyle>
          <a:p>
            <a:pPr>
              <a:defRPr/>
            </a:pPr>
            <a:fld id="{1BAE62CD-6FDF-4F84-AE7E-79C502775234}" type="slidenum">
              <a:rPr lang="de-DE">
                <a:solidFill>
                  <a:srgbClr val="000000"/>
                </a:solidFill>
              </a:rPr>
              <a:pPr>
                <a:defRPr/>
              </a:pPr>
              <a:t>‹#›</a:t>
            </a:fld>
            <a:endParaRPr lang="de-DE">
              <a:solidFill>
                <a:srgbClr val="000000"/>
              </a:solidFill>
            </a:endParaRPr>
          </a:p>
        </p:txBody>
      </p:sp>
      <p:sp>
        <p:nvSpPr>
          <p:cNvPr id="6" name="TW_Footer_1"/>
          <p:cNvSpPr>
            <a:spLocks noGrp="1" noChangeArrowheads="1"/>
          </p:cNvSpPr>
          <p:nvPr>
            <p:ph type="ftr" sz="quarter" idx="12"/>
          </p:nvPr>
        </p:nvSpPr>
        <p:spPr>
          <a:ln/>
        </p:spPr>
        <p:txBody>
          <a:bodyPr/>
          <a:lstStyle>
            <a:lvl1pPr>
              <a:defRPr/>
            </a:lvl1pPr>
          </a:lstStyle>
          <a:p>
            <a:pPr>
              <a:defRPr/>
            </a:pPr>
            <a:r>
              <a:rPr lang="de-DE">
                <a:solidFill>
                  <a:srgbClr val="000000"/>
                </a:solidFill>
              </a:rPr>
              <a:t>Carl Zeiss Microscopy</a:t>
            </a:r>
          </a:p>
        </p:txBody>
      </p:sp>
    </p:spTree>
    <p:extLst>
      <p:ext uri="{BB962C8B-B14F-4D97-AF65-F5344CB8AC3E}">
        <p14:creationId xmlns:p14="http://schemas.microsoft.com/office/powerpoint/2010/main" val="323807987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24638" y="307975"/>
            <a:ext cx="2051050" cy="5862638"/>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466725" y="307975"/>
            <a:ext cx="6005513" cy="586263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TW_Footer_3"/>
          <p:cNvSpPr>
            <a:spLocks noGrp="1" noChangeArrowheads="1"/>
          </p:cNvSpPr>
          <p:nvPr>
            <p:ph type="dt" sz="half" idx="10"/>
          </p:nvPr>
        </p:nvSpPr>
        <p:spPr>
          <a:ln/>
        </p:spPr>
        <p:txBody>
          <a:bodyPr/>
          <a:lstStyle>
            <a:lvl1pPr>
              <a:defRPr/>
            </a:lvl1pPr>
          </a:lstStyle>
          <a:p>
            <a:pPr>
              <a:defRPr/>
            </a:pPr>
            <a:fld id="{7295DDF5-FC02-4D85-AD8A-ACCC96F7BF15}" type="datetime1">
              <a:rPr lang="de-DE" smtClean="0">
                <a:solidFill>
                  <a:srgbClr val="000000"/>
                </a:solidFill>
              </a:rPr>
              <a:pPr>
                <a:defRPr/>
              </a:pPr>
              <a:t>28.02.2019</a:t>
            </a:fld>
            <a:endParaRPr lang="de-DE">
              <a:solidFill>
                <a:srgbClr val="000000"/>
              </a:solidFill>
            </a:endParaRPr>
          </a:p>
        </p:txBody>
      </p:sp>
      <p:sp>
        <p:nvSpPr>
          <p:cNvPr id="5" name="Rectangle 19"/>
          <p:cNvSpPr>
            <a:spLocks noGrp="1" noChangeArrowheads="1"/>
          </p:cNvSpPr>
          <p:nvPr>
            <p:ph type="sldNum" sz="quarter" idx="11"/>
          </p:nvPr>
        </p:nvSpPr>
        <p:spPr>
          <a:ln/>
        </p:spPr>
        <p:txBody>
          <a:bodyPr/>
          <a:lstStyle>
            <a:lvl1pPr>
              <a:defRPr/>
            </a:lvl1pPr>
          </a:lstStyle>
          <a:p>
            <a:pPr>
              <a:defRPr/>
            </a:pPr>
            <a:fld id="{D9E177A6-45A3-4295-89E4-0A69DEF7B3CA}" type="slidenum">
              <a:rPr lang="de-DE">
                <a:solidFill>
                  <a:srgbClr val="000000"/>
                </a:solidFill>
              </a:rPr>
              <a:pPr>
                <a:defRPr/>
              </a:pPr>
              <a:t>‹#›</a:t>
            </a:fld>
            <a:endParaRPr lang="de-DE">
              <a:solidFill>
                <a:srgbClr val="000000"/>
              </a:solidFill>
            </a:endParaRPr>
          </a:p>
        </p:txBody>
      </p:sp>
      <p:sp>
        <p:nvSpPr>
          <p:cNvPr id="6" name="TW_Footer_1"/>
          <p:cNvSpPr>
            <a:spLocks noGrp="1" noChangeArrowheads="1"/>
          </p:cNvSpPr>
          <p:nvPr>
            <p:ph type="ftr" sz="quarter" idx="12"/>
          </p:nvPr>
        </p:nvSpPr>
        <p:spPr>
          <a:ln/>
        </p:spPr>
        <p:txBody>
          <a:bodyPr/>
          <a:lstStyle>
            <a:lvl1pPr>
              <a:defRPr/>
            </a:lvl1pPr>
          </a:lstStyle>
          <a:p>
            <a:pPr>
              <a:defRPr/>
            </a:pPr>
            <a:r>
              <a:rPr lang="de-DE">
                <a:solidFill>
                  <a:srgbClr val="000000"/>
                </a:solidFill>
              </a:rPr>
              <a:t>Carl Zeiss Microscopy</a:t>
            </a:r>
          </a:p>
        </p:txBody>
      </p:sp>
    </p:spTree>
    <p:extLst>
      <p:ext uri="{BB962C8B-B14F-4D97-AF65-F5344CB8AC3E}">
        <p14:creationId xmlns:p14="http://schemas.microsoft.com/office/powerpoint/2010/main" val="396116248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19"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theme" Target="../theme/theme3.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tags" Target="../tags/tag4.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vmlDrawing" Target="../drawings/vmlDrawing1.v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image" Target="../media/image4.emf"/><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theme" Target="../theme/theme4.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oleObject" Target="../embeddings/oleObject1.bin"/><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tags" Target="../tags/tag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26" Type="http://schemas.openxmlformats.org/officeDocument/2006/relationships/tags" Target="../tags/tag44.xml"/><Relationship Id="rId3" Type="http://schemas.openxmlformats.org/officeDocument/2006/relationships/slideLayout" Target="../slideLayouts/slideLayout67.xml"/><Relationship Id="rId21" Type="http://schemas.openxmlformats.org/officeDocument/2006/relationships/slideLayout" Target="../slideLayouts/slideLayout85.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theme" Target="../theme/theme5.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slideLayout" Target="../slideLayouts/slideLayout88.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slideLayout" Target="../slideLayouts/slideLayout87.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oleObject" Target="../embeddings/oleObject2.bin"/><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tags" Target="../tags/tag84.xml"/><Relationship Id="rId2" Type="http://schemas.openxmlformats.org/officeDocument/2006/relationships/slideLayout" Target="../slideLayouts/slideLayout90.xml"/><Relationship Id="rId16" Type="http://schemas.openxmlformats.org/officeDocument/2006/relationships/vmlDrawing" Target="../drawings/vmlDrawing2.v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5" Type="http://schemas.openxmlformats.org/officeDocument/2006/relationships/theme" Target="../theme/theme6.xml"/><Relationship Id="rId10" Type="http://schemas.openxmlformats.org/officeDocument/2006/relationships/slideLayout" Target="../slideLayouts/slideLayout98.xml"/><Relationship Id="rId19" Type="http://schemas.openxmlformats.org/officeDocument/2006/relationships/image" Target="../media/image4.emf"/><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0.xml"/><Relationship Id="rId3" Type="http://schemas.openxmlformats.org/officeDocument/2006/relationships/slideLayout" Target="../slideLayouts/slideLayout105.xml"/><Relationship Id="rId7" Type="http://schemas.openxmlformats.org/officeDocument/2006/relationships/slideLayout" Target="../slideLayouts/slideLayout109.xml"/><Relationship Id="rId12" Type="http://schemas.openxmlformats.org/officeDocument/2006/relationships/theme" Target="../theme/theme7.xml"/><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0" Type="http://schemas.openxmlformats.org/officeDocument/2006/relationships/slideLayout" Target="../slideLayouts/slideLayout112.xml"/><Relationship Id="rId4" Type="http://schemas.openxmlformats.org/officeDocument/2006/relationships/slideLayout" Target="../slideLayouts/slideLayout106.xml"/><Relationship Id="rId9" Type="http://schemas.openxmlformats.org/officeDocument/2006/relationships/slideLayout" Target="../slideLayouts/slideLayout11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F765975-A351-42C2-A247-B41DB5844E41}" type="datetimeFigureOut">
              <a:rPr lang="en-US" smtClean="0">
                <a:solidFill>
                  <a:prstClr val="black">
                    <a:tint val="75000"/>
                  </a:prstClr>
                </a:solidFill>
              </a:rPr>
              <a:pPr/>
              <a:t>2/28/2019</a:t>
            </a:fld>
            <a:endParaRPr lang="en-US">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84668054"/>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250179" name="Rectangle 3"/>
          <p:cNvSpPr>
            <a:spLocks noGrp="1" noChangeArrowheads="1"/>
          </p:cNvSpPr>
          <p:nvPr>
            <p:ph type="body" idx="1"/>
          </p:nvPr>
        </p:nvSpPr>
        <p:spPr bwMode="auto">
          <a:xfrm>
            <a:off x="466725" y="1708151"/>
            <a:ext cx="8208963" cy="4462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3250182" name="Rectangle 6"/>
          <p:cNvSpPr>
            <a:spLocks noGrp="1" noChangeArrowheads="1"/>
          </p:cNvSpPr>
          <p:nvPr>
            <p:ph type="title"/>
          </p:nvPr>
        </p:nvSpPr>
        <p:spPr bwMode="auto">
          <a:xfrm>
            <a:off x="466725" y="307975"/>
            <a:ext cx="7346950" cy="941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err="1"/>
              <a:t>Titel</a:t>
            </a:r>
            <a:endParaRPr lang="en-US" dirty="0"/>
          </a:p>
        </p:txBody>
      </p:sp>
      <p:sp>
        <p:nvSpPr>
          <p:cNvPr id="3250187" name="Freeform 11"/>
          <p:cNvSpPr>
            <a:spLocks noEditPoints="1"/>
          </p:cNvSpPr>
          <p:nvPr/>
        </p:nvSpPr>
        <p:spPr bwMode="auto">
          <a:xfrm>
            <a:off x="8216900" y="379414"/>
            <a:ext cx="463550" cy="488951"/>
          </a:xfrm>
          <a:custGeom>
            <a:avLst/>
            <a:gdLst>
              <a:gd name="T0" fmla="*/ 743 w 4092"/>
              <a:gd name="T1" fmla="*/ 3836 h 4104"/>
              <a:gd name="T2" fmla="*/ 1652 w 4092"/>
              <a:gd name="T3" fmla="*/ 3680 h 4104"/>
              <a:gd name="T4" fmla="*/ 2573 w 4092"/>
              <a:gd name="T5" fmla="*/ 3692 h 4104"/>
              <a:gd name="T6" fmla="*/ 3476 w 4092"/>
              <a:gd name="T7" fmla="*/ 3873 h 4104"/>
              <a:gd name="T8" fmla="*/ 0 w 4092"/>
              <a:gd name="T9" fmla="*/ 0 h 4104"/>
              <a:gd name="T10" fmla="*/ 3802 w 4092"/>
              <a:gd name="T11" fmla="*/ 1443 h 4104"/>
              <a:gd name="T12" fmla="*/ 3712 w 4092"/>
              <a:gd name="T13" fmla="*/ 1281 h 4104"/>
              <a:gd name="T14" fmla="*/ 3509 w 4092"/>
              <a:gd name="T15" fmla="*/ 1254 h 4104"/>
              <a:gd name="T16" fmla="*/ 3662 w 4092"/>
              <a:gd name="T17" fmla="*/ 1523 h 4104"/>
              <a:gd name="T18" fmla="*/ 3865 w 4092"/>
              <a:gd name="T19" fmla="*/ 1799 h 4104"/>
              <a:gd name="T20" fmla="*/ 3900 w 4092"/>
              <a:gd name="T21" fmla="*/ 2004 h 4104"/>
              <a:gd name="T22" fmla="*/ 3313 w 4092"/>
              <a:gd name="T23" fmla="*/ 1825 h 4104"/>
              <a:gd name="T24" fmla="*/ 3412 w 4092"/>
              <a:gd name="T25" fmla="*/ 1939 h 4104"/>
              <a:gd name="T26" fmla="*/ 3572 w 4092"/>
              <a:gd name="T27" fmla="*/ 1876 h 4104"/>
              <a:gd name="T28" fmla="*/ 3353 w 4092"/>
              <a:gd name="T29" fmla="*/ 1570 h 4104"/>
              <a:gd name="T30" fmla="*/ 3203 w 4092"/>
              <a:gd name="T31" fmla="*/ 1305 h 4104"/>
              <a:gd name="T32" fmla="*/ 2422 w 4092"/>
              <a:gd name="T33" fmla="*/ 1158 h 4104"/>
              <a:gd name="T34" fmla="*/ 2958 w 4092"/>
              <a:gd name="T35" fmla="*/ 1319 h 4104"/>
              <a:gd name="T36" fmla="*/ 2839 w 4092"/>
              <a:gd name="T37" fmla="*/ 1250 h 4104"/>
              <a:gd name="T38" fmla="*/ 2783 w 4092"/>
              <a:gd name="T39" fmla="*/ 1403 h 4104"/>
              <a:gd name="T40" fmla="*/ 2986 w 4092"/>
              <a:gd name="T41" fmla="*/ 1654 h 4104"/>
              <a:gd name="T42" fmla="*/ 3113 w 4092"/>
              <a:gd name="T43" fmla="*/ 1932 h 4104"/>
              <a:gd name="T44" fmla="*/ 2408 w 4092"/>
              <a:gd name="T45" fmla="*/ 1754 h 4104"/>
              <a:gd name="T46" fmla="*/ 2577 w 4092"/>
              <a:gd name="T47" fmla="*/ 1912 h 4104"/>
              <a:gd name="T48" fmla="*/ 2802 w 4092"/>
              <a:gd name="T49" fmla="*/ 1948 h 4104"/>
              <a:gd name="T50" fmla="*/ 2677 w 4092"/>
              <a:gd name="T51" fmla="*/ 1714 h 4104"/>
              <a:gd name="T52" fmla="*/ 2446 w 4092"/>
              <a:gd name="T53" fmla="*/ 1400 h 4104"/>
              <a:gd name="T54" fmla="*/ 1842 w 4092"/>
              <a:gd name="T55" fmla="*/ 1948 h 4104"/>
              <a:gd name="T56" fmla="*/ 1927 w 4092"/>
              <a:gd name="T57" fmla="*/ 1911 h 4104"/>
              <a:gd name="T58" fmla="*/ 1913 w 4092"/>
              <a:gd name="T59" fmla="*/ 1271 h 4104"/>
              <a:gd name="T60" fmla="*/ 2306 w 4092"/>
              <a:gd name="T61" fmla="*/ 1158 h 4104"/>
              <a:gd name="T62" fmla="*/ 2224 w 4092"/>
              <a:gd name="T63" fmla="*/ 1287 h 4104"/>
              <a:gd name="T64" fmla="*/ 2224 w 4092"/>
              <a:gd name="T65" fmla="*/ 1912 h 4104"/>
              <a:gd name="T66" fmla="*/ 2306 w 4092"/>
              <a:gd name="T67" fmla="*/ 2039 h 4104"/>
              <a:gd name="T68" fmla="*/ 1057 w 4092"/>
              <a:gd name="T69" fmla="*/ 1935 h 4104"/>
              <a:gd name="T70" fmla="*/ 1085 w 4092"/>
              <a:gd name="T71" fmla="*/ 1299 h 4104"/>
              <a:gd name="T72" fmla="*/ 1026 w 4092"/>
              <a:gd name="T73" fmla="*/ 1250 h 4104"/>
              <a:gd name="T74" fmla="*/ 1620 w 4092"/>
              <a:gd name="T75" fmla="*/ 1356 h 4104"/>
              <a:gd name="T76" fmla="*/ 1530 w 4092"/>
              <a:gd name="T77" fmla="*/ 1259 h 4104"/>
              <a:gd name="T78" fmla="*/ 1432 w 4092"/>
              <a:gd name="T79" fmla="*/ 1548 h 4104"/>
              <a:gd name="T80" fmla="*/ 1477 w 4092"/>
              <a:gd name="T81" fmla="*/ 1445 h 4104"/>
              <a:gd name="T82" fmla="*/ 1465 w 4092"/>
              <a:gd name="T83" fmla="*/ 1681 h 4104"/>
              <a:gd name="T84" fmla="*/ 1369 w 4092"/>
              <a:gd name="T85" fmla="*/ 1948 h 4104"/>
              <a:gd name="T86" fmla="*/ 1589 w 4092"/>
              <a:gd name="T87" fmla="*/ 1894 h 4104"/>
              <a:gd name="T88" fmla="*/ 1648 w 4092"/>
              <a:gd name="T89" fmla="*/ 1754 h 4104"/>
              <a:gd name="T90" fmla="*/ 180 w 4092"/>
              <a:gd name="T91" fmla="*/ 1948 h 4104"/>
              <a:gd name="T92" fmla="*/ 309 w 4092"/>
              <a:gd name="T93" fmla="*/ 1667 h 4104"/>
              <a:gd name="T94" fmla="*/ 538 w 4092"/>
              <a:gd name="T95" fmla="*/ 1368 h 4104"/>
              <a:gd name="T96" fmla="*/ 443 w 4092"/>
              <a:gd name="T97" fmla="*/ 1255 h 4104"/>
              <a:gd name="T98" fmla="*/ 315 w 4092"/>
              <a:gd name="T99" fmla="*/ 1374 h 4104"/>
              <a:gd name="T100" fmla="*/ 912 w 4092"/>
              <a:gd name="T101" fmla="*/ 1195 h 4104"/>
              <a:gd name="T102" fmla="*/ 784 w 4092"/>
              <a:gd name="T103" fmla="*/ 1516 h 4104"/>
              <a:gd name="T104" fmla="*/ 551 w 4092"/>
              <a:gd name="T105" fmla="*/ 1825 h 4104"/>
              <a:gd name="T106" fmla="*/ 707 w 4092"/>
              <a:gd name="T107" fmla="*/ 1925 h 4104"/>
              <a:gd name="T108" fmla="*/ 786 w 4092"/>
              <a:gd name="T109" fmla="*/ 1827 h 4104"/>
              <a:gd name="T110" fmla="*/ 173 w 4092"/>
              <a:gd name="T111" fmla="*/ 1998 h 4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92" h="4104">
                <a:moveTo>
                  <a:pt x="0" y="4104"/>
                </a:moveTo>
                <a:lnTo>
                  <a:pt x="121" y="4051"/>
                </a:lnTo>
                <a:lnTo>
                  <a:pt x="243" y="4001"/>
                </a:lnTo>
                <a:lnTo>
                  <a:pt x="366" y="3955"/>
                </a:lnTo>
                <a:lnTo>
                  <a:pt x="491" y="3912"/>
                </a:lnTo>
                <a:lnTo>
                  <a:pt x="617" y="3873"/>
                </a:lnTo>
                <a:lnTo>
                  <a:pt x="743" y="3836"/>
                </a:lnTo>
                <a:lnTo>
                  <a:pt x="871" y="3804"/>
                </a:lnTo>
                <a:lnTo>
                  <a:pt x="1000" y="3775"/>
                </a:lnTo>
                <a:lnTo>
                  <a:pt x="1129" y="3749"/>
                </a:lnTo>
                <a:lnTo>
                  <a:pt x="1259" y="3727"/>
                </a:lnTo>
                <a:lnTo>
                  <a:pt x="1389" y="3707"/>
                </a:lnTo>
                <a:lnTo>
                  <a:pt x="1521" y="3692"/>
                </a:lnTo>
                <a:lnTo>
                  <a:pt x="1652" y="3680"/>
                </a:lnTo>
                <a:lnTo>
                  <a:pt x="1783" y="3671"/>
                </a:lnTo>
                <a:lnTo>
                  <a:pt x="1915" y="3666"/>
                </a:lnTo>
                <a:lnTo>
                  <a:pt x="2047" y="3664"/>
                </a:lnTo>
                <a:lnTo>
                  <a:pt x="2178" y="3666"/>
                </a:lnTo>
                <a:lnTo>
                  <a:pt x="2311" y="3671"/>
                </a:lnTo>
                <a:lnTo>
                  <a:pt x="2442" y="3680"/>
                </a:lnTo>
                <a:lnTo>
                  <a:pt x="2573" y="3692"/>
                </a:lnTo>
                <a:lnTo>
                  <a:pt x="2704" y="3707"/>
                </a:lnTo>
                <a:lnTo>
                  <a:pt x="2835" y="3727"/>
                </a:lnTo>
                <a:lnTo>
                  <a:pt x="2964" y="3749"/>
                </a:lnTo>
                <a:lnTo>
                  <a:pt x="3093" y="3775"/>
                </a:lnTo>
                <a:lnTo>
                  <a:pt x="3222" y="3804"/>
                </a:lnTo>
                <a:lnTo>
                  <a:pt x="3350" y="3836"/>
                </a:lnTo>
                <a:lnTo>
                  <a:pt x="3476" y="3873"/>
                </a:lnTo>
                <a:lnTo>
                  <a:pt x="3602" y="3912"/>
                </a:lnTo>
                <a:lnTo>
                  <a:pt x="3726" y="3955"/>
                </a:lnTo>
                <a:lnTo>
                  <a:pt x="3850" y="4001"/>
                </a:lnTo>
                <a:lnTo>
                  <a:pt x="3972" y="4051"/>
                </a:lnTo>
                <a:lnTo>
                  <a:pt x="4092" y="4104"/>
                </a:lnTo>
                <a:lnTo>
                  <a:pt x="4092" y="0"/>
                </a:lnTo>
                <a:lnTo>
                  <a:pt x="0" y="0"/>
                </a:lnTo>
                <a:lnTo>
                  <a:pt x="0" y="4104"/>
                </a:lnTo>
                <a:close/>
                <a:moveTo>
                  <a:pt x="3198" y="1210"/>
                </a:moveTo>
                <a:lnTo>
                  <a:pt x="3205" y="1184"/>
                </a:lnTo>
                <a:lnTo>
                  <a:pt x="3214" y="1158"/>
                </a:lnTo>
                <a:lnTo>
                  <a:pt x="3891" y="1158"/>
                </a:lnTo>
                <a:lnTo>
                  <a:pt x="3891" y="1443"/>
                </a:lnTo>
                <a:lnTo>
                  <a:pt x="3802" y="1443"/>
                </a:lnTo>
                <a:lnTo>
                  <a:pt x="3788" y="1394"/>
                </a:lnTo>
                <a:lnTo>
                  <a:pt x="3770" y="1352"/>
                </a:lnTo>
                <a:lnTo>
                  <a:pt x="3761" y="1334"/>
                </a:lnTo>
                <a:lnTo>
                  <a:pt x="3749" y="1319"/>
                </a:lnTo>
                <a:lnTo>
                  <a:pt x="3738" y="1304"/>
                </a:lnTo>
                <a:lnTo>
                  <a:pt x="3725" y="1292"/>
                </a:lnTo>
                <a:lnTo>
                  <a:pt x="3712" y="1281"/>
                </a:lnTo>
                <a:lnTo>
                  <a:pt x="3698" y="1272"/>
                </a:lnTo>
                <a:lnTo>
                  <a:pt x="3682" y="1264"/>
                </a:lnTo>
                <a:lnTo>
                  <a:pt x="3667" y="1258"/>
                </a:lnTo>
                <a:lnTo>
                  <a:pt x="3631" y="1250"/>
                </a:lnTo>
                <a:lnTo>
                  <a:pt x="3592" y="1248"/>
                </a:lnTo>
                <a:lnTo>
                  <a:pt x="3509" y="1248"/>
                </a:lnTo>
                <a:lnTo>
                  <a:pt x="3509" y="1254"/>
                </a:lnTo>
                <a:lnTo>
                  <a:pt x="3517" y="1281"/>
                </a:lnTo>
                <a:lnTo>
                  <a:pt x="3528" y="1311"/>
                </a:lnTo>
                <a:lnTo>
                  <a:pt x="3548" y="1353"/>
                </a:lnTo>
                <a:lnTo>
                  <a:pt x="3575" y="1403"/>
                </a:lnTo>
                <a:lnTo>
                  <a:pt x="3613" y="1459"/>
                </a:lnTo>
                <a:lnTo>
                  <a:pt x="3635" y="1491"/>
                </a:lnTo>
                <a:lnTo>
                  <a:pt x="3662" y="1523"/>
                </a:lnTo>
                <a:lnTo>
                  <a:pt x="3691" y="1556"/>
                </a:lnTo>
                <a:lnTo>
                  <a:pt x="3724" y="1590"/>
                </a:lnTo>
                <a:lnTo>
                  <a:pt x="3749" y="1618"/>
                </a:lnTo>
                <a:lnTo>
                  <a:pt x="3778" y="1654"/>
                </a:lnTo>
                <a:lnTo>
                  <a:pt x="3808" y="1698"/>
                </a:lnTo>
                <a:lnTo>
                  <a:pt x="3838" y="1747"/>
                </a:lnTo>
                <a:lnTo>
                  <a:pt x="3865" y="1799"/>
                </a:lnTo>
                <a:lnTo>
                  <a:pt x="3887" y="1852"/>
                </a:lnTo>
                <a:lnTo>
                  <a:pt x="3895" y="1879"/>
                </a:lnTo>
                <a:lnTo>
                  <a:pt x="3901" y="1906"/>
                </a:lnTo>
                <a:lnTo>
                  <a:pt x="3904" y="1932"/>
                </a:lnTo>
                <a:lnTo>
                  <a:pt x="3906" y="1957"/>
                </a:lnTo>
                <a:lnTo>
                  <a:pt x="3905" y="1983"/>
                </a:lnTo>
                <a:lnTo>
                  <a:pt x="3900" y="2004"/>
                </a:lnTo>
                <a:lnTo>
                  <a:pt x="3893" y="2022"/>
                </a:lnTo>
                <a:lnTo>
                  <a:pt x="3883" y="2039"/>
                </a:lnTo>
                <a:lnTo>
                  <a:pt x="3199" y="2039"/>
                </a:lnTo>
                <a:lnTo>
                  <a:pt x="3199" y="1754"/>
                </a:lnTo>
                <a:lnTo>
                  <a:pt x="3293" y="1754"/>
                </a:lnTo>
                <a:lnTo>
                  <a:pt x="3302" y="1791"/>
                </a:lnTo>
                <a:lnTo>
                  <a:pt x="3313" y="1825"/>
                </a:lnTo>
                <a:lnTo>
                  <a:pt x="3328" y="1858"/>
                </a:lnTo>
                <a:lnTo>
                  <a:pt x="3346" y="1887"/>
                </a:lnTo>
                <a:lnTo>
                  <a:pt x="3356" y="1900"/>
                </a:lnTo>
                <a:lnTo>
                  <a:pt x="3369" y="1912"/>
                </a:lnTo>
                <a:lnTo>
                  <a:pt x="3381" y="1922"/>
                </a:lnTo>
                <a:lnTo>
                  <a:pt x="3396" y="1932"/>
                </a:lnTo>
                <a:lnTo>
                  <a:pt x="3412" y="1939"/>
                </a:lnTo>
                <a:lnTo>
                  <a:pt x="3430" y="1944"/>
                </a:lnTo>
                <a:lnTo>
                  <a:pt x="3450" y="1947"/>
                </a:lnTo>
                <a:lnTo>
                  <a:pt x="3472" y="1948"/>
                </a:lnTo>
                <a:lnTo>
                  <a:pt x="3594" y="1948"/>
                </a:lnTo>
                <a:lnTo>
                  <a:pt x="3594" y="1941"/>
                </a:lnTo>
                <a:lnTo>
                  <a:pt x="3586" y="1918"/>
                </a:lnTo>
                <a:lnTo>
                  <a:pt x="3572" y="1876"/>
                </a:lnTo>
                <a:lnTo>
                  <a:pt x="3554" y="1841"/>
                </a:lnTo>
                <a:lnTo>
                  <a:pt x="3529" y="1800"/>
                </a:lnTo>
                <a:lnTo>
                  <a:pt x="3499" y="1758"/>
                </a:lnTo>
                <a:lnTo>
                  <a:pt x="3469" y="1714"/>
                </a:lnTo>
                <a:lnTo>
                  <a:pt x="3412" y="1641"/>
                </a:lnTo>
                <a:lnTo>
                  <a:pt x="3383" y="1603"/>
                </a:lnTo>
                <a:lnTo>
                  <a:pt x="3353" y="1570"/>
                </a:lnTo>
                <a:lnTo>
                  <a:pt x="3324" y="1533"/>
                </a:lnTo>
                <a:lnTo>
                  <a:pt x="3288" y="1485"/>
                </a:lnTo>
                <a:lnTo>
                  <a:pt x="3254" y="1430"/>
                </a:lnTo>
                <a:lnTo>
                  <a:pt x="3238" y="1400"/>
                </a:lnTo>
                <a:lnTo>
                  <a:pt x="3224" y="1370"/>
                </a:lnTo>
                <a:lnTo>
                  <a:pt x="3212" y="1337"/>
                </a:lnTo>
                <a:lnTo>
                  <a:pt x="3203" y="1305"/>
                </a:lnTo>
                <a:lnTo>
                  <a:pt x="3197" y="1273"/>
                </a:lnTo>
                <a:lnTo>
                  <a:pt x="3195" y="1240"/>
                </a:lnTo>
                <a:lnTo>
                  <a:pt x="3198" y="1210"/>
                </a:lnTo>
                <a:close/>
                <a:moveTo>
                  <a:pt x="2404" y="1225"/>
                </a:moveTo>
                <a:lnTo>
                  <a:pt x="2406" y="1210"/>
                </a:lnTo>
                <a:lnTo>
                  <a:pt x="2413" y="1184"/>
                </a:lnTo>
                <a:lnTo>
                  <a:pt x="2422" y="1158"/>
                </a:lnTo>
                <a:lnTo>
                  <a:pt x="3099" y="1158"/>
                </a:lnTo>
                <a:lnTo>
                  <a:pt x="3099" y="1443"/>
                </a:lnTo>
                <a:lnTo>
                  <a:pt x="3010" y="1443"/>
                </a:lnTo>
                <a:lnTo>
                  <a:pt x="2996" y="1394"/>
                </a:lnTo>
                <a:lnTo>
                  <a:pt x="2978" y="1352"/>
                </a:lnTo>
                <a:lnTo>
                  <a:pt x="2968" y="1334"/>
                </a:lnTo>
                <a:lnTo>
                  <a:pt x="2958" y="1319"/>
                </a:lnTo>
                <a:lnTo>
                  <a:pt x="2945" y="1304"/>
                </a:lnTo>
                <a:lnTo>
                  <a:pt x="2933" y="1292"/>
                </a:lnTo>
                <a:lnTo>
                  <a:pt x="2920" y="1281"/>
                </a:lnTo>
                <a:lnTo>
                  <a:pt x="2906" y="1272"/>
                </a:lnTo>
                <a:lnTo>
                  <a:pt x="2890" y="1264"/>
                </a:lnTo>
                <a:lnTo>
                  <a:pt x="2875" y="1258"/>
                </a:lnTo>
                <a:lnTo>
                  <a:pt x="2839" y="1250"/>
                </a:lnTo>
                <a:lnTo>
                  <a:pt x="2800" y="1248"/>
                </a:lnTo>
                <a:lnTo>
                  <a:pt x="2717" y="1248"/>
                </a:lnTo>
                <a:lnTo>
                  <a:pt x="2717" y="1254"/>
                </a:lnTo>
                <a:lnTo>
                  <a:pt x="2725" y="1281"/>
                </a:lnTo>
                <a:lnTo>
                  <a:pt x="2737" y="1311"/>
                </a:lnTo>
                <a:lnTo>
                  <a:pt x="2756" y="1353"/>
                </a:lnTo>
                <a:lnTo>
                  <a:pt x="2783" y="1403"/>
                </a:lnTo>
                <a:lnTo>
                  <a:pt x="2820" y="1459"/>
                </a:lnTo>
                <a:lnTo>
                  <a:pt x="2844" y="1491"/>
                </a:lnTo>
                <a:lnTo>
                  <a:pt x="2870" y="1523"/>
                </a:lnTo>
                <a:lnTo>
                  <a:pt x="2900" y="1556"/>
                </a:lnTo>
                <a:lnTo>
                  <a:pt x="2932" y="1590"/>
                </a:lnTo>
                <a:lnTo>
                  <a:pt x="2957" y="1618"/>
                </a:lnTo>
                <a:lnTo>
                  <a:pt x="2986" y="1654"/>
                </a:lnTo>
                <a:lnTo>
                  <a:pt x="3016" y="1698"/>
                </a:lnTo>
                <a:lnTo>
                  <a:pt x="3046" y="1747"/>
                </a:lnTo>
                <a:lnTo>
                  <a:pt x="3073" y="1799"/>
                </a:lnTo>
                <a:lnTo>
                  <a:pt x="3095" y="1852"/>
                </a:lnTo>
                <a:lnTo>
                  <a:pt x="3103" y="1879"/>
                </a:lnTo>
                <a:lnTo>
                  <a:pt x="3109" y="1906"/>
                </a:lnTo>
                <a:lnTo>
                  <a:pt x="3113" y="1932"/>
                </a:lnTo>
                <a:lnTo>
                  <a:pt x="3114" y="1957"/>
                </a:lnTo>
                <a:lnTo>
                  <a:pt x="3113" y="1983"/>
                </a:lnTo>
                <a:lnTo>
                  <a:pt x="3108" y="2004"/>
                </a:lnTo>
                <a:lnTo>
                  <a:pt x="3101" y="2022"/>
                </a:lnTo>
                <a:lnTo>
                  <a:pt x="3090" y="2039"/>
                </a:lnTo>
                <a:lnTo>
                  <a:pt x="2408" y="2039"/>
                </a:lnTo>
                <a:lnTo>
                  <a:pt x="2408" y="1754"/>
                </a:lnTo>
                <a:lnTo>
                  <a:pt x="2500" y="1754"/>
                </a:lnTo>
                <a:lnTo>
                  <a:pt x="2510" y="1791"/>
                </a:lnTo>
                <a:lnTo>
                  <a:pt x="2521" y="1825"/>
                </a:lnTo>
                <a:lnTo>
                  <a:pt x="2536" y="1858"/>
                </a:lnTo>
                <a:lnTo>
                  <a:pt x="2554" y="1887"/>
                </a:lnTo>
                <a:lnTo>
                  <a:pt x="2564" y="1900"/>
                </a:lnTo>
                <a:lnTo>
                  <a:pt x="2577" y="1912"/>
                </a:lnTo>
                <a:lnTo>
                  <a:pt x="2590" y="1922"/>
                </a:lnTo>
                <a:lnTo>
                  <a:pt x="2605" y="1932"/>
                </a:lnTo>
                <a:lnTo>
                  <a:pt x="2620" y="1939"/>
                </a:lnTo>
                <a:lnTo>
                  <a:pt x="2639" y="1944"/>
                </a:lnTo>
                <a:lnTo>
                  <a:pt x="2659" y="1947"/>
                </a:lnTo>
                <a:lnTo>
                  <a:pt x="2681" y="1948"/>
                </a:lnTo>
                <a:lnTo>
                  <a:pt x="2802" y="1948"/>
                </a:lnTo>
                <a:lnTo>
                  <a:pt x="2802" y="1941"/>
                </a:lnTo>
                <a:lnTo>
                  <a:pt x="2794" y="1918"/>
                </a:lnTo>
                <a:lnTo>
                  <a:pt x="2781" y="1876"/>
                </a:lnTo>
                <a:lnTo>
                  <a:pt x="2762" y="1841"/>
                </a:lnTo>
                <a:lnTo>
                  <a:pt x="2737" y="1800"/>
                </a:lnTo>
                <a:lnTo>
                  <a:pt x="2708" y="1758"/>
                </a:lnTo>
                <a:lnTo>
                  <a:pt x="2677" y="1714"/>
                </a:lnTo>
                <a:lnTo>
                  <a:pt x="2620" y="1641"/>
                </a:lnTo>
                <a:lnTo>
                  <a:pt x="2589" y="1603"/>
                </a:lnTo>
                <a:lnTo>
                  <a:pt x="2561" y="1570"/>
                </a:lnTo>
                <a:lnTo>
                  <a:pt x="2531" y="1533"/>
                </a:lnTo>
                <a:lnTo>
                  <a:pt x="2496" y="1485"/>
                </a:lnTo>
                <a:lnTo>
                  <a:pt x="2462" y="1430"/>
                </a:lnTo>
                <a:lnTo>
                  <a:pt x="2446" y="1400"/>
                </a:lnTo>
                <a:lnTo>
                  <a:pt x="2433" y="1370"/>
                </a:lnTo>
                <a:lnTo>
                  <a:pt x="2420" y="1337"/>
                </a:lnTo>
                <a:lnTo>
                  <a:pt x="2411" y="1305"/>
                </a:lnTo>
                <a:lnTo>
                  <a:pt x="2406" y="1273"/>
                </a:lnTo>
                <a:lnTo>
                  <a:pt x="2402" y="1240"/>
                </a:lnTo>
                <a:lnTo>
                  <a:pt x="2404" y="1225"/>
                </a:lnTo>
                <a:close/>
                <a:moveTo>
                  <a:pt x="1842" y="1948"/>
                </a:moveTo>
                <a:lnTo>
                  <a:pt x="1876" y="1948"/>
                </a:lnTo>
                <a:lnTo>
                  <a:pt x="1884" y="1947"/>
                </a:lnTo>
                <a:lnTo>
                  <a:pt x="1894" y="1943"/>
                </a:lnTo>
                <a:lnTo>
                  <a:pt x="1903" y="1937"/>
                </a:lnTo>
                <a:lnTo>
                  <a:pt x="1913" y="1930"/>
                </a:lnTo>
                <a:lnTo>
                  <a:pt x="1921" y="1920"/>
                </a:lnTo>
                <a:lnTo>
                  <a:pt x="1927" y="1911"/>
                </a:lnTo>
                <a:lnTo>
                  <a:pt x="1931" y="1901"/>
                </a:lnTo>
                <a:lnTo>
                  <a:pt x="1932" y="1892"/>
                </a:lnTo>
                <a:lnTo>
                  <a:pt x="1932" y="1308"/>
                </a:lnTo>
                <a:lnTo>
                  <a:pt x="1931" y="1299"/>
                </a:lnTo>
                <a:lnTo>
                  <a:pt x="1927" y="1289"/>
                </a:lnTo>
                <a:lnTo>
                  <a:pt x="1921" y="1280"/>
                </a:lnTo>
                <a:lnTo>
                  <a:pt x="1913" y="1271"/>
                </a:lnTo>
                <a:lnTo>
                  <a:pt x="1903" y="1262"/>
                </a:lnTo>
                <a:lnTo>
                  <a:pt x="1893" y="1255"/>
                </a:lnTo>
                <a:lnTo>
                  <a:pt x="1882" y="1251"/>
                </a:lnTo>
                <a:lnTo>
                  <a:pt x="1872" y="1250"/>
                </a:lnTo>
                <a:lnTo>
                  <a:pt x="1842" y="1250"/>
                </a:lnTo>
                <a:lnTo>
                  <a:pt x="1842" y="1158"/>
                </a:lnTo>
                <a:lnTo>
                  <a:pt x="2306" y="1158"/>
                </a:lnTo>
                <a:lnTo>
                  <a:pt x="2306" y="1250"/>
                </a:lnTo>
                <a:lnTo>
                  <a:pt x="2275" y="1250"/>
                </a:lnTo>
                <a:lnTo>
                  <a:pt x="2263" y="1252"/>
                </a:lnTo>
                <a:lnTo>
                  <a:pt x="2251" y="1257"/>
                </a:lnTo>
                <a:lnTo>
                  <a:pt x="2241" y="1265"/>
                </a:lnTo>
                <a:lnTo>
                  <a:pt x="2232" y="1276"/>
                </a:lnTo>
                <a:lnTo>
                  <a:pt x="2224" y="1287"/>
                </a:lnTo>
                <a:lnTo>
                  <a:pt x="2219" y="1299"/>
                </a:lnTo>
                <a:lnTo>
                  <a:pt x="2216" y="1309"/>
                </a:lnTo>
                <a:lnTo>
                  <a:pt x="2214" y="1319"/>
                </a:lnTo>
                <a:lnTo>
                  <a:pt x="2214" y="1881"/>
                </a:lnTo>
                <a:lnTo>
                  <a:pt x="2215" y="1890"/>
                </a:lnTo>
                <a:lnTo>
                  <a:pt x="2219" y="1900"/>
                </a:lnTo>
                <a:lnTo>
                  <a:pt x="2224" y="1912"/>
                </a:lnTo>
                <a:lnTo>
                  <a:pt x="2230" y="1923"/>
                </a:lnTo>
                <a:lnTo>
                  <a:pt x="2239" y="1933"/>
                </a:lnTo>
                <a:lnTo>
                  <a:pt x="2249" y="1941"/>
                </a:lnTo>
                <a:lnTo>
                  <a:pt x="2260" y="1946"/>
                </a:lnTo>
                <a:lnTo>
                  <a:pt x="2271" y="1948"/>
                </a:lnTo>
                <a:lnTo>
                  <a:pt x="2306" y="1948"/>
                </a:lnTo>
                <a:lnTo>
                  <a:pt x="2306" y="2039"/>
                </a:lnTo>
                <a:lnTo>
                  <a:pt x="1842" y="2039"/>
                </a:lnTo>
                <a:lnTo>
                  <a:pt x="1842" y="1948"/>
                </a:lnTo>
                <a:close/>
                <a:moveTo>
                  <a:pt x="995" y="1946"/>
                </a:moveTo>
                <a:lnTo>
                  <a:pt x="1030" y="1946"/>
                </a:lnTo>
                <a:lnTo>
                  <a:pt x="1038" y="1944"/>
                </a:lnTo>
                <a:lnTo>
                  <a:pt x="1047" y="1941"/>
                </a:lnTo>
                <a:lnTo>
                  <a:pt x="1057" y="1935"/>
                </a:lnTo>
                <a:lnTo>
                  <a:pt x="1066" y="1927"/>
                </a:lnTo>
                <a:lnTo>
                  <a:pt x="1075" y="1918"/>
                </a:lnTo>
                <a:lnTo>
                  <a:pt x="1081" y="1909"/>
                </a:lnTo>
                <a:lnTo>
                  <a:pt x="1085" y="1899"/>
                </a:lnTo>
                <a:lnTo>
                  <a:pt x="1086" y="1889"/>
                </a:lnTo>
                <a:lnTo>
                  <a:pt x="1086" y="1308"/>
                </a:lnTo>
                <a:lnTo>
                  <a:pt x="1085" y="1299"/>
                </a:lnTo>
                <a:lnTo>
                  <a:pt x="1081" y="1289"/>
                </a:lnTo>
                <a:lnTo>
                  <a:pt x="1075" y="1280"/>
                </a:lnTo>
                <a:lnTo>
                  <a:pt x="1066" y="1271"/>
                </a:lnTo>
                <a:lnTo>
                  <a:pt x="1057" y="1262"/>
                </a:lnTo>
                <a:lnTo>
                  <a:pt x="1046" y="1256"/>
                </a:lnTo>
                <a:lnTo>
                  <a:pt x="1036" y="1251"/>
                </a:lnTo>
                <a:lnTo>
                  <a:pt x="1026" y="1250"/>
                </a:lnTo>
                <a:lnTo>
                  <a:pt x="995" y="1250"/>
                </a:lnTo>
                <a:lnTo>
                  <a:pt x="995" y="1158"/>
                </a:lnTo>
                <a:lnTo>
                  <a:pt x="1742" y="1158"/>
                </a:lnTo>
                <a:lnTo>
                  <a:pt x="1742" y="1443"/>
                </a:lnTo>
                <a:lnTo>
                  <a:pt x="1648" y="1443"/>
                </a:lnTo>
                <a:lnTo>
                  <a:pt x="1635" y="1397"/>
                </a:lnTo>
                <a:lnTo>
                  <a:pt x="1620" y="1356"/>
                </a:lnTo>
                <a:lnTo>
                  <a:pt x="1602" y="1323"/>
                </a:lnTo>
                <a:lnTo>
                  <a:pt x="1592" y="1308"/>
                </a:lnTo>
                <a:lnTo>
                  <a:pt x="1581" y="1296"/>
                </a:lnTo>
                <a:lnTo>
                  <a:pt x="1570" y="1284"/>
                </a:lnTo>
                <a:lnTo>
                  <a:pt x="1557" y="1275"/>
                </a:lnTo>
                <a:lnTo>
                  <a:pt x="1544" y="1267"/>
                </a:lnTo>
                <a:lnTo>
                  <a:pt x="1530" y="1259"/>
                </a:lnTo>
                <a:lnTo>
                  <a:pt x="1514" y="1254"/>
                </a:lnTo>
                <a:lnTo>
                  <a:pt x="1498" y="1251"/>
                </a:lnTo>
                <a:lnTo>
                  <a:pt x="1461" y="1248"/>
                </a:lnTo>
                <a:lnTo>
                  <a:pt x="1369" y="1248"/>
                </a:lnTo>
                <a:lnTo>
                  <a:pt x="1369" y="1553"/>
                </a:lnTo>
                <a:lnTo>
                  <a:pt x="1416" y="1553"/>
                </a:lnTo>
                <a:lnTo>
                  <a:pt x="1432" y="1548"/>
                </a:lnTo>
                <a:lnTo>
                  <a:pt x="1441" y="1542"/>
                </a:lnTo>
                <a:lnTo>
                  <a:pt x="1452" y="1533"/>
                </a:lnTo>
                <a:lnTo>
                  <a:pt x="1461" y="1524"/>
                </a:lnTo>
                <a:lnTo>
                  <a:pt x="1470" y="1513"/>
                </a:lnTo>
                <a:lnTo>
                  <a:pt x="1475" y="1500"/>
                </a:lnTo>
                <a:lnTo>
                  <a:pt x="1477" y="1485"/>
                </a:lnTo>
                <a:lnTo>
                  <a:pt x="1477" y="1445"/>
                </a:lnTo>
                <a:lnTo>
                  <a:pt x="1568" y="1445"/>
                </a:lnTo>
                <a:lnTo>
                  <a:pt x="1568" y="1752"/>
                </a:lnTo>
                <a:lnTo>
                  <a:pt x="1477" y="1752"/>
                </a:lnTo>
                <a:lnTo>
                  <a:pt x="1477" y="1714"/>
                </a:lnTo>
                <a:lnTo>
                  <a:pt x="1476" y="1704"/>
                </a:lnTo>
                <a:lnTo>
                  <a:pt x="1472" y="1693"/>
                </a:lnTo>
                <a:lnTo>
                  <a:pt x="1465" y="1681"/>
                </a:lnTo>
                <a:lnTo>
                  <a:pt x="1457" y="1671"/>
                </a:lnTo>
                <a:lnTo>
                  <a:pt x="1447" y="1661"/>
                </a:lnTo>
                <a:lnTo>
                  <a:pt x="1433" y="1652"/>
                </a:lnTo>
                <a:lnTo>
                  <a:pt x="1419" y="1646"/>
                </a:lnTo>
                <a:lnTo>
                  <a:pt x="1401" y="1644"/>
                </a:lnTo>
                <a:lnTo>
                  <a:pt x="1369" y="1644"/>
                </a:lnTo>
                <a:lnTo>
                  <a:pt x="1369" y="1948"/>
                </a:lnTo>
                <a:lnTo>
                  <a:pt x="1471" y="1948"/>
                </a:lnTo>
                <a:lnTo>
                  <a:pt x="1497" y="1946"/>
                </a:lnTo>
                <a:lnTo>
                  <a:pt x="1524" y="1939"/>
                </a:lnTo>
                <a:lnTo>
                  <a:pt x="1551" y="1925"/>
                </a:lnTo>
                <a:lnTo>
                  <a:pt x="1564" y="1917"/>
                </a:lnTo>
                <a:lnTo>
                  <a:pt x="1577" y="1907"/>
                </a:lnTo>
                <a:lnTo>
                  <a:pt x="1589" y="1894"/>
                </a:lnTo>
                <a:lnTo>
                  <a:pt x="1600" y="1881"/>
                </a:lnTo>
                <a:lnTo>
                  <a:pt x="1611" y="1865"/>
                </a:lnTo>
                <a:lnTo>
                  <a:pt x="1621" y="1847"/>
                </a:lnTo>
                <a:lnTo>
                  <a:pt x="1629" y="1827"/>
                </a:lnTo>
                <a:lnTo>
                  <a:pt x="1637" y="1805"/>
                </a:lnTo>
                <a:lnTo>
                  <a:pt x="1644" y="1781"/>
                </a:lnTo>
                <a:lnTo>
                  <a:pt x="1648" y="1754"/>
                </a:lnTo>
                <a:lnTo>
                  <a:pt x="1742" y="1754"/>
                </a:lnTo>
                <a:lnTo>
                  <a:pt x="1742" y="2039"/>
                </a:lnTo>
                <a:lnTo>
                  <a:pt x="995" y="2039"/>
                </a:lnTo>
                <a:lnTo>
                  <a:pt x="995" y="1946"/>
                </a:lnTo>
                <a:close/>
                <a:moveTo>
                  <a:pt x="173" y="1998"/>
                </a:moveTo>
                <a:lnTo>
                  <a:pt x="174" y="1983"/>
                </a:lnTo>
                <a:lnTo>
                  <a:pt x="180" y="1948"/>
                </a:lnTo>
                <a:lnTo>
                  <a:pt x="192" y="1901"/>
                </a:lnTo>
                <a:lnTo>
                  <a:pt x="201" y="1874"/>
                </a:lnTo>
                <a:lnTo>
                  <a:pt x="213" y="1846"/>
                </a:lnTo>
                <a:lnTo>
                  <a:pt x="235" y="1796"/>
                </a:lnTo>
                <a:lnTo>
                  <a:pt x="267" y="1734"/>
                </a:lnTo>
                <a:lnTo>
                  <a:pt x="287" y="1700"/>
                </a:lnTo>
                <a:lnTo>
                  <a:pt x="309" y="1667"/>
                </a:lnTo>
                <a:lnTo>
                  <a:pt x="334" y="1635"/>
                </a:lnTo>
                <a:lnTo>
                  <a:pt x="360" y="1605"/>
                </a:lnTo>
                <a:lnTo>
                  <a:pt x="392" y="1572"/>
                </a:lnTo>
                <a:lnTo>
                  <a:pt x="420" y="1540"/>
                </a:lnTo>
                <a:lnTo>
                  <a:pt x="469" y="1477"/>
                </a:lnTo>
                <a:lnTo>
                  <a:pt x="508" y="1420"/>
                </a:lnTo>
                <a:lnTo>
                  <a:pt x="538" y="1368"/>
                </a:lnTo>
                <a:lnTo>
                  <a:pt x="559" y="1324"/>
                </a:lnTo>
                <a:lnTo>
                  <a:pt x="574" y="1289"/>
                </a:lnTo>
                <a:lnTo>
                  <a:pt x="588" y="1254"/>
                </a:lnTo>
                <a:lnTo>
                  <a:pt x="588" y="1248"/>
                </a:lnTo>
                <a:lnTo>
                  <a:pt x="506" y="1248"/>
                </a:lnTo>
                <a:lnTo>
                  <a:pt x="472" y="1250"/>
                </a:lnTo>
                <a:lnTo>
                  <a:pt x="443" y="1255"/>
                </a:lnTo>
                <a:lnTo>
                  <a:pt x="418" y="1264"/>
                </a:lnTo>
                <a:lnTo>
                  <a:pt x="395" y="1276"/>
                </a:lnTo>
                <a:lnTo>
                  <a:pt x="375" y="1289"/>
                </a:lnTo>
                <a:lnTo>
                  <a:pt x="359" y="1305"/>
                </a:lnTo>
                <a:lnTo>
                  <a:pt x="344" y="1322"/>
                </a:lnTo>
                <a:lnTo>
                  <a:pt x="332" y="1340"/>
                </a:lnTo>
                <a:lnTo>
                  <a:pt x="315" y="1374"/>
                </a:lnTo>
                <a:lnTo>
                  <a:pt x="303" y="1405"/>
                </a:lnTo>
                <a:lnTo>
                  <a:pt x="295" y="1443"/>
                </a:lnTo>
                <a:lnTo>
                  <a:pt x="206" y="1443"/>
                </a:lnTo>
                <a:lnTo>
                  <a:pt x="206" y="1158"/>
                </a:lnTo>
                <a:lnTo>
                  <a:pt x="913" y="1158"/>
                </a:lnTo>
                <a:lnTo>
                  <a:pt x="913" y="1182"/>
                </a:lnTo>
                <a:lnTo>
                  <a:pt x="912" y="1195"/>
                </a:lnTo>
                <a:lnTo>
                  <a:pt x="907" y="1226"/>
                </a:lnTo>
                <a:lnTo>
                  <a:pt x="897" y="1271"/>
                </a:lnTo>
                <a:lnTo>
                  <a:pt x="881" y="1325"/>
                </a:lnTo>
                <a:lnTo>
                  <a:pt x="859" y="1379"/>
                </a:lnTo>
                <a:lnTo>
                  <a:pt x="835" y="1428"/>
                </a:lnTo>
                <a:lnTo>
                  <a:pt x="810" y="1474"/>
                </a:lnTo>
                <a:lnTo>
                  <a:pt x="784" y="1516"/>
                </a:lnTo>
                <a:lnTo>
                  <a:pt x="757" y="1554"/>
                </a:lnTo>
                <a:lnTo>
                  <a:pt x="730" y="1590"/>
                </a:lnTo>
                <a:lnTo>
                  <a:pt x="673" y="1658"/>
                </a:lnTo>
                <a:lnTo>
                  <a:pt x="620" y="1723"/>
                </a:lnTo>
                <a:lnTo>
                  <a:pt x="596" y="1756"/>
                </a:lnTo>
                <a:lnTo>
                  <a:pt x="572" y="1790"/>
                </a:lnTo>
                <a:lnTo>
                  <a:pt x="551" y="1825"/>
                </a:lnTo>
                <a:lnTo>
                  <a:pt x="533" y="1864"/>
                </a:lnTo>
                <a:lnTo>
                  <a:pt x="516" y="1904"/>
                </a:lnTo>
                <a:lnTo>
                  <a:pt x="503" y="1948"/>
                </a:lnTo>
                <a:lnTo>
                  <a:pt x="624" y="1948"/>
                </a:lnTo>
                <a:lnTo>
                  <a:pt x="651" y="1946"/>
                </a:lnTo>
                <a:lnTo>
                  <a:pt x="680" y="1939"/>
                </a:lnTo>
                <a:lnTo>
                  <a:pt x="707" y="1925"/>
                </a:lnTo>
                <a:lnTo>
                  <a:pt x="720" y="1917"/>
                </a:lnTo>
                <a:lnTo>
                  <a:pt x="733" y="1907"/>
                </a:lnTo>
                <a:lnTo>
                  <a:pt x="744" y="1894"/>
                </a:lnTo>
                <a:lnTo>
                  <a:pt x="756" y="1881"/>
                </a:lnTo>
                <a:lnTo>
                  <a:pt x="767" y="1865"/>
                </a:lnTo>
                <a:lnTo>
                  <a:pt x="777" y="1847"/>
                </a:lnTo>
                <a:lnTo>
                  <a:pt x="786" y="1827"/>
                </a:lnTo>
                <a:lnTo>
                  <a:pt x="793" y="1805"/>
                </a:lnTo>
                <a:lnTo>
                  <a:pt x="799" y="1781"/>
                </a:lnTo>
                <a:lnTo>
                  <a:pt x="805" y="1754"/>
                </a:lnTo>
                <a:lnTo>
                  <a:pt x="897" y="1754"/>
                </a:lnTo>
                <a:lnTo>
                  <a:pt x="897" y="2039"/>
                </a:lnTo>
                <a:lnTo>
                  <a:pt x="173" y="2039"/>
                </a:lnTo>
                <a:lnTo>
                  <a:pt x="173" y="1998"/>
                </a:lnTo>
                <a:close/>
              </a:path>
            </a:pathLst>
          </a:custGeom>
          <a:solidFill>
            <a:srgbClr val="0000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sz="1600">
              <a:solidFill>
                <a:srgbClr val="000000"/>
              </a:solidFill>
            </a:endParaRPr>
          </a:p>
        </p:txBody>
      </p:sp>
      <p:sp>
        <p:nvSpPr>
          <p:cNvPr id="3250201" name="Line 9"/>
          <p:cNvSpPr>
            <a:spLocks noChangeShapeType="1"/>
          </p:cNvSpPr>
          <p:nvPr/>
        </p:nvSpPr>
        <p:spPr bwMode="auto">
          <a:xfrm flipV="1">
            <a:off x="0" y="1258888"/>
            <a:ext cx="9140825"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600">
              <a:solidFill>
                <a:srgbClr val="000000"/>
              </a:solidFill>
            </a:endParaRPr>
          </a:p>
        </p:txBody>
      </p:sp>
      <p:sp>
        <p:nvSpPr>
          <p:cNvPr id="3250202" name="Line 26"/>
          <p:cNvSpPr>
            <a:spLocks noChangeShapeType="1"/>
          </p:cNvSpPr>
          <p:nvPr/>
        </p:nvSpPr>
        <p:spPr bwMode="auto">
          <a:xfrm flipV="1">
            <a:off x="0" y="6569075"/>
            <a:ext cx="9140825"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600">
              <a:solidFill>
                <a:srgbClr val="000000"/>
              </a:solidFill>
            </a:endParaRPr>
          </a:p>
        </p:txBody>
      </p:sp>
      <p:sp>
        <p:nvSpPr>
          <p:cNvPr id="8" name="Date Placeholder 3"/>
          <p:cNvSpPr>
            <a:spLocks noGrp="1"/>
          </p:cNvSpPr>
          <p:nvPr>
            <p:ph type="dt" sz="half" idx="2"/>
          </p:nvPr>
        </p:nvSpPr>
        <p:spPr>
          <a:xfrm>
            <a:off x="6448425" y="6643689"/>
            <a:ext cx="1117600" cy="160337"/>
          </a:xfrm>
          <a:prstGeom prst="rect">
            <a:avLst/>
          </a:prstGeom>
        </p:spPr>
        <p:txBody>
          <a:bodyPr anchor="ctr"/>
          <a:lstStyle>
            <a:lvl1pPr algn="l">
              <a:defRPr sz="800"/>
            </a:lvl1pPr>
          </a:lstStyle>
          <a:p>
            <a:pPr eaLnBrk="0" fontAlgn="base" hangingPunct="0">
              <a:spcBef>
                <a:spcPct val="0"/>
              </a:spcBef>
              <a:spcAft>
                <a:spcPct val="0"/>
              </a:spcAft>
            </a:pPr>
            <a:fld id="{8CA961C3-3299-4F98-8ECB-BC973D3260B1}" type="datetime1">
              <a:rPr lang="en-US" smtClean="0">
                <a:solidFill>
                  <a:srgbClr val="000000"/>
                </a:solidFill>
              </a:rPr>
              <a:pPr eaLnBrk="0" fontAlgn="base" hangingPunct="0">
                <a:spcBef>
                  <a:spcPct val="0"/>
                </a:spcBef>
                <a:spcAft>
                  <a:spcPct val="0"/>
                </a:spcAft>
              </a:pPr>
              <a:t>2/28/2019</a:t>
            </a:fld>
            <a:endParaRPr lang="en-US" dirty="0">
              <a:solidFill>
                <a:srgbClr val="000000"/>
              </a:solidFill>
            </a:endParaRPr>
          </a:p>
        </p:txBody>
      </p:sp>
      <p:sp>
        <p:nvSpPr>
          <p:cNvPr id="10" name="Footer Placeholder 5"/>
          <p:cNvSpPr>
            <a:spLocks noGrp="1"/>
          </p:cNvSpPr>
          <p:nvPr>
            <p:ph type="ftr" sz="quarter" idx="3"/>
          </p:nvPr>
        </p:nvSpPr>
        <p:spPr>
          <a:xfrm>
            <a:off x="466725" y="6643688"/>
            <a:ext cx="5702300" cy="161925"/>
          </a:xfrm>
          <a:prstGeom prst="rect">
            <a:avLst/>
          </a:prstGeom>
        </p:spPr>
        <p:txBody>
          <a:bodyPr anchor="ctr"/>
          <a:lstStyle>
            <a:lvl1pPr algn="l">
              <a:defRPr sz="800"/>
            </a:lvl1pPr>
          </a:lstStyle>
          <a:p>
            <a:pPr eaLnBrk="0" fontAlgn="base" hangingPunct="0">
              <a:spcBef>
                <a:spcPct val="0"/>
              </a:spcBef>
              <a:spcAft>
                <a:spcPct val="0"/>
              </a:spcAft>
            </a:pPr>
            <a:r>
              <a:rPr lang="en-US" dirty="0">
                <a:solidFill>
                  <a:srgbClr val="000000"/>
                </a:solidFill>
              </a:rPr>
              <a:t>Carl Zeiss Microscopy - ApoTome.2</a:t>
            </a:r>
          </a:p>
        </p:txBody>
      </p:sp>
    </p:spTree>
    <p:extLst>
      <p:ext uri="{BB962C8B-B14F-4D97-AF65-F5344CB8AC3E}">
        <p14:creationId xmlns:p14="http://schemas.microsoft.com/office/powerpoint/2010/main" val="3581486138"/>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803" r:id="rId12"/>
    <p:sldLayoutId id="2147483804" r:id="rId13"/>
    <p:sldLayoutId id="2147483805" r:id="rId14"/>
    <p:sldLayoutId id="2147483806" r:id="rId15"/>
    <p:sldLayoutId id="2147483807" r:id="rId16"/>
    <p:sldLayoutId id="2147483808" r:id="rId17"/>
    <p:sldLayoutId id="2147483809" r:id="rId18"/>
  </p:sldLayoutIdLst>
  <p:hf hdr="0"/>
  <p:txStyles>
    <p:titleStyle>
      <a:lvl1pPr algn="l" rtl="0" eaLnBrk="0" fontAlgn="base" hangingPunct="0">
        <a:lnSpc>
          <a:spcPct val="90000"/>
        </a:lnSpc>
        <a:spcBef>
          <a:spcPct val="0"/>
        </a:spcBef>
        <a:spcAft>
          <a:spcPct val="0"/>
        </a:spcAft>
        <a:defRPr sz="2200" b="1">
          <a:solidFill>
            <a:schemeClr val="tx2"/>
          </a:solidFill>
          <a:latin typeface="+mj-lt"/>
          <a:ea typeface="+mj-ea"/>
          <a:cs typeface="+mj-cs"/>
        </a:defRPr>
      </a:lvl1pPr>
      <a:lvl2pPr algn="l" rtl="0" eaLnBrk="0" fontAlgn="base" hangingPunct="0">
        <a:lnSpc>
          <a:spcPct val="90000"/>
        </a:lnSpc>
        <a:spcBef>
          <a:spcPct val="0"/>
        </a:spcBef>
        <a:spcAft>
          <a:spcPct val="0"/>
        </a:spcAft>
        <a:defRPr sz="2200" b="1">
          <a:solidFill>
            <a:schemeClr val="tx2"/>
          </a:solidFill>
          <a:latin typeface="Arial" charset="0"/>
        </a:defRPr>
      </a:lvl2pPr>
      <a:lvl3pPr algn="l" rtl="0" eaLnBrk="0" fontAlgn="base" hangingPunct="0">
        <a:lnSpc>
          <a:spcPct val="90000"/>
        </a:lnSpc>
        <a:spcBef>
          <a:spcPct val="0"/>
        </a:spcBef>
        <a:spcAft>
          <a:spcPct val="0"/>
        </a:spcAft>
        <a:defRPr sz="2200" b="1">
          <a:solidFill>
            <a:schemeClr val="tx2"/>
          </a:solidFill>
          <a:latin typeface="Arial" charset="0"/>
        </a:defRPr>
      </a:lvl3pPr>
      <a:lvl4pPr algn="l" rtl="0" eaLnBrk="0" fontAlgn="base" hangingPunct="0">
        <a:lnSpc>
          <a:spcPct val="90000"/>
        </a:lnSpc>
        <a:spcBef>
          <a:spcPct val="0"/>
        </a:spcBef>
        <a:spcAft>
          <a:spcPct val="0"/>
        </a:spcAft>
        <a:defRPr sz="2200" b="1">
          <a:solidFill>
            <a:schemeClr val="tx2"/>
          </a:solidFill>
          <a:latin typeface="Arial" charset="0"/>
        </a:defRPr>
      </a:lvl4pPr>
      <a:lvl5pPr algn="l" rtl="0" eaLnBrk="0" fontAlgn="base" hangingPunct="0">
        <a:lnSpc>
          <a:spcPct val="90000"/>
        </a:lnSpc>
        <a:spcBef>
          <a:spcPct val="0"/>
        </a:spcBef>
        <a:spcAft>
          <a:spcPct val="0"/>
        </a:spcAft>
        <a:defRPr sz="2200" b="1">
          <a:solidFill>
            <a:schemeClr val="tx2"/>
          </a:solidFill>
          <a:latin typeface="Arial" charset="0"/>
        </a:defRPr>
      </a:lvl5pPr>
      <a:lvl6pPr marL="457200" algn="l" rtl="0" eaLnBrk="0" fontAlgn="base" hangingPunct="0">
        <a:lnSpc>
          <a:spcPct val="90000"/>
        </a:lnSpc>
        <a:spcBef>
          <a:spcPct val="0"/>
        </a:spcBef>
        <a:spcAft>
          <a:spcPct val="0"/>
        </a:spcAft>
        <a:defRPr sz="2200" b="1">
          <a:solidFill>
            <a:schemeClr val="tx2"/>
          </a:solidFill>
          <a:latin typeface="Arial" charset="0"/>
        </a:defRPr>
      </a:lvl6pPr>
      <a:lvl7pPr marL="914400" algn="l" rtl="0" eaLnBrk="0" fontAlgn="base" hangingPunct="0">
        <a:lnSpc>
          <a:spcPct val="90000"/>
        </a:lnSpc>
        <a:spcBef>
          <a:spcPct val="0"/>
        </a:spcBef>
        <a:spcAft>
          <a:spcPct val="0"/>
        </a:spcAft>
        <a:defRPr sz="2200" b="1">
          <a:solidFill>
            <a:schemeClr val="tx2"/>
          </a:solidFill>
          <a:latin typeface="Arial" charset="0"/>
        </a:defRPr>
      </a:lvl7pPr>
      <a:lvl8pPr marL="1371600" algn="l" rtl="0" eaLnBrk="0" fontAlgn="base" hangingPunct="0">
        <a:lnSpc>
          <a:spcPct val="90000"/>
        </a:lnSpc>
        <a:spcBef>
          <a:spcPct val="0"/>
        </a:spcBef>
        <a:spcAft>
          <a:spcPct val="0"/>
        </a:spcAft>
        <a:defRPr sz="2200" b="1">
          <a:solidFill>
            <a:schemeClr val="tx2"/>
          </a:solidFill>
          <a:latin typeface="Arial" charset="0"/>
        </a:defRPr>
      </a:lvl8pPr>
      <a:lvl9pPr marL="1828800" algn="l" rtl="0" eaLnBrk="0" fontAlgn="base" hangingPunct="0">
        <a:lnSpc>
          <a:spcPct val="90000"/>
        </a:lnSpc>
        <a:spcBef>
          <a:spcPct val="0"/>
        </a:spcBef>
        <a:spcAft>
          <a:spcPct val="0"/>
        </a:spcAft>
        <a:defRPr sz="2200" b="1">
          <a:solidFill>
            <a:schemeClr val="tx2"/>
          </a:solidFill>
          <a:latin typeface="Arial" charset="0"/>
        </a:defRPr>
      </a:lvl9pPr>
    </p:titleStyle>
    <p:bodyStyle>
      <a:lvl1pPr algn="l" rtl="0" eaLnBrk="0" fontAlgn="base" hangingPunct="0">
        <a:spcBef>
          <a:spcPct val="0"/>
        </a:spcBef>
        <a:spcAft>
          <a:spcPct val="0"/>
        </a:spcAft>
        <a:defRPr sz="1600">
          <a:solidFill>
            <a:schemeClr val="tx1"/>
          </a:solidFill>
          <a:latin typeface="+mn-lt"/>
          <a:ea typeface="+mn-ea"/>
          <a:cs typeface="+mn-cs"/>
        </a:defRPr>
      </a:lvl1pPr>
      <a:lvl2pPr marL="363538" indent="-184150" algn="l" rtl="0" eaLnBrk="0" fontAlgn="base" hangingPunct="0">
        <a:spcBef>
          <a:spcPct val="0"/>
        </a:spcBef>
        <a:spcAft>
          <a:spcPct val="0"/>
        </a:spcAft>
        <a:buClr>
          <a:schemeClr val="folHlink"/>
        </a:buClr>
        <a:buFont typeface="Wingdings" pitchFamily="2" charset="2"/>
        <a:buChar char="§"/>
        <a:defRPr sz="1600">
          <a:solidFill>
            <a:schemeClr val="tx1"/>
          </a:solidFill>
          <a:latin typeface="+mn-lt"/>
        </a:defRPr>
      </a:lvl2pPr>
      <a:lvl3pPr marL="714375" indent="-171450" algn="l" rtl="0" eaLnBrk="0" fontAlgn="base" hangingPunct="0">
        <a:spcBef>
          <a:spcPct val="0"/>
        </a:spcBef>
        <a:spcAft>
          <a:spcPct val="0"/>
        </a:spcAft>
        <a:buClr>
          <a:schemeClr val="folHlink"/>
        </a:buClr>
        <a:buChar char="-"/>
        <a:defRPr sz="1400">
          <a:solidFill>
            <a:schemeClr val="tx1"/>
          </a:solidFill>
          <a:latin typeface="+mn-lt"/>
        </a:defRPr>
      </a:lvl3pPr>
      <a:lvl4pPr marL="1081088" indent="-177800" algn="l" rtl="0" eaLnBrk="0" fontAlgn="base" hangingPunct="0">
        <a:spcBef>
          <a:spcPct val="0"/>
        </a:spcBef>
        <a:spcAft>
          <a:spcPct val="0"/>
        </a:spcAft>
        <a:buChar char="-"/>
        <a:defRPr sz="1200">
          <a:solidFill>
            <a:schemeClr val="tx1"/>
          </a:solidFill>
          <a:latin typeface="+mn-lt"/>
        </a:defRPr>
      </a:lvl4pPr>
      <a:lvl5pPr marL="1438275" indent="-177800" algn="l" rtl="0" eaLnBrk="0" fontAlgn="base" hangingPunct="0">
        <a:spcBef>
          <a:spcPct val="0"/>
        </a:spcBef>
        <a:spcAft>
          <a:spcPct val="0"/>
        </a:spcAft>
        <a:buFont typeface="Arial" charset="0"/>
        <a:buChar char="»"/>
        <a:defRPr sz="1000">
          <a:solidFill>
            <a:schemeClr val="tx1"/>
          </a:solidFill>
          <a:latin typeface="+mn-lt"/>
        </a:defRPr>
      </a:lvl5pPr>
      <a:lvl6pPr marL="1895475" indent="-177800" algn="l" rtl="0" eaLnBrk="0" fontAlgn="base" hangingPunct="0">
        <a:spcBef>
          <a:spcPct val="0"/>
        </a:spcBef>
        <a:spcAft>
          <a:spcPct val="0"/>
        </a:spcAft>
        <a:buFont typeface="Arial" charset="0"/>
        <a:buChar char="»"/>
        <a:defRPr sz="1000">
          <a:solidFill>
            <a:schemeClr val="tx1"/>
          </a:solidFill>
          <a:latin typeface="+mn-lt"/>
        </a:defRPr>
      </a:lvl6pPr>
      <a:lvl7pPr marL="2352675" indent="-177800" algn="l" rtl="0" eaLnBrk="0" fontAlgn="base" hangingPunct="0">
        <a:spcBef>
          <a:spcPct val="0"/>
        </a:spcBef>
        <a:spcAft>
          <a:spcPct val="0"/>
        </a:spcAft>
        <a:buFont typeface="Arial" charset="0"/>
        <a:buChar char="»"/>
        <a:defRPr sz="1000">
          <a:solidFill>
            <a:schemeClr val="tx1"/>
          </a:solidFill>
          <a:latin typeface="+mn-lt"/>
        </a:defRPr>
      </a:lvl7pPr>
      <a:lvl8pPr marL="2809875" indent="-177800" algn="l" rtl="0" eaLnBrk="0" fontAlgn="base" hangingPunct="0">
        <a:spcBef>
          <a:spcPct val="0"/>
        </a:spcBef>
        <a:spcAft>
          <a:spcPct val="0"/>
        </a:spcAft>
        <a:buFont typeface="Arial" charset="0"/>
        <a:buChar char="»"/>
        <a:defRPr sz="1000">
          <a:solidFill>
            <a:schemeClr val="tx1"/>
          </a:solidFill>
          <a:latin typeface="+mn-lt"/>
        </a:defRPr>
      </a:lvl8pPr>
      <a:lvl9pPr marL="3267075" indent="-177800" algn="l" rtl="0" eaLnBrk="0" fontAlgn="base" hangingPunct="0">
        <a:spcBef>
          <a:spcPct val="0"/>
        </a:spcBef>
        <a:spcAft>
          <a:spcPct val="0"/>
        </a:spcAft>
        <a:buFont typeface="Arial" charset="0"/>
        <a:buChar char="»"/>
        <a:defRPr sz="1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250179" name="Rectangle 3"/>
          <p:cNvSpPr>
            <a:spLocks noGrp="1" noChangeArrowheads="1"/>
          </p:cNvSpPr>
          <p:nvPr>
            <p:ph type="body" idx="1"/>
          </p:nvPr>
        </p:nvSpPr>
        <p:spPr bwMode="auto">
          <a:xfrm>
            <a:off x="466725" y="1708150"/>
            <a:ext cx="8208963" cy="4462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3250182" name="Rectangle 6"/>
          <p:cNvSpPr>
            <a:spLocks noGrp="1" noChangeArrowheads="1"/>
          </p:cNvSpPr>
          <p:nvPr>
            <p:ph type="title"/>
          </p:nvPr>
        </p:nvSpPr>
        <p:spPr bwMode="auto">
          <a:xfrm>
            <a:off x="466725" y="307975"/>
            <a:ext cx="6208713" cy="941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t>Titel</a:t>
            </a:r>
          </a:p>
        </p:txBody>
      </p:sp>
      <p:sp>
        <p:nvSpPr>
          <p:cNvPr id="3250187" name="Freeform 11"/>
          <p:cNvSpPr>
            <a:spLocks noEditPoints="1"/>
          </p:cNvSpPr>
          <p:nvPr/>
        </p:nvSpPr>
        <p:spPr bwMode="auto">
          <a:xfrm>
            <a:off x="8216900" y="379413"/>
            <a:ext cx="463550" cy="488950"/>
          </a:xfrm>
          <a:custGeom>
            <a:avLst/>
            <a:gdLst>
              <a:gd name="T0" fmla="*/ 743 w 4092"/>
              <a:gd name="T1" fmla="*/ 3836 h 4104"/>
              <a:gd name="T2" fmla="*/ 1652 w 4092"/>
              <a:gd name="T3" fmla="*/ 3680 h 4104"/>
              <a:gd name="T4" fmla="*/ 2573 w 4092"/>
              <a:gd name="T5" fmla="*/ 3692 h 4104"/>
              <a:gd name="T6" fmla="*/ 3476 w 4092"/>
              <a:gd name="T7" fmla="*/ 3873 h 4104"/>
              <a:gd name="T8" fmla="*/ 0 w 4092"/>
              <a:gd name="T9" fmla="*/ 0 h 4104"/>
              <a:gd name="T10" fmla="*/ 3802 w 4092"/>
              <a:gd name="T11" fmla="*/ 1443 h 4104"/>
              <a:gd name="T12" fmla="*/ 3712 w 4092"/>
              <a:gd name="T13" fmla="*/ 1281 h 4104"/>
              <a:gd name="T14" fmla="*/ 3509 w 4092"/>
              <a:gd name="T15" fmla="*/ 1254 h 4104"/>
              <a:gd name="T16" fmla="*/ 3662 w 4092"/>
              <a:gd name="T17" fmla="*/ 1523 h 4104"/>
              <a:gd name="T18" fmla="*/ 3865 w 4092"/>
              <a:gd name="T19" fmla="*/ 1799 h 4104"/>
              <a:gd name="T20" fmla="*/ 3900 w 4092"/>
              <a:gd name="T21" fmla="*/ 2004 h 4104"/>
              <a:gd name="T22" fmla="*/ 3313 w 4092"/>
              <a:gd name="T23" fmla="*/ 1825 h 4104"/>
              <a:gd name="T24" fmla="*/ 3412 w 4092"/>
              <a:gd name="T25" fmla="*/ 1939 h 4104"/>
              <a:gd name="T26" fmla="*/ 3572 w 4092"/>
              <a:gd name="T27" fmla="*/ 1876 h 4104"/>
              <a:gd name="T28" fmla="*/ 3353 w 4092"/>
              <a:gd name="T29" fmla="*/ 1570 h 4104"/>
              <a:gd name="T30" fmla="*/ 3203 w 4092"/>
              <a:gd name="T31" fmla="*/ 1305 h 4104"/>
              <a:gd name="T32" fmla="*/ 2422 w 4092"/>
              <a:gd name="T33" fmla="*/ 1158 h 4104"/>
              <a:gd name="T34" fmla="*/ 2958 w 4092"/>
              <a:gd name="T35" fmla="*/ 1319 h 4104"/>
              <a:gd name="T36" fmla="*/ 2839 w 4092"/>
              <a:gd name="T37" fmla="*/ 1250 h 4104"/>
              <a:gd name="T38" fmla="*/ 2783 w 4092"/>
              <a:gd name="T39" fmla="*/ 1403 h 4104"/>
              <a:gd name="T40" fmla="*/ 2986 w 4092"/>
              <a:gd name="T41" fmla="*/ 1654 h 4104"/>
              <a:gd name="T42" fmla="*/ 3113 w 4092"/>
              <a:gd name="T43" fmla="*/ 1932 h 4104"/>
              <a:gd name="T44" fmla="*/ 2408 w 4092"/>
              <a:gd name="T45" fmla="*/ 1754 h 4104"/>
              <a:gd name="T46" fmla="*/ 2577 w 4092"/>
              <a:gd name="T47" fmla="*/ 1912 h 4104"/>
              <a:gd name="T48" fmla="*/ 2802 w 4092"/>
              <a:gd name="T49" fmla="*/ 1948 h 4104"/>
              <a:gd name="T50" fmla="*/ 2677 w 4092"/>
              <a:gd name="T51" fmla="*/ 1714 h 4104"/>
              <a:gd name="T52" fmla="*/ 2446 w 4092"/>
              <a:gd name="T53" fmla="*/ 1400 h 4104"/>
              <a:gd name="T54" fmla="*/ 1842 w 4092"/>
              <a:gd name="T55" fmla="*/ 1948 h 4104"/>
              <a:gd name="T56" fmla="*/ 1927 w 4092"/>
              <a:gd name="T57" fmla="*/ 1911 h 4104"/>
              <a:gd name="T58" fmla="*/ 1913 w 4092"/>
              <a:gd name="T59" fmla="*/ 1271 h 4104"/>
              <a:gd name="T60" fmla="*/ 2306 w 4092"/>
              <a:gd name="T61" fmla="*/ 1158 h 4104"/>
              <a:gd name="T62" fmla="*/ 2224 w 4092"/>
              <a:gd name="T63" fmla="*/ 1287 h 4104"/>
              <a:gd name="T64" fmla="*/ 2224 w 4092"/>
              <a:gd name="T65" fmla="*/ 1912 h 4104"/>
              <a:gd name="T66" fmla="*/ 2306 w 4092"/>
              <a:gd name="T67" fmla="*/ 2039 h 4104"/>
              <a:gd name="T68" fmla="*/ 1057 w 4092"/>
              <a:gd name="T69" fmla="*/ 1935 h 4104"/>
              <a:gd name="T70" fmla="*/ 1085 w 4092"/>
              <a:gd name="T71" fmla="*/ 1299 h 4104"/>
              <a:gd name="T72" fmla="*/ 1026 w 4092"/>
              <a:gd name="T73" fmla="*/ 1250 h 4104"/>
              <a:gd name="T74" fmla="*/ 1620 w 4092"/>
              <a:gd name="T75" fmla="*/ 1356 h 4104"/>
              <a:gd name="T76" fmla="*/ 1530 w 4092"/>
              <a:gd name="T77" fmla="*/ 1259 h 4104"/>
              <a:gd name="T78" fmla="*/ 1432 w 4092"/>
              <a:gd name="T79" fmla="*/ 1548 h 4104"/>
              <a:gd name="T80" fmla="*/ 1477 w 4092"/>
              <a:gd name="T81" fmla="*/ 1445 h 4104"/>
              <a:gd name="T82" fmla="*/ 1465 w 4092"/>
              <a:gd name="T83" fmla="*/ 1681 h 4104"/>
              <a:gd name="T84" fmla="*/ 1369 w 4092"/>
              <a:gd name="T85" fmla="*/ 1948 h 4104"/>
              <a:gd name="T86" fmla="*/ 1589 w 4092"/>
              <a:gd name="T87" fmla="*/ 1894 h 4104"/>
              <a:gd name="T88" fmla="*/ 1648 w 4092"/>
              <a:gd name="T89" fmla="*/ 1754 h 4104"/>
              <a:gd name="T90" fmla="*/ 180 w 4092"/>
              <a:gd name="T91" fmla="*/ 1948 h 4104"/>
              <a:gd name="T92" fmla="*/ 309 w 4092"/>
              <a:gd name="T93" fmla="*/ 1667 h 4104"/>
              <a:gd name="T94" fmla="*/ 538 w 4092"/>
              <a:gd name="T95" fmla="*/ 1368 h 4104"/>
              <a:gd name="T96" fmla="*/ 443 w 4092"/>
              <a:gd name="T97" fmla="*/ 1255 h 4104"/>
              <a:gd name="T98" fmla="*/ 315 w 4092"/>
              <a:gd name="T99" fmla="*/ 1374 h 4104"/>
              <a:gd name="T100" fmla="*/ 912 w 4092"/>
              <a:gd name="T101" fmla="*/ 1195 h 4104"/>
              <a:gd name="T102" fmla="*/ 784 w 4092"/>
              <a:gd name="T103" fmla="*/ 1516 h 4104"/>
              <a:gd name="T104" fmla="*/ 551 w 4092"/>
              <a:gd name="T105" fmla="*/ 1825 h 4104"/>
              <a:gd name="T106" fmla="*/ 707 w 4092"/>
              <a:gd name="T107" fmla="*/ 1925 h 4104"/>
              <a:gd name="T108" fmla="*/ 786 w 4092"/>
              <a:gd name="T109" fmla="*/ 1827 h 4104"/>
              <a:gd name="T110" fmla="*/ 173 w 4092"/>
              <a:gd name="T111" fmla="*/ 1998 h 4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92" h="4104">
                <a:moveTo>
                  <a:pt x="0" y="4104"/>
                </a:moveTo>
                <a:lnTo>
                  <a:pt x="121" y="4051"/>
                </a:lnTo>
                <a:lnTo>
                  <a:pt x="243" y="4001"/>
                </a:lnTo>
                <a:lnTo>
                  <a:pt x="366" y="3955"/>
                </a:lnTo>
                <a:lnTo>
                  <a:pt x="491" y="3912"/>
                </a:lnTo>
                <a:lnTo>
                  <a:pt x="617" y="3873"/>
                </a:lnTo>
                <a:lnTo>
                  <a:pt x="743" y="3836"/>
                </a:lnTo>
                <a:lnTo>
                  <a:pt x="871" y="3804"/>
                </a:lnTo>
                <a:lnTo>
                  <a:pt x="1000" y="3775"/>
                </a:lnTo>
                <a:lnTo>
                  <a:pt x="1129" y="3749"/>
                </a:lnTo>
                <a:lnTo>
                  <a:pt x="1259" y="3727"/>
                </a:lnTo>
                <a:lnTo>
                  <a:pt x="1389" y="3707"/>
                </a:lnTo>
                <a:lnTo>
                  <a:pt x="1521" y="3692"/>
                </a:lnTo>
                <a:lnTo>
                  <a:pt x="1652" y="3680"/>
                </a:lnTo>
                <a:lnTo>
                  <a:pt x="1783" y="3671"/>
                </a:lnTo>
                <a:lnTo>
                  <a:pt x="1915" y="3666"/>
                </a:lnTo>
                <a:lnTo>
                  <a:pt x="2047" y="3664"/>
                </a:lnTo>
                <a:lnTo>
                  <a:pt x="2178" y="3666"/>
                </a:lnTo>
                <a:lnTo>
                  <a:pt x="2311" y="3671"/>
                </a:lnTo>
                <a:lnTo>
                  <a:pt x="2442" y="3680"/>
                </a:lnTo>
                <a:lnTo>
                  <a:pt x="2573" y="3692"/>
                </a:lnTo>
                <a:lnTo>
                  <a:pt x="2704" y="3707"/>
                </a:lnTo>
                <a:lnTo>
                  <a:pt x="2835" y="3727"/>
                </a:lnTo>
                <a:lnTo>
                  <a:pt x="2964" y="3749"/>
                </a:lnTo>
                <a:lnTo>
                  <a:pt x="3093" y="3775"/>
                </a:lnTo>
                <a:lnTo>
                  <a:pt x="3222" y="3804"/>
                </a:lnTo>
                <a:lnTo>
                  <a:pt x="3350" y="3836"/>
                </a:lnTo>
                <a:lnTo>
                  <a:pt x="3476" y="3873"/>
                </a:lnTo>
                <a:lnTo>
                  <a:pt x="3602" y="3912"/>
                </a:lnTo>
                <a:lnTo>
                  <a:pt x="3726" y="3955"/>
                </a:lnTo>
                <a:lnTo>
                  <a:pt x="3850" y="4001"/>
                </a:lnTo>
                <a:lnTo>
                  <a:pt x="3972" y="4051"/>
                </a:lnTo>
                <a:lnTo>
                  <a:pt x="4092" y="4104"/>
                </a:lnTo>
                <a:lnTo>
                  <a:pt x="4092" y="0"/>
                </a:lnTo>
                <a:lnTo>
                  <a:pt x="0" y="0"/>
                </a:lnTo>
                <a:lnTo>
                  <a:pt x="0" y="4104"/>
                </a:lnTo>
                <a:close/>
                <a:moveTo>
                  <a:pt x="3198" y="1210"/>
                </a:moveTo>
                <a:lnTo>
                  <a:pt x="3205" y="1184"/>
                </a:lnTo>
                <a:lnTo>
                  <a:pt x="3214" y="1158"/>
                </a:lnTo>
                <a:lnTo>
                  <a:pt x="3891" y="1158"/>
                </a:lnTo>
                <a:lnTo>
                  <a:pt x="3891" y="1443"/>
                </a:lnTo>
                <a:lnTo>
                  <a:pt x="3802" y="1443"/>
                </a:lnTo>
                <a:lnTo>
                  <a:pt x="3788" y="1394"/>
                </a:lnTo>
                <a:lnTo>
                  <a:pt x="3770" y="1352"/>
                </a:lnTo>
                <a:lnTo>
                  <a:pt x="3761" y="1334"/>
                </a:lnTo>
                <a:lnTo>
                  <a:pt x="3749" y="1319"/>
                </a:lnTo>
                <a:lnTo>
                  <a:pt x="3738" y="1304"/>
                </a:lnTo>
                <a:lnTo>
                  <a:pt x="3725" y="1292"/>
                </a:lnTo>
                <a:lnTo>
                  <a:pt x="3712" y="1281"/>
                </a:lnTo>
                <a:lnTo>
                  <a:pt x="3698" y="1272"/>
                </a:lnTo>
                <a:lnTo>
                  <a:pt x="3682" y="1264"/>
                </a:lnTo>
                <a:lnTo>
                  <a:pt x="3667" y="1258"/>
                </a:lnTo>
                <a:lnTo>
                  <a:pt x="3631" y="1250"/>
                </a:lnTo>
                <a:lnTo>
                  <a:pt x="3592" y="1248"/>
                </a:lnTo>
                <a:lnTo>
                  <a:pt x="3509" y="1248"/>
                </a:lnTo>
                <a:lnTo>
                  <a:pt x="3509" y="1254"/>
                </a:lnTo>
                <a:lnTo>
                  <a:pt x="3517" y="1281"/>
                </a:lnTo>
                <a:lnTo>
                  <a:pt x="3528" y="1311"/>
                </a:lnTo>
                <a:lnTo>
                  <a:pt x="3548" y="1353"/>
                </a:lnTo>
                <a:lnTo>
                  <a:pt x="3575" y="1403"/>
                </a:lnTo>
                <a:lnTo>
                  <a:pt x="3613" y="1459"/>
                </a:lnTo>
                <a:lnTo>
                  <a:pt x="3635" y="1491"/>
                </a:lnTo>
                <a:lnTo>
                  <a:pt x="3662" y="1523"/>
                </a:lnTo>
                <a:lnTo>
                  <a:pt x="3691" y="1556"/>
                </a:lnTo>
                <a:lnTo>
                  <a:pt x="3724" y="1590"/>
                </a:lnTo>
                <a:lnTo>
                  <a:pt x="3749" y="1618"/>
                </a:lnTo>
                <a:lnTo>
                  <a:pt x="3778" y="1654"/>
                </a:lnTo>
                <a:lnTo>
                  <a:pt x="3808" y="1698"/>
                </a:lnTo>
                <a:lnTo>
                  <a:pt x="3838" y="1747"/>
                </a:lnTo>
                <a:lnTo>
                  <a:pt x="3865" y="1799"/>
                </a:lnTo>
                <a:lnTo>
                  <a:pt x="3887" y="1852"/>
                </a:lnTo>
                <a:lnTo>
                  <a:pt x="3895" y="1879"/>
                </a:lnTo>
                <a:lnTo>
                  <a:pt x="3901" y="1906"/>
                </a:lnTo>
                <a:lnTo>
                  <a:pt x="3904" y="1932"/>
                </a:lnTo>
                <a:lnTo>
                  <a:pt x="3906" y="1957"/>
                </a:lnTo>
                <a:lnTo>
                  <a:pt x="3905" y="1983"/>
                </a:lnTo>
                <a:lnTo>
                  <a:pt x="3900" y="2004"/>
                </a:lnTo>
                <a:lnTo>
                  <a:pt x="3893" y="2022"/>
                </a:lnTo>
                <a:lnTo>
                  <a:pt x="3883" y="2039"/>
                </a:lnTo>
                <a:lnTo>
                  <a:pt x="3199" y="2039"/>
                </a:lnTo>
                <a:lnTo>
                  <a:pt x="3199" y="1754"/>
                </a:lnTo>
                <a:lnTo>
                  <a:pt x="3293" y="1754"/>
                </a:lnTo>
                <a:lnTo>
                  <a:pt x="3302" y="1791"/>
                </a:lnTo>
                <a:lnTo>
                  <a:pt x="3313" y="1825"/>
                </a:lnTo>
                <a:lnTo>
                  <a:pt x="3328" y="1858"/>
                </a:lnTo>
                <a:lnTo>
                  <a:pt x="3346" y="1887"/>
                </a:lnTo>
                <a:lnTo>
                  <a:pt x="3356" y="1900"/>
                </a:lnTo>
                <a:lnTo>
                  <a:pt x="3369" y="1912"/>
                </a:lnTo>
                <a:lnTo>
                  <a:pt x="3381" y="1922"/>
                </a:lnTo>
                <a:lnTo>
                  <a:pt x="3396" y="1932"/>
                </a:lnTo>
                <a:lnTo>
                  <a:pt x="3412" y="1939"/>
                </a:lnTo>
                <a:lnTo>
                  <a:pt x="3430" y="1944"/>
                </a:lnTo>
                <a:lnTo>
                  <a:pt x="3450" y="1947"/>
                </a:lnTo>
                <a:lnTo>
                  <a:pt x="3472" y="1948"/>
                </a:lnTo>
                <a:lnTo>
                  <a:pt x="3594" y="1948"/>
                </a:lnTo>
                <a:lnTo>
                  <a:pt x="3594" y="1941"/>
                </a:lnTo>
                <a:lnTo>
                  <a:pt x="3586" y="1918"/>
                </a:lnTo>
                <a:lnTo>
                  <a:pt x="3572" y="1876"/>
                </a:lnTo>
                <a:lnTo>
                  <a:pt x="3554" y="1841"/>
                </a:lnTo>
                <a:lnTo>
                  <a:pt x="3529" y="1800"/>
                </a:lnTo>
                <a:lnTo>
                  <a:pt x="3499" y="1758"/>
                </a:lnTo>
                <a:lnTo>
                  <a:pt x="3469" y="1714"/>
                </a:lnTo>
                <a:lnTo>
                  <a:pt x="3412" y="1641"/>
                </a:lnTo>
                <a:lnTo>
                  <a:pt x="3383" y="1603"/>
                </a:lnTo>
                <a:lnTo>
                  <a:pt x="3353" y="1570"/>
                </a:lnTo>
                <a:lnTo>
                  <a:pt x="3324" y="1533"/>
                </a:lnTo>
                <a:lnTo>
                  <a:pt x="3288" y="1485"/>
                </a:lnTo>
                <a:lnTo>
                  <a:pt x="3254" y="1430"/>
                </a:lnTo>
                <a:lnTo>
                  <a:pt x="3238" y="1400"/>
                </a:lnTo>
                <a:lnTo>
                  <a:pt x="3224" y="1370"/>
                </a:lnTo>
                <a:lnTo>
                  <a:pt x="3212" y="1337"/>
                </a:lnTo>
                <a:lnTo>
                  <a:pt x="3203" y="1305"/>
                </a:lnTo>
                <a:lnTo>
                  <a:pt x="3197" y="1273"/>
                </a:lnTo>
                <a:lnTo>
                  <a:pt x="3195" y="1240"/>
                </a:lnTo>
                <a:lnTo>
                  <a:pt x="3198" y="1210"/>
                </a:lnTo>
                <a:close/>
                <a:moveTo>
                  <a:pt x="2404" y="1225"/>
                </a:moveTo>
                <a:lnTo>
                  <a:pt x="2406" y="1210"/>
                </a:lnTo>
                <a:lnTo>
                  <a:pt x="2413" y="1184"/>
                </a:lnTo>
                <a:lnTo>
                  <a:pt x="2422" y="1158"/>
                </a:lnTo>
                <a:lnTo>
                  <a:pt x="3099" y="1158"/>
                </a:lnTo>
                <a:lnTo>
                  <a:pt x="3099" y="1443"/>
                </a:lnTo>
                <a:lnTo>
                  <a:pt x="3010" y="1443"/>
                </a:lnTo>
                <a:lnTo>
                  <a:pt x="2996" y="1394"/>
                </a:lnTo>
                <a:lnTo>
                  <a:pt x="2978" y="1352"/>
                </a:lnTo>
                <a:lnTo>
                  <a:pt x="2968" y="1334"/>
                </a:lnTo>
                <a:lnTo>
                  <a:pt x="2958" y="1319"/>
                </a:lnTo>
                <a:lnTo>
                  <a:pt x="2945" y="1304"/>
                </a:lnTo>
                <a:lnTo>
                  <a:pt x="2933" y="1292"/>
                </a:lnTo>
                <a:lnTo>
                  <a:pt x="2920" y="1281"/>
                </a:lnTo>
                <a:lnTo>
                  <a:pt x="2906" y="1272"/>
                </a:lnTo>
                <a:lnTo>
                  <a:pt x="2890" y="1264"/>
                </a:lnTo>
                <a:lnTo>
                  <a:pt x="2875" y="1258"/>
                </a:lnTo>
                <a:lnTo>
                  <a:pt x="2839" y="1250"/>
                </a:lnTo>
                <a:lnTo>
                  <a:pt x="2800" y="1248"/>
                </a:lnTo>
                <a:lnTo>
                  <a:pt x="2717" y="1248"/>
                </a:lnTo>
                <a:lnTo>
                  <a:pt x="2717" y="1254"/>
                </a:lnTo>
                <a:lnTo>
                  <a:pt x="2725" y="1281"/>
                </a:lnTo>
                <a:lnTo>
                  <a:pt x="2737" y="1311"/>
                </a:lnTo>
                <a:lnTo>
                  <a:pt x="2756" y="1353"/>
                </a:lnTo>
                <a:lnTo>
                  <a:pt x="2783" y="1403"/>
                </a:lnTo>
                <a:lnTo>
                  <a:pt x="2820" y="1459"/>
                </a:lnTo>
                <a:lnTo>
                  <a:pt x="2844" y="1491"/>
                </a:lnTo>
                <a:lnTo>
                  <a:pt x="2870" y="1523"/>
                </a:lnTo>
                <a:lnTo>
                  <a:pt x="2900" y="1556"/>
                </a:lnTo>
                <a:lnTo>
                  <a:pt x="2932" y="1590"/>
                </a:lnTo>
                <a:lnTo>
                  <a:pt x="2957" y="1618"/>
                </a:lnTo>
                <a:lnTo>
                  <a:pt x="2986" y="1654"/>
                </a:lnTo>
                <a:lnTo>
                  <a:pt x="3016" y="1698"/>
                </a:lnTo>
                <a:lnTo>
                  <a:pt x="3046" y="1747"/>
                </a:lnTo>
                <a:lnTo>
                  <a:pt x="3073" y="1799"/>
                </a:lnTo>
                <a:lnTo>
                  <a:pt x="3095" y="1852"/>
                </a:lnTo>
                <a:lnTo>
                  <a:pt x="3103" y="1879"/>
                </a:lnTo>
                <a:lnTo>
                  <a:pt x="3109" y="1906"/>
                </a:lnTo>
                <a:lnTo>
                  <a:pt x="3113" y="1932"/>
                </a:lnTo>
                <a:lnTo>
                  <a:pt x="3114" y="1957"/>
                </a:lnTo>
                <a:lnTo>
                  <a:pt x="3113" y="1983"/>
                </a:lnTo>
                <a:lnTo>
                  <a:pt x="3108" y="2004"/>
                </a:lnTo>
                <a:lnTo>
                  <a:pt x="3101" y="2022"/>
                </a:lnTo>
                <a:lnTo>
                  <a:pt x="3090" y="2039"/>
                </a:lnTo>
                <a:lnTo>
                  <a:pt x="2408" y="2039"/>
                </a:lnTo>
                <a:lnTo>
                  <a:pt x="2408" y="1754"/>
                </a:lnTo>
                <a:lnTo>
                  <a:pt x="2500" y="1754"/>
                </a:lnTo>
                <a:lnTo>
                  <a:pt x="2510" y="1791"/>
                </a:lnTo>
                <a:lnTo>
                  <a:pt x="2521" y="1825"/>
                </a:lnTo>
                <a:lnTo>
                  <a:pt x="2536" y="1858"/>
                </a:lnTo>
                <a:lnTo>
                  <a:pt x="2554" y="1887"/>
                </a:lnTo>
                <a:lnTo>
                  <a:pt x="2564" y="1900"/>
                </a:lnTo>
                <a:lnTo>
                  <a:pt x="2577" y="1912"/>
                </a:lnTo>
                <a:lnTo>
                  <a:pt x="2590" y="1922"/>
                </a:lnTo>
                <a:lnTo>
                  <a:pt x="2605" y="1932"/>
                </a:lnTo>
                <a:lnTo>
                  <a:pt x="2620" y="1939"/>
                </a:lnTo>
                <a:lnTo>
                  <a:pt x="2639" y="1944"/>
                </a:lnTo>
                <a:lnTo>
                  <a:pt x="2659" y="1947"/>
                </a:lnTo>
                <a:lnTo>
                  <a:pt x="2681" y="1948"/>
                </a:lnTo>
                <a:lnTo>
                  <a:pt x="2802" y="1948"/>
                </a:lnTo>
                <a:lnTo>
                  <a:pt x="2802" y="1941"/>
                </a:lnTo>
                <a:lnTo>
                  <a:pt x="2794" y="1918"/>
                </a:lnTo>
                <a:lnTo>
                  <a:pt x="2781" y="1876"/>
                </a:lnTo>
                <a:lnTo>
                  <a:pt x="2762" y="1841"/>
                </a:lnTo>
                <a:lnTo>
                  <a:pt x="2737" y="1800"/>
                </a:lnTo>
                <a:lnTo>
                  <a:pt x="2708" y="1758"/>
                </a:lnTo>
                <a:lnTo>
                  <a:pt x="2677" y="1714"/>
                </a:lnTo>
                <a:lnTo>
                  <a:pt x="2620" y="1641"/>
                </a:lnTo>
                <a:lnTo>
                  <a:pt x="2589" y="1603"/>
                </a:lnTo>
                <a:lnTo>
                  <a:pt x="2561" y="1570"/>
                </a:lnTo>
                <a:lnTo>
                  <a:pt x="2531" y="1533"/>
                </a:lnTo>
                <a:lnTo>
                  <a:pt x="2496" y="1485"/>
                </a:lnTo>
                <a:lnTo>
                  <a:pt x="2462" y="1430"/>
                </a:lnTo>
                <a:lnTo>
                  <a:pt x="2446" y="1400"/>
                </a:lnTo>
                <a:lnTo>
                  <a:pt x="2433" y="1370"/>
                </a:lnTo>
                <a:lnTo>
                  <a:pt x="2420" y="1337"/>
                </a:lnTo>
                <a:lnTo>
                  <a:pt x="2411" y="1305"/>
                </a:lnTo>
                <a:lnTo>
                  <a:pt x="2406" y="1273"/>
                </a:lnTo>
                <a:lnTo>
                  <a:pt x="2402" y="1240"/>
                </a:lnTo>
                <a:lnTo>
                  <a:pt x="2404" y="1225"/>
                </a:lnTo>
                <a:close/>
                <a:moveTo>
                  <a:pt x="1842" y="1948"/>
                </a:moveTo>
                <a:lnTo>
                  <a:pt x="1876" y="1948"/>
                </a:lnTo>
                <a:lnTo>
                  <a:pt x="1884" y="1947"/>
                </a:lnTo>
                <a:lnTo>
                  <a:pt x="1894" y="1943"/>
                </a:lnTo>
                <a:lnTo>
                  <a:pt x="1903" y="1937"/>
                </a:lnTo>
                <a:lnTo>
                  <a:pt x="1913" y="1930"/>
                </a:lnTo>
                <a:lnTo>
                  <a:pt x="1921" y="1920"/>
                </a:lnTo>
                <a:lnTo>
                  <a:pt x="1927" y="1911"/>
                </a:lnTo>
                <a:lnTo>
                  <a:pt x="1931" y="1901"/>
                </a:lnTo>
                <a:lnTo>
                  <a:pt x="1932" y="1892"/>
                </a:lnTo>
                <a:lnTo>
                  <a:pt x="1932" y="1308"/>
                </a:lnTo>
                <a:lnTo>
                  <a:pt x="1931" y="1299"/>
                </a:lnTo>
                <a:lnTo>
                  <a:pt x="1927" y="1289"/>
                </a:lnTo>
                <a:lnTo>
                  <a:pt x="1921" y="1280"/>
                </a:lnTo>
                <a:lnTo>
                  <a:pt x="1913" y="1271"/>
                </a:lnTo>
                <a:lnTo>
                  <a:pt x="1903" y="1262"/>
                </a:lnTo>
                <a:lnTo>
                  <a:pt x="1893" y="1255"/>
                </a:lnTo>
                <a:lnTo>
                  <a:pt x="1882" y="1251"/>
                </a:lnTo>
                <a:lnTo>
                  <a:pt x="1872" y="1250"/>
                </a:lnTo>
                <a:lnTo>
                  <a:pt x="1842" y="1250"/>
                </a:lnTo>
                <a:lnTo>
                  <a:pt x="1842" y="1158"/>
                </a:lnTo>
                <a:lnTo>
                  <a:pt x="2306" y="1158"/>
                </a:lnTo>
                <a:lnTo>
                  <a:pt x="2306" y="1250"/>
                </a:lnTo>
                <a:lnTo>
                  <a:pt x="2275" y="1250"/>
                </a:lnTo>
                <a:lnTo>
                  <a:pt x="2263" y="1252"/>
                </a:lnTo>
                <a:lnTo>
                  <a:pt x="2251" y="1257"/>
                </a:lnTo>
                <a:lnTo>
                  <a:pt x="2241" y="1265"/>
                </a:lnTo>
                <a:lnTo>
                  <a:pt x="2232" y="1276"/>
                </a:lnTo>
                <a:lnTo>
                  <a:pt x="2224" y="1287"/>
                </a:lnTo>
                <a:lnTo>
                  <a:pt x="2219" y="1299"/>
                </a:lnTo>
                <a:lnTo>
                  <a:pt x="2216" y="1309"/>
                </a:lnTo>
                <a:lnTo>
                  <a:pt x="2214" y="1319"/>
                </a:lnTo>
                <a:lnTo>
                  <a:pt x="2214" y="1881"/>
                </a:lnTo>
                <a:lnTo>
                  <a:pt x="2215" y="1890"/>
                </a:lnTo>
                <a:lnTo>
                  <a:pt x="2219" y="1900"/>
                </a:lnTo>
                <a:lnTo>
                  <a:pt x="2224" y="1912"/>
                </a:lnTo>
                <a:lnTo>
                  <a:pt x="2230" y="1923"/>
                </a:lnTo>
                <a:lnTo>
                  <a:pt x="2239" y="1933"/>
                </a:lnTo>
                <a:lnTo>
                  <a:pt x="2249" y="1941"/>
                </a:lnTo>
                <a:lnTo>
                  <a:pt x="2260" y="1946"/>
                </a:lnTo>
                <a:lnTo>
                  <a:pt x="2271" y="1948"/>
                </a:lnTo>
                <a:lnTo>
                  <a:pt x="2306" y="1948"/>
                </a:lnTo>
                <a:lnTo>
                  <a:pt x="2306" y="2039"/>
                </a:lnTo>
                <a:lnTo>
                  <a:pt x="1842" y="2039"/>
                </a:lnTo>
                <a:lnTo>
                  <a:pt x="1842" y="1948"/>
                </a:lnTo>
                <a:close/>
                <a:moveTo>
                  <a:pt x="995" y="1946"/>
                </a:moveTo>
                <a:lnTo>
                  <a:pt x="1030" y="1946"/>
                </a:lnTo>
                <a:lnTo>
                  <a:pt x="1038" y="1944"/>
                </a:lnTo>
                <a:lnTo>
                  <a:pt x="1047" y="1941"/>
                </a:lnTo>
                <a:lnTo>
                  <a:pt x="1057" y="1935"/>
                </a:lnTo>
                <a:lnTo>
                  <a:pt x="1066" y="1927"/>
                </a:lnTo>
                <a:lnTo>
                  <a:pt x="1075" y="1918"/>
                </a:lnTo>
                <a:lnTo>
                  <a:pt x="1081" y="1909"/>
                </a:lnTo>
                <a:lnTo>
                  <a:pt x="1085" y="1899"/>
                </a:lnTo>
                <a:lnTo>
                  <a:pt x="1086" y="1889"/>
                </a:lnTo>
                <a:lnTo>
                  <a:pt x="1086" y="1308"/>
                </a:lnTo>
                <a:lnTo>
                  <a:pt x="1085" y="1299"/>
                </a:lnTo>
                <a:lnTo>
                  <a:pt x="1081" y="1289"/>
                </a:lnTo>
                <a:lnTo>
                  <a:pt x="1075" y="1280"/>
                </a:lnTo>
                <a:lnTo>
                  <a:pt x="1066" y="1271"/>
                </a:lnTo>
                <a:lnTo>
                  <a:pt x="1057" y="1262"/>
                </a:lnTo>
                <a:lnTo>
                  <a:pt x="1046" y="1256"/>
                </a:lnTo>
                <a:lnTo>
                  <a:pt x="1036" y="1251"/>
                </a:lnTo>
                <a:lnTo>
                  <a:pt x="1026" y="1250"/>
                </a:lnTo>
                <a:lnTo>
                  <a:pt x="995" y="1250"/>
                </a:lnTo>
                <a:lnTo>
                  <a:pt x="995" y="1158"/>
                </a:lnTo>
                <a:lnTo>
                  <a:pt x="1742" y="1158"/>
                </a:lnTo>
                <a:lnTo>
                  <a:pt x="1742" y="1443"/>
                </a:lnTo>
                <a:lnTo>
                  <a:pt x="1648" y="1443"/>
                </a:lnTo>
                <a:lnTo>
                  <a:pt x="1635" y="1397"/>
                </a:lnTo>
                <a:lnTo>
                  <a:pt x="1620" y="1356"/>
                </a:lnTo>
                <a:lnTo>
                  <a:pt x="1602" y="1323"/>
                </a:lnTo>
                <a:lnTo>
                  <a:pt x="1592" y="1308"/>
                </a:lnTo>
                <a:lnTo>
                  <a:pt x="1581" y="1296"/>
                </a:lnTo>
                <a:lnTo>
                  <a:pt x="1570" y="1284"/>
                </a:lnTo>
                <a:lnTo>
                  <a:pt x="1557" y="1275"/>
                </a:lnTo>
                <a:lnTo>
                  <a:pt x="1544" y="1267"/>
                </a:lnTo>
                <a:lnTo>
                  <a:pt x="1530" y="1259"/>
                </a:lnTo>
                <a:lnTo>
                  <a:pt x="1514" y="1254"/>
                </a:lnTo>
                <a:lnTo>
                  <a:pt x="1498" y="1251"/>
                </a:lnTo>
                <a:lnTo>
                  <a:pt x="1461" y="1248"/>
                </a:lnTo>
                <a:lnTo>
                  <a:pt x="1369" y="1248"/>
                </a:lnTo>
                <a:lnTo>
                  <a:pt x="1369" y="1553"/>
                </a:lnTo>
                <a:lnTo>
                  <a:pt x="1416" y="1553"/>
                </a:lnTo>
                <a:lnTo>
                  <a:pt x="1432" y="1548"/>
                </a:lnTo>
                <a:lnTo>
                  <a:pt x="1441" y="1542"/>
                </a:lnTo>
                <a:lnTo>
                  <a:pt x="1452" y="1533"/>
                </a:lnTo>
                <a:lnTo>
                  <a:pt x="1461" y="1524"/>
                </a:lnTo>
                <a:lnTo>
                  <a:pt x="1470" y="1513"/>
                </a:lnTo>
                <a:lnTo>
                  <a:pt x="1475" y="1500"/>
                </a:lnTo>
                <a:lnTo>
                  <a:pt x="1477" y="1485"/>
                </a:lnTo>
                <a:lnTo>
                  <a:pt x="1477" y="1445"/>
                </a:lnTo>
                <a:lnTo>
                  <a:pt x="1568" y="1445"/>
                </a:lnTo>
                <a:lnTo>
                  <a:pt x="1568" y="1752"/>
                </a:lnTo>
                <a:lnTo>
                  <a:pt x="1477" y="1752"/>
                </a:lnTo>
                <a:lnTo>
                  <a:pt x="1477" y="1714"/>
                </a:lnTo>
                <a:lnTo>
                  <a:pt x="1476" y="1704"/>
                </a:lnTo>
                <a:lnTo>
                  <a:pt x="1472" y="1693"/>
                </a:lnTo>
                <a:lnTo>
                  <a:pt x="1465" y="1681"/>
                </a:lnTo>
                <a:lnTo>
                  <a:pt x="1457" y="1671"/>
                </a:lnTo>
                <a:lnTo>
                  <a:pt x="1447" y="1661"/>
                </a:lnTo>
                <a:lnTo>
                  <a:pt x="1433" y="1652"/>
                </a:lnTo>
                <a:lnTo>
                  <a:pt x="1419" y="1646"/>
                </a:lnTo>
                <a:lnTo>
                  <a:pt x="1401" y="1644"/>
                </a:lnTo>
                <a:lnTo>
                  <a:pt x="1369" y="1644"/>
                </a:lnTo>
                <a:lnTo>
                  <a:pt x="1369" y="1948"/>
                </a:lnTo>
                <a:lnTo>
                  <a:pt x="1471" y="1948"/>
                </a:lnTo>
                <a:lnTo>
                  <a:pt x="1497" y="1946"/>
                </a:lnTo>
                <a:lnTo>
                  <a:pt x="1524" y="1939"/>
                </a:lnTo>
                <a:lnTo>
                  <a:pt x="1551" y="1925"/>
                </a:lnTo>
                <a:lnTo>
                  <a:pt x="1564" y="1917"/>
                </a:lnTo>
                <a:lnTo>
                  <a:pt x="1577" y="1907"/>
                </a:lnTo>
                <a:lnTo>
                  <a:pt x="1589" y="1894"/>
                </a:lnTo>
                <a:lnTo>
                  <a:pt x="1600" y="1881"/>
                </a:lnTo>
                <a:lnTo>
                  <a:pt x="1611" y="1865"/>
                </a:lnTo>
                <a:lnTo>
                  <a:pt x="1621" y="1847"/>
                </a:lnTo>
                <a:lnTo>
                  <a:pt x="1629" y="1827"/>
                </a:lnTo>
                <a:lnTo>
                  <a:pt x="1637" y="1805"/>
                </a:lnTo>
                <a:lnTo>
                  <a:pt x="1644" y="1781"/>
                </a:lnTo>
                <a:lnTo>
                  <a:pt x="1648" y="1754"/>
                </a:lnTo>
                <a:lnTo>
                  <a:pt x="1742" y="1754"/>
                </a:lnTo>
                <a:lnTo>
                  <a:pt x="1742" y="2039"/>
                </a:lnTo>
                <a:lnTo>
                  <a:pt x="995" y="2039"/>
                </a:lnTo>
                <a:lnTo>
                  <a:pt x="995" y="1946"/>
                </a:lnTo>
                <a:close/>
                <a:moveTo>
                  <a:pt x="173" y="1998"/>
                </a:moveTo>
                <a:lnTo>
                  <a:pt x="174" y="1983"/>
                </a:lnTo>
                <a:lnTo>
                  <a:pt x="180" y="1948"/>
                </a:lnTo>
                <a:lnTo>
                  <a:pt x="192" y="1901"/>
                </a:lnTo>
                <a:lnTo>
                  <a:pt x="201" y="1874"/>
                </a:lnTo>
                <a:lnTo>
                  <a:pt x="213" y="1846"/>
                </a:lnTo>
                <a:lnTo>
                  <a:pt x="235" y="1796"/>
                </a:lnTo>
                <a:lnTo>
                  <a:pt x="267" y="1734"/>
                </a:lnTo>
                <a:lnTo>
                  <a:pt x="287" y="1700"/>
                </a:lnTo>
                <a:lnTo>
                  <a:pt x="309" y="1667"/>
                </a:lnTo>
                <a:lnTo>
                  <a:pt x="334" y="1635"/>
                </a:lnTo>
                <a:lnTo>
                  <a:pt x="360" y="1605"/>
                </a:lnTo>
                <a:lnTo>
                  <a:pt x="392" y="1572"/>
                </a:lnTo>
                <a:lnTo>
                  <a:pt x="420" y="1540"/>
                </a:lnTo>
                <a:lnTo>
                  <a:pt x="469" y="1477"/>
                </a:lnTo>
                <a:lnTo>
                  <a:pt x="508" y="1420"/>
                </a:lnTo>
                <a:lnTo>
                  <a:pt x="538" y="1368"/>
                </a:lnTo>
                <a:lnTo>
                  <a:pt x="559" y="1324"/>
                </a:lnTo>
                <a:lnTo>
                  <a:pt x="574" y="1289"/>
                </a:lnTo>
                <a:lnTo>
                  <a:pt x="588" y="1254"/>
                </a:lnTo>
                <a:lnTo>
                  <a:pt x="588" y="1248"/>
                </a:lnTo>
                <a:lnTo>
                  <a:pt x="506" y="1248"/>
                </a:lnTo>
                <a:lnTo>
                  <a:pt x="472" y="1250"/>
                </a:lnTo>
                <a:lnTo>
                  <a:pt x="443" y="1255"/>
                </a:lnTo>
                <a:lnTo>
                  <a:pt x="418" y="1264"/>
                </a:lnTo>
                <a:lnTo>
                  <a:pt x="395" y="1276"/>
                </a:lnTo>
                <a:lnTo>
                  <a:pt x="375" y="1289"/>
                </a:lnTo>
                <a:lnTo>
                  <a:pt x="359" y="1305"/>
                </a:lnTo>
                <a:lnTo>
                  <a:pt x="344" y="1322"/>
                </a:lnTo>
                <a:lnTo>
                  <a:pt x="332" y="1340"/>
                </a:lnTo>
                <a:lnTo>
                  <a:pt x="315" y="1374"/>
                </a:lnTo>
                <a:lnTo>
                  <a:pt x="303" y="1405"/>
                </a:lnTo>
                <a:lnTo>
                  <a:pt x="295" y="1443"/>
                </a:lnTo>
                <a:lnTo>
                  <a:pt x="206" y="1443"/>
                </a:lnTo>
                <a:lnTo>
                  <a:pt x="206" y="1158"/>
                </a:lnTo>
                <a:lnTo>
                  <a:pt x="913" y="1158"/>
                </a:lnTo>
                <a:lnTo>
                  <a:pt x="913" y="1182"/>
                </a:lnTo>
                <a:lnTo>
                  <a:pt x="912" y="1195"/>
                </a:lnTo>
                <a:lnTo>
                  <a:pt x="907" y="1226"/>
                </a:lnTo>
                <a:lnTo>
                  <a:pt x="897" y="1271"/>
                </a:lnTo>
                <a:lnTo>
                  <a:pt x="881" y="1325"/>
                </a:lnTo>
                <a:lnTo>
                  <a:pt x="859" y="1379"/>
                </a:lnTo>
                <a:lnTo>
                  <a:pt x="835" y="1428"/>
                </a:lnTo>
                <a:lnTo>
                  <a:pt x="810" y="1474"/>
                </a:lnTo>
                <a:lnTo>
                  <a:pt x="784" y="1516"/>
                </a:lnTo>
                <a:lnTo>
                  <a:pt x="757" y="1554"/>
                </a:lnTo>
                <a:lnTo>
                  <a:pt x="730" y="1590"/>
                </a:lnTo>
                <a:lnTo>
                  <a:pt x="673" y="1658"/>
                </a:lnTo>
                <a:lnTo>
                  <a:pt x="620" y="1723"/>
                </a:lnTo>
                <a:lnTo>
                  <a:pt x="596" y="1756"/>
                </a:lnTo>
                <a:lnTo>
                  <a:pt x="572" y="1790"/>
                </a:lnTo>
                <a:lnTo>
                  <a:pt x="551" y="1825"/>
                </a:lnTo>
                <a:lnTo>
                  <a:pt x="533" y="1864"/>
                </a:lnTo>
                <a:lnTo>
                  <a:pt x="516" y="1904"/>
                </a:lnTo>
                <a:lnTo>
                  <a:pt x="503" y="1948"/>
                </a:lnTo>
                <a:lnTo>
                  <a:pt x="624" y="1948"/>
                </a:lnTo>
                <a:lnTo>
                  <a:pt x="651" y="1946"/>
                </a:lnTo>
                <a:lnTo>
                  <a:pt x="680" y="1939"/>
                </a:lnTo>
                <a:lnTo>
                  <a:pt x="707" y="1925"/>
                </a:lnTo>
                <a:lnTo>
                  <a:pt x="720" y="1917"/>
                </a:lnTo>
                <a:lnTo>
                  <a:pt x="733" y="1907"/>
                </a:lnTo>
                <a:lnTo>
                  <a:pt x="744" y="1894"/>
                </a:lnTo>
                <a:lnTo>
                  <a:pt x="756" y="1881"/>
                </a:lnTo>
                <a:lnTo>
                  <a:pt x="767" y="1865"/>
                </a:lnTo>
                <a:lnTo>
                  <a:pt x="777" y="1847"/>
                </a:lnTo>
                <a:lnTo>
                  <a:pt x="786" y="1827"/>
                </a:lnTo>
                <a:lnTo>
                  <a:pt x="793" y="1805"/>
                </a:lnTo>
                <a:lnTo>
                  <a:pt x="799" y="1781"/>
                </a:lnTo>
                <a:lnTo>
                  <a:pt x="805" y="1754"/>
                </a:lnTo>
                <a:lnTo>
                  <a:pt x="897" y="1754"/>
                </a:lnTo>
                <a:lnTo>
                  <a:pt x="897" y="2039"/>
                </a:lnTo>
                <a:lnTo>
                  <a:pt x="173" y="2039"/>
                </a:lnTo>
                <a:lnTo>
                  <a:pt x="173" y="1998"/>
                </a:lnTo>
                <a:close/>
              </a:path>
            </a:pathLst>
          </a:custGeom>
          <a:solidFill>
            <a:srgbClr val="0000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e-DE" sz="1600">
              <a:solidFill>
                <a:srgbClr val="000000"/>
              </a:solidFill>
            </a:endParaRPr>
          </a:p>
        </p:txBody>
      </p:sp>
      <p:sp>
        <p:nvSpPr>
          <p:cNvPr id="3250193" name="TW_Footer_3"/>
          <p:cNvSpPr>
            <a:spLocks noGrp="1" noChangeArrowheads="1"/>
          </p:cNvSpPr>
          <p:nvPr>
            <p:ph type="dt" sz="half" idx="2"/>
          </p:nvPr>
        </p:nvSpPr>
        <p:spPr bwMode="auto">
          <a:xfrm>
            <a:off x="6448425" y="6643688"/>
            <a:ext cx="1117600" cy="160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defTabSz="798513" eaLnBrk="1" hangingPunct="1">
              <a:defRPr sz="800">
                <a:latin typeface="Arial Narrow" pitchFamily="34" charset="0"/>
              </a:defRPr>
            </a:lvl1pPr>
          </a:lstStyle>
          <a:p>
            <a:pPr fontAlgn="base">
              <a:spcBef>
                <a:spcPct val="0"/>
              </a:spcBef>
              <a:spcAft>
                <a:spcPct val="0"/>
              </a:spcAft>
            </a:pPr>
            <a:fld id="{BBADA4EF-44BF-4B83-BE7A-98896B1DB888}" type="datetime1">
              <a:rPr lang="de-DE" smtClean="0">
                <a:solidFill>
                  <a:srgbClr val="000000"/>
                </a:solidFill>
              </a:rPr>
              <a:pPr fontAlgn="base">
                <a:spcBef>
                  <a:spcPct val="0"/>
                </a:spcBef>
                <a:spcAft>
                  <a:spcPct val="0"/>
                </a:spcAft>
              </a:pPr>
              <a:t>28.02.2019</a:t>
            </a:fld>
            <a:endParaRPr lang="de-DE">
              <a:solidFill>
                <a:srgbClr val="000000"/>
              </a:solidFill>
            </a:endParaRPr>
          </a:p>
        </p:txBody>
      </p:sp>
      <p:sp>
        <p:nvSpPr>
          <p:cNvPr id="3250195" name="Rectangle 19"/>
          <p:cNvSpPr>
            <a:spLocks noGrp="1" noChangeArrowheads="1"/>
          </p:cNvSpPr>
          <p:nvPr>
            <p:ph type="sldNum" sz="quarter" idx="4"/>
          </p:nvPr>
        </p:nvSpPr>
        <p:spPr bwMode="auto">
          <a:xfrm>
            <a:off x="8402638" y="6643688"/>
            <a:ext cx="277812" cy="161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defTabSz="798513">
              <a:defRPr sz="800">
                <a:latin typeface="Arial Narrow" pitchFamily="34" charset="0"/>
              </a:defRPr>
            </a:lvl1pPr>
          </a:lstStyle>
          <a:p>
            <a:pPr eaLnBrk="0" fontAlgn="base" hangingPunct="0">
              <a:spcBef>
                <a:spcPct val="0"/>
              </a:spcBef>
              <a:spcAft>
                <a:spcPct val="0"/>
              </a:spcAft>
            </a:pPr>
            <a:fld id="{ECA7C410-7265-4235-9411-DBE2A76A238D}" type="slidenum">
              <a:rPr lang="de-DE">
                <a:solidFill>
                  <a:srgbClr val="000000"/>
                </a:solidFill>
              </a:rPr>
              <a:pPr eaLnBrk="0" fontAlgn="base" hangingPunct="0">
                <a:spcBef>
                  <a:spcPct val="0"/>
                </a:spcBef>
                <a:spcAft>
                  <a:spcPct val="0"/>
                </a:spcAft>
              </a:pPr>
              <a:t>‹#›</a:t>
            </a:fld>
            <a:endParaRPr lang="de-DE">
              <a:solidFill>
                <a:srgbClr val="000000"/>
              </a:solidFill>
            </a:endParaRPr>
          </a:p>
        </p:txBody>
      </p:sp>
      <p:sp>
        <p:nvSpPr>
          <p:cNvPr id="3250199" name="TW_Footer_1"/>
          <p:cNvSpPr>
            <a:spLocks noGrp="1" noChangeArrowheads="1"/>
          </p:cNvSpPr>
          <p:nvPr>
            <p:ph type="ftr" sz="quarter" idx="3"/>
          </p:nvPr>
        </p:nvSpPr>
        <p:spPr bwMode="auto">
          <a:xfrm>
            <a:off x="466725" y="6643688"/>
            <a:ext cx="5702300" cy="161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defTabSz="798513" eaLnBrk="1" hangingPunct="1">
              <a:defRPr sz="800">
                <a:latin typeface="Arial Narrow" pitchFamily="34" charset="0"/>
              </a:defRPr>
            </a:lvl1pPr>
          </a:lstStyle>
          <a:p>
            <a:pPr fontAlgn="base">
              <a:spcBef>
                <a:spcPct val="0"/>
              </a:spcBef>
              <a:spcAft>
                <a:spcPct val="0"/>
              </a:spcAft>
            </a:pPr>
            <a:r>
              <a:rPr lang="de-DE">
                <a:solidFill>
                  <a:srgbClr val="000000"/>
                </a:solidFill>
              </a:rPr>
              <a:t>Carl Zeiss Microscopy</a:t>
            </a:r>
          </a:p>
        </p:txBody>
      </p:sp>
      <p:sp>
        <p:nvSpPr>
          <p:cNvPr id="3250201" name="Line 9"/>
          <p:cNvSpPr>
            <a:spLocks noChangeShapeType="1"/>
          </p:cNvSpPr>
          <p:nvPr/>
        </p:nvSpPr>
        <p:spPr bwMode="auto">
          <a:xfrm flipV="1">
            <a:off x="0" y="1258888"/>
            <a:ext cx="9140825"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de-DE" sz="1600">
              <a:solidFill>
                <a:srgbClr val="000000"/>
              </a:solidFill>
            </a:endParaRPr>
          </a:p>
        </p:txBody>
      </p:sp>
      <p:sp>
        <p:nvSpPr>
          <p:cNvPr id="3250202" name="Line 26"/>
          <p:cNvSpPr>
            <a:spLocks noChangeShapeType="1"/>
          </p:cNvSpPr>
          <p:nvPr/>
        </p:nvSpPr>
        <p:spPr bwMode="auto">
          <a:xfrm flipV="1">
            <a:off x="0" y="6569075"/>
            <a:ext cx="9140825"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de-DE" sz="1600">
              <a:solidFill>
                <a:srgbClr val="000000"/>
              </a:solidFill>
            </a:endParaRPr>
          </a:p>
        </p:txBody>
      </p:sp>
    </p:spTree>
    <p:extLst>
      <p:ext uri="{BB962C8B-B14F-4D97-AF65-F5344CB8AC3E}">
        <p14:creationId xmlns:p14="http://schemas.microsoft.com/office/powerpoint/2010/main" val="4129842414"/>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21" r:id="rId11"/>
  </p:sldLayoutIdLst>
  <p:hf hdr="0"/>
  <p:txStyles>
    <p:titleStyle>
      <a:lvl1pPr algn="l" rtl="0" eaLnBrk="0" fontAlgn="base" hangingPunct="0">
        <a:lnSpc>
          <a:spcPct val="90000"/>
        </a:lnSpc>
        <a:spcBef>
          <a:spcPct val="0"/>
        </a:spcBef>
        <a:spcAft>
          <a:spcPct val="0"/>
        </a:spcAft>
        <a:defRPr sz="2200" b="1">
          <a:solidFill>
            <a:schemeClr val="tx2"/>
          </a:solidFill>
          <a:latin typeface="+mj-lt"/>
          <a:ea typeface="+mj-ea"/>
          <a:cs typeface="+mj-cs"/>
        </a:defRPr>
      </a:lvl1pPr>
      <a:lvl2pPr algn="l" rtl="0" eaLnBrk="0" fontAlgn="base" hangingPunct="0">
        <a:lnSpc>
          <a:spcPct val="90000"/>
        </a:lnSpc>
        <a:spcBef>
          <a:spcPct val="0"/>
        </a:spcBef>
        <a:spcAft>
          <a:spcPct val="0"/>
        </a:spcAft>
        <a:defRPr sz="2200" b="1">
          <a:solidFill>
            <a:schemeClr val="tx2"/>
          </a:solidFill>
          <a:latin typeface="Arial" charset="0"/>
        </a:defRPr>
      </a:lvl2pPr>
      <a:lvl3pPr algn="l" rtl="0" eaLnBrk="0" fontAlgn="base" hangingPunct="0">
        <a:lnSpc>
          <a:spcPct val="90000"/>
        </a:lnSpc>
        <a:spcBef>
          <a:spcPct val="0"/>
        </a:spcBef>
        <a:spcAft>
          <a:spcPct val="0"/>
        </a:spcAft>
        <a:defRPr sz="2200" b="1">
          <a:solidFill>
            <a:schemeClr val="tx2"/>
          </a:solidFill>
          <a:latin typeface="Arial" charset="0"/>
        </a:defRPr>
      </a:lvl3pPr>
      <a:lvl4pPr algn="l" rtl="0" eaLnBrk="0" fontAlgn="base" hangingPunct="0">
        <a:lnSpc>
          <a:spcPct val="90000"/>
        </a:lnSpc>
        <a:spcBef>
          <a:spcPct val="0"/>
        </a:spcBef>
        <a:spcAft>
          <a:spcPct val="0"/>
        </a:spcAft>
        <a:defRPr sz="2200" b="1">
          <a:solidFill>
            <a:schemeClr val="tx2"/>
          </a:solidFill>
          <a:latin typeface="Arial" charset="0"/>
        </a:defRPr>
      </a:lvl4pPr>
      <a:lvl5pPr algn="l" rtl="0" eaLnBrk="0" fontAlgn="base" hangingPunct="0">
        <a:lnSpc>
          <a:spcPct val="90000"/>
        </a:lnSpc>
        <a:spcBef>
          <a:spcPct val="0"/>
        </a:spcBef>
        <a:spcAft>
          <a:spcPct val="0"/>
        </a:spcAft>
        <a:defRPr sz="2200" b="1">
          <a:solidFill>
            <a:schemeClr val="tx2"/>
          </a:solidFill>
          <a:latin typeface="Arial" charset="0"/>
        </a:defRPr>
      </a:lvl5pPr>
      <a:lvl6pPr marL="457200" algn="l" rtl="0" eaLnBrk="0" fontAlgn="base" hangingPunct="0">
        <a:lnSpc>
          <a:spcPct val="90000"/>
        </a:lnSpc>
        <a:spcBef>
          <a:spcPct val="0"/>
        </a:spcBef>
        <a:spcAft>
          <a:spcPct val="0"/>
        </a:spcAft>
        <a:defRPr sz="2200" b="1">
          <a:solidFill>
            <a:schemeClr val="tx2"/>
          </a:solidFill>
          <a:latin typeface="Arial" charset="0"/>
        </a:defRPr>
      </a:lvl6pPr>
      <a:lvl7pPr marL="914400" algn="l" rtl="0" eaLnBrk="0" fontAlgn="base" hangingPunct="0">
        <a:lnSpc>
          <a:spcPct val="90000"/>
        </a:lnSpc>
        <a:spcBef>
          <a:spcPct val="0"/>
        </a:spcBef>
        <a:spcAft>
          <a:spcPct val="0"/>
        </a:spcAft>
        <a:defRPr sz="2200" b="1">
          <a:solidFill>
            <a:schemeClr val="tx2"/>
          </a:solidFill>
          <a:latin typeface="Arial" charset="0"/>
        </a:defRPr>
      </a:lvl7pPr>
      <a:lvl8pPr marL="1371600" algn="l" rtl="0" eaLnBrk="0" fontAlgn="base" hangingPunct="0">
        <a:lnSpc>
          <a:spcPct val="90000"/>
        </a:lnSpc>
        <a:spcBef>
          <a:spcPct val="0"/>
        </a:spcBef>
        <a:spcAft>
          <a:spcPct val="0"/>
        </a:spcAft>
        <a:defRPr sz="2200" b="1">
          <a:solidFill>
            <a:schemeClr val="tx2"/>
          </a:solidFill>
          <a:latin typeface="Arial" charset="0"/>
        </a:defRPr>
      </a:lvl8pPr>
      <a:lvl9pPr marL="1828800" algn="l" rtl="0" eaLnBrk="0" fontAlgn="base" hangingPunct="0">
        <a:lnSpc>
          <a:spcPct val="90000"/>
        </a:lnSpc>
        <a:spcBef>
          <a:spcPct val="0"/>
        </a:spcBef>
        <a:spcAft>
          <a:spcPct val="0"/>
        </a:spcAft>
        <a:defRPr sz="2200" b="1">
          <a:solidFill>
            <a:schemeClr val="tx2"/>
          </a:solidFill>
          <a:latin typeface="Arial" charset="0"/>
        </a:defRPr>
      </a:lvl9pPr>
    </p:titleStyle>
    <p:bodyStyle>
      <a:lvl1pPr algn="l" rtl="0" eaLnBrk="0" fontAlgn="base" hangingPunct="0">
        <a:spcBef>
          <a:spcPct val="0"/>
        </a:spcBef>
        <a:spcAft>
          <a:spcPct val="0"/>
        </a:spcAft>
        <a:defRPr sz="1600">
          <a:solidFill>
            <a:schemeClr val="tx1"/>
          </a:solidFill>
          <a:latin typeface="+mn-lt"/>
          <a:ea typeface="+mn-ea"/>
          <a:cs typeface="+mn-cs"/>
        </a:defRPr>
      </a:lvl1pPr>
      <a:lvl2pPr marL="363538" indent="-184150" algn="l" rtl="0" eaLnBrk="0" fontAlgn="base" hangingPunct="0">
        <a:spcBef>
          <a:spcPct val="0"/>
        </a:spcBef>
        <a:spcAft>
          <a:spcPct val="0"/>
        </a:spcAft>
        <a:buClr>
          <a:schemeClr val="folHlink"/>
        </a:buClr>
        <a:buFont typeface="Wingdings" pitchFamily="2" charset="2"/>
        <a:buChar char="§"/>
        <a:defRPr sz="1600">
          <a:solidFill>
            <a:schemeClr val="tx1"/>
          </a:solidFill>
          <a:latin typeface="+mn-lt"/>
        </a:defRPr>
      </a:lvl2pPr>
      <a:lvl3pPr marL="714375" indent="-171450" algn="l" rtl="0" eaLnBrk="0" fontAlgn="base" hangingPunct="0">
        <a:spcBef>
          <a:spcPct val="0"/>
        </a:spcBef>
        <a:spcAft>
          <a:spcPct val="0"/>
        </a:spcAft>
        <a:buClr>
          <a:schemeClr val="folHlink"/>
        </a:buClr>
        <a:buChar char="-"/>
        <a:defRPr sz="1400">
          <a:solidFill>
            <a:schemeClr val="tx1"/>
          </a:solidFill>
          <a:latin typeface="+mn-lt"/>
        </a:defRPr>
      </a:lvl3pPr>
      <a:lvl4pPr marL="1081088" indent="-177800" algn="l" rtl="0" eaLnBrk="0" fontAlgn="base" hangingPunct="0">
        <a:spcBef>
          <a:spcPct val="0"/>
        </a:spcBef>
        <a:spcAft>
          <a:spcPct val="0"/>
        </a:spcAft>
        <a:buChar char="-"/>
        <a:defRPr sz="1200">
          <a:solidFill>
            <a:schemeClr val="tx1"/>
          </a:solidFill>
          <a:latin typeface="+mn-lt"/>
        </a:defRPr>
      </a:lvl4pPr>
      <a:lvl5pPr marL="1438275" indent="-177800" algn="l" rtl="0" eaLnBrk="0" fontAlgn="base" hangingPunct="0">
        <a:spcBef>
          <a:spcPct val="0"/>
        </a:spcBef>
        <a:spcAft>
          <a:spcPct val="0"/>
        </a:spcAft>
        <a:buFont typeface="Arial" charset="0"/>
        <a:buChar char="»"/>
        <a:defRPr sz="1000">
          <a:solidFill>
            <a:schemeClr val="tx1"/>
          </a:solidFill>
          <a:latin typeface="+mn-lt"/>
        </a:defRPr>
      </a:lvl5pPr>
      <a:lvl6pPr marL="1895475" indent="-177800" algn="l" rtl="0" eaLnBrk="0" fontAlgn="base" hangingPunct="0">
        <a:spcBef>
          <a:spcPct val="0"/>
        </a:spcBef>
        <a:spcAft>
          <a:spcPct val="0"/>
        </a:spcAft>
        <a:buFont typeface="Arial" charset="0"/>
        <a:buChar char="»"/>
        <a:defRPr sz="1000">
          <a:solidFill>
            <a:schemeClr val="tx1"/>
          </a:solidFill>
          <a:latin typeface="+mn-lt"/>
        </a:defRPr>
      </a:lvl6pPr>
      <a:lvl7pPr marL="2352675" indent="-177800" algn="l" rtl="0" eaLnBrk="0" fontAlgn="base" hangingPunct="0">
        <a:spcBef>
          <a:spcPct val="0"/>
        </a:spcBef>
        <a:spcAft>
          <a:spcPct val="0"/>
        </a:spcAft>
        <a:buFont typeface="Arial" charset="0"/>
        <a:buChar char="»"/>
        <a:defRPr sz="1000">
          <a:solidFill>
            <a:schemeClr val="tx1"/>
          </a:solidFill>
          <a:latin typeface="+mn-lt"/>
        </a:defRPr>
      </a:lvl7pPr>
      <a:lvl8pPr marL="2809875" indent="-177800" algn="l" rtl="0" eaLnBrk="0" fontAlgn="base" hangingPunct="0">
        <a:spcBef>
          <a:spcPct val="0"/>
        </a:spcBef>
        <a:spcAft>
          <a:spcPct val="0"/>
        </a:spcAft>
        <a:buFont typeface="Arial" charset="0"/>
        <a:buChar char="»"/>
        <a:defRPr sz="1000">
          <a:solidFill>
            <a:schemeClr val="tx1"/>
          </a:solidFill>
          <a:latin typeface="+mn-lt"/>
        </a:defRPr>
      </a:lvl8pPr>
      <a:lvl9pPr marL="3267075" indent="-177800" algn="l" rtl="0" eaLnBrk="0" fontAlgn="base" hangingPunct="0">
        <a:spcBef>
          <a:spcPct val="0"/>
        </a:spcBef>
        <a:spcAft>
          <a:spcPct val="0"/>
        </a:spcAft>
        <a:buFont typeface="Arial" charset="0"/>
        <a:buChar char="»"/>
        <a:defRPr sz="1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Folie" r:id="rId28" imgW="270" imgH="270" progId="TCLayout.ActiveDocument.1">
                  <p:embed/>
                </p:oleObj>
              </mc:Choice>
              <mc:Fallback>
                <p:oleObj name="think-cell Folie" r:id="rId28" imgW="270" imgH="270" progId="TCLayout.ActiveDocument.1">
                  <p:embed/>
                  <p:pic>
                    <p:nvPicPr>
                      <p:cNvPr id="3" name="Objekt 2" hidden="1"/>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3250179" name="Rectangle 3"/>
          <p:cNvSpPr>
            <a:spLocks noGrp="1" noChangeArrowheads="1"/>
          </p:cNvSpPr>
          <p:nvPr>
            <p:ph type="body" idx="1"/>
          </p:nvPr>
        </p:nvSpPr>
        <p:spPr bwMode="auto">
          <a:xfrm>
            <a:off x="466725" y="1493838"/>
            <a:ext cx="8208963" cy="4806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250182" name="Rectangle 6"/>
          <p:cNvSpPr>
            <a:spLocks noGrp="1" noChangeArrowheads="1"/>
          </p:cNvSpPr>
          <p:nvPr>
            <p:ph type="title"/>
          </p:nvPr>
        </p:nvSpPr>
        <p:spPr bwMode="auto">
          <a:xfrm>
            <a:off x="466725" y="307975"/>
            <a:ext cx="7346950" cy="941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err="1"/>
              <a:t>Titel</a:t>
            </a:r>
            <a:endParaRPr lang="en-US" dirty="0"/>
          </a:p>
        </p:txBody>
      </p:sp>
      <p:sp>
        <p:nvSpPr>
          <p:cNvPr id="3250187" name="Freeform 11"/>
          <p:cNvSpPr>
            <a:spLocks noEditPoints="1"/>
          </p:cNvSpPr>
          <p:nvPr/>
        </p:nvSpPr>
        <p:spPr bwMode="auto">
          <a:xfrm>
            <a:off x="8216900" y="379414"/>
            <a:ext cx="463550" cy="488951"/>
          </a:xfrm>
          <a:custGeom>
            <a:avLst/>
            <a:gdLst>
              <a:gd name="T0" fmla="*/ 743 w 4092"/>
              <a:gd name="T1" fmla="*/ 3836 h 4104"/>
              <a:gd name="T2" fmla="*/ 1652 w 4092"/>
              <a:gd name="T3" fmla="*/ 3680 h 4104"/>
              <a:gd name="T4" fmla="*/ 2573 w 4092"/>
              <a:gd name="T5" fmla="*/ 3692 h 4104"/>
              <a:gd name="T6" fmla="*/ 3476 w 4092"/>
              <a:gd name="T7" fmla="*/ 3873 h 4104"/>
              <a:gd name="T8" fmla="*/ 0 w 4092"/>
              <a:gd name="T9" fmla="*/ 0 h 4104"/>
              <a:gd name="T10" fmla="*/ 3802 w 4092"/>
              <a:gd name="T11" fmla="*/ 1443 h 4104"/>
              <a:gd name="T12" fmla="*/ 3712 w 4092"/>
              <a:gd name="T13" fmla="*/ 1281 h 4104"/>
              <a:gd name="T14" fmla="*/ 3509 w 4092"/>
              <a:gd name="T15" fmla="*/ 1254 h 4104"/>
              <a:gd name="T16" fmla="*/ 3662 w 4092"/>
              <a:gd name="T17" fmla="*/ 1523 h 4104"/>
              <a:gd name="T18" fmla="*/ 3865 w 4092"/>
              <a:gd name="T19" fmla="*/ 1799 h 4104"/>
              <a:gd name="T20" fmla="*/ 3900 w 4092"/>
              <a:gd name="T21" fmla="*/ 2004 h 4104"/>
              <a:gd name="T22" fmla="*/ 3313 w 4092"/>
              <a:gd name="T23" fmla="*/ 1825 h 4104"/>
              <a:gd name="T24" fmla="*/ 3412 w 4092"/>
              <a:gd name="T25" fmla="*/ 1939 h 4104"/>
              <a:gd name="T26" fmla="*/ 3572 w 4092"/>
              <a:gd name="T27" fmla="*/ 1876 h 4104"/>
              <a:gd name="T28" fmla="*/ 3353 w 4092"/>
              <a:gd name="T29" fmla="*/ 1570 h 4104"/>
              <a:gd name="T30" fmla="*/ 3203 w 4092"/>
              <a:gd name="T31" fmla="*/ 1305 h 4104"/>
              <a:gd name="T32" fmla="*/ 2422 w 4092"/>
              <a:gd name="T33" fmla="*/ 1158 h 4104"/>
              <a:gd name="T34" fmla="*/ 2958 w 4092"/>
              <a:gd name="T35" fmla="*/ 1319 h 4104"/>
              <a:gd name="T36" fmla="*/ 2839 w 4092"/>
              <a:gd name="T37" fmla="*/ 1250 h 4104"/>
              <a:gd name="T38" fmla="*/ 2783 w 4092"/>
              <a:gd name="T39" fmla="*/ 1403 h 4104"/>
              <a:gd name="T40" fmla="*/ 2986 w 4092"/>
              <a:gd name="T41" fmla="*/ 1654 h 4104"/>
              <a:gd name="T42" fmla="*/ 3113 w 4092"/>
              <a:gd name="T43" fmla="*/ 1932 h 4104"/>
              <a:gd name="T44" fmla="*/ 2408 w 4092"/>
              <a:gd name="T45" fmla="*/ 1754 h 4104"/>
              <a:gd name="T46" fmla="*/ 2577 w 4092"/>
              <a:gd name="T47" fmla="*/ 1912 h 4104"/>
              <a:gd name="T48" fmla="*/ 2802 w 4092"/>
              <a:gd name="T49" fmla="*/ 1948 h 4104"/>
              <a:gd name="T50" fmla="*/ 2677 w 4092"/>
              <a:gd name="T51" fmla="*/ 1714 h 4104"/>
              <a:gd name="T52" fmla="*/ 2446 w 4092"/>
              <a:gd name="T53" fmla="*/ 1400 h 4104"/>
              <a:gd name="T54" fmla="*/ 1842 w 4092"/>
              <a:gd name="T55" fmla="*/ 1948 h 4104"/>
              <a:gd name="T56" fmla="*/ 1927 w 4092"/>
              <a:gd name="T57" fmla="*/ 1911 h 4104"/>
              <a:gd name="T58" fmla="*/ 1913 w 4092"/>
              <a:gd name="T59" fmla="*/ 1271 h 4104"/>
              <a:gd name="T60" fmla="*/ 2306 w 4092"/>
              <a:gd name="T61" fmla="*/ 1158 h 4104"/>
              <a:gd name="T62" fmla="*/ 2224 w 4092"/>
              <a:gd name="T63" fmla="*/ 1287 h 4104"/>
              <a:gd name="T64" fmla="*/ 2224 w 4092"/>
              <a:gd name="T65" fmla="*/ 1912 h 4104"/>
              <a:gd name="T66" fmla="*/ 2306 w 4092"/>
              <a:gd name="T67" fmla="*/ 2039 h 4104"/>
              <a:gd name="T68" fmla="*/ 1057 w 4092"/>
              <a:gd name="T69" fmla="*/ 1935 h 4104"/>
              <a:gd name="T70" fmla="*/ 1085 w 4092"/>
              <a:gd name="T71" fmla="*/ 1299 h 4104"/>
              <a:gd name="T72" fmla="*/ 1026 w 4092"/>
              <a:gd name="T73" fmla="*/ 1250 h 4104"/>
              <a:gd name="T74" fmla="*/ 1620 w 4092"/>
              <a:gd name="T75" fmla="*/ 1356 h 4104"/>
              <a:gd name="T76" fmla="*/ 1530 w 4092"/>
              <a:gd name="T77" fmla="*/ 1259 h 4104"/>
              <a:gd name="T78" fmla="*/ 1432 w 4092"/>
              <a:gd name="T79" fmla="*/ 1548 h 4104"/>
              <a:gd name="T80" fmla="*/ 1477 w 4092"/>
              <a:gd name="T81" fmla="*/ 1445 h 4104"/>
              <a:gd name="T82" fmla="*/ 1465 w 4092"/>
              <a:gd name="T83" fmla="*/ 1681 h 4104"/>
              <a:gd name="T84" fmla="*/ 1369 w 4092"/>
              <a:gd name="T85" fmla="*/ 1948 h 4104"/>
              <a:gd name="T86" fmla="*/ 1589 w 4092"/>
              <a:gd name="T87" fmla="*/ 1894 h 4104"/>
              <a:gd name="T88" fmla="*/ 1648 w 4092"/>
              <a:gd name="T89" fmla="*/ 1754 h 4104"/>
              <a:gd name="T90" fmla="*/ 180 w 4092"/>
              <a:gd name="T91" fmla="*/ 1948 h 4104"/>
              <a:gd name="T92" fmla="*/ 309 w 4092"/>
              <a:gd name="T93" fmla="*/ 1667 h 4104"/>
              <a:gd name="T94" fmla="*/ 538 w 4092"/>
              <a:gd name="T95" fmla="*/ 1368 h 4104"/>
              <a:gd name="T96" fmla="*/ 443 w 4092"/>
              <a:gd name="T97" fmla="*/ 1255 h 4104"/>
              <a:gd name="T98" fmla="*/ 315 w 4092"/>
              <a:gd name="T99" fmla="*/ 1374 h 4104"/>
              <a:gd name="T100" fmla="*/ 912 w 4092"/>
              <a:gd name="T101" fmla="*/ 1195 h 4104"/>
              <a:gd name="T102" fmla="*/ 784 w 4092"/>
              <a:gd name="T103" fmla="*/ 1516 h 4104"/>
              <a:gd name="T104" fmla="*/ 551 w 4092"/>
              <a:gd name="T105" fmla="*/ 1825 h 4104"/>
              <a:gd name="T106" fmla="*/ 707 w 4092"/>
              <a:gd name="T107" fmla="*/ 1925 h 4104"/>
              <a:gd name="T108" fmla="*/ 786 w 4092"/>
              <a:gd name="T109" fmla="*/ 1827 h 4104"/>
              <a:gd name="T110" fmla="*/ 173 w 4092"/>
              <a:gd name="T111" fmla="*/ 1998 h 4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92" h="4104">
                <a:moveTo>
                  <a:pt x="0" y="4104"/>
                </a:moveTo>
                <a:lnTo>
                  <a:pt x="121" y="4051"/>
                </a:lnTo>
                <a:lnTo>
                  <a:pt x="243" y="4001"/>
                </a:lnTo>
                <a:lnTo>
                  <a:pt x="366" y="3955"/>
                </a:lnTo>
                <a:lnTo>
                  <a:pt x="491" y="3912"/>
                </a:lnTo>
                <a:lnTo>
                  <a:pt x="617" y="3873"/>
                </a:lnTo>
                <a:lnTo>
                  <a:pt x="743" y="3836"/>
                </a:lnTo>
                <a:lnTo>
                  <a:pt x="871" y="3804"/>
                </a:lnTo>
                <a:lnTo>
                  <a:pt x="1000" y="3775"/>
                </a:lnTo>
                <a:lnTo>
                  <a:pt x="1129" y="3749"/>
                </a:lnTo>
                <a:lnTo>
                  <a:pt x="1259" y="3727"/>
                </a:lnTo>
                <a:lnTo>
                  <a:pt x="1389" y="3707"/>
                </a:lnTo>
                <a:lnTo>
                  <a:pt x="1521" y="3692"/>
                </a:lnTo>
                <a:lnTo>
                  <a:pt x="1652" y="3680"/>
                </a:lnTo>
                <a:lnTo>
                  <a:pt x="1783" y="3671"/>
                </a:lnTo>
                <a:lnTo>
                  <a:pt x="1915" y="3666"/>
                </a:lnTo>
                <a:lnTo>
                  <a:pt x="2047" y="3664"/>
                </a:lnTo>
                <a:lnTo>
                  <a:pt x="2178" y="3666"/>
                </a:lnTo>
                <a:lnTo>
                  <a:pt x="2311" y="3671"/>
                </a:lnTo>
                <a:lnTo>
                  <a:pt x="2442" y="3680"/>
                </a:lnTo>
                <a:lnTo>
                  <a:pt x="2573" y="3692"/>
                </a:lnTo>
                <a:lnTo>
                  <a:pt x="2704" y="3707"/>
                </a:lnTo>
                <a:lnTo>
                  <a:pt x="2835" y="3727"/>
                </a:lnTo>
                <a:lnTo>
                  <a:pt x="2964" y="3749"/>
                </a:lnTo>
                <a:lnTo>
                  <a:pt x="3093" y="3775"/>
                </a:lnTo>
                <a:lnTo>
                  <a:pt x="3222" y="3804"/>
                </a:lnTo>
                <a:lnTo>
                  <a:pt x="3350" y="3836"/>
                </a:lnTo>
                <a:lnTo>
                  <a:pt x="3476" y="3873"/>
                </a:lnTo>
                <a:lnTo>
                  <a:pt x="3602" y="3912"/>
                </a:lnTo>
                <a:lnTo>
                  <a:pt x="3726" y="3955"/>
                </a:lnTo>
                <a:lnTo>
                  <a:pt x="3850" y="4001"/>
                </a:lnTo>
                <a:lnTo>
                  <a:pt x="3972" y="4051"/>
                </a:lnTo>
                <a:lnTo>
                  <a:pt x="4092" y="4104"/>
                </a:lnTo>
                <a:lnTo>
                  <a:pt x="4092" y="0"/>
                </a:lnTo>
                <a:lnTo>
                  <a:pt x="0" y="0"/>
                </a:lnTo>
                <a:lnTo>
                  <a:pt x="0" y="4104"/>
                </a:lnTo>
                <a:close/>
                <a:moveTo>
                  <a:pt x="3198" y="1210"/>
                </a:moveTo>
                <a:lnTo>
                  <a:pt x="3205" y="1184"/>
                </a:lnTo>
                <a:lnTo>
                  <a:pt x="3214" y="1158"/>
                </a:lnTo>
                <a:lnTo>
                  <a:pt x="3891" y="1158"/>
                </a:lnTo>
                <a:lnTo>
                  <a:pt x="3891" y="1443"/>
                </a:lnTo>
                <a:lnTo>
                  <a:pt x="3802" y="1443"/>
                </a:lnTo>
                <a:lnTo>
                  <a:pt x="3788" y="1394"/>
                </a:lnTo>
                <a:lnTo>
                  <a:pt x="3770" y="1352"/>
                </a:lnTo>
                <a:lnTo>
                  <a:pt x="3761" y="1334"/>
                </a:lnTo>
                <a:lnTo>
                  <a:pt x="3749" y="1319"/>
                </a:lnTo>
                <a:lnTo>
                  <a:pt x="3738" y="1304"/>
                </a:lnTo>
                <a:lnTo>
                  <a:pt x="3725" y="1292"/>
                </a:lnTo>
                <a:lnTo>
                  <a:pt x="3712" y="1281"/>
                </a:lnTo>
                <a:lnTo>
                  <a:pt x="3698" y="1272"/>
                </a:lnTo>
                <a:lnTo>
                  <a:pt x="3682" y="1264"/>
                </a:lnTo>
                <a:lnTo>
                  <a:pt x="3667" y="1258"/>
                </a:lnTo>
                <a:lnTo>
                  <a:pt x="3631" y="1250"/>
                </a:lnTo>
                <a:lnTo>
                  <a:pt x="3592" y="1248"/>
                </a:lnTo>
                <a:lnTo>
                  <a:pt x="3509" y="1248"/>
                </a:lnTo>
                <a:lnTo>
                  <a:pt x="3509" y="1254"/>
                </a:lnTo>
                <a:lnTo>
                  <a:pt x="3517" y="1281"/>
                </a:lnTo>
                <a:lnTo>
                  <a:pt x="3528" y="1311"/>
                </a:lnTo>
                <a:lnTo>
                  <a:pt x="3548" y="1353"/>
                </a:lnTo>
                <a:lnTo>
                  <a:pt x="3575" y="1403"/>
                </a:lnTo>
                <a:lnTo>
                  <a:pt x="3613" y="1459"/>
                </a:lnTo>
                <a:lnTo>
                  <a:pt x="3635" y="1491"/>
                </a:lnTo>
                <a:lnTo>
                  <a:pt x="3662" y="1523"/>
                </a:lnTo>
                <a:lnTo>
                  <a:pt x="3691" y="1556"/>
                </a:lnTo>
                <a:lnTo>
                  <a:pt x="3724" y="1590"/>
                </a:lnTo>
                <a:lnTo>
                  <a:pt x="3749" y="1618"/>
                </a:lnTo>
                <a:lnTo>
                  <a:pt x="3778" y="1654"/>
                </a:lnTo>
                <a:lnTo>
                  <a:pt x="3808" y="1698"/>
                </a:lnTo>
                <a:lnTo>
                  <a:pt x="3838" y="1747"/>
                </a:lnTo>
                <a:lnTo>
                  <a:pt x="3865" y="1799"/>
                </a:lnTo>
                <a:lnTo>
                  <a:pt x="3887" y="1852"/>
                </a:lnTo>
                <a:lnTo>
                  <a:pt x="3895" y="1879"/>
                </a:lnTo>
                <a:lnTo>
                  <a:pt x="3901" y="1906"/>
                </a:lnTo>
                <a:lnTo>
                  <a:pt x="3904" y="1932"/>
                </a:lnTo>
                <a:lnTo>
                  <a:pt x="3906" y="1957"/>
                </a:lnTo>
                <a:lnTo>
                  <a:pt x="3905" y="1983"/>
                </a:lnTo>
                <a:lnTo>
                  <a:pt x="3900" y="2004"/>
                </a:lnTo>
                <a:lnTo>
                  <a:pt x="3893" y="2022"/>
                </a:lnTo>
                <a:lnTo>
                  <a:pt x="3883" y="2039"/>
                </a:lnTo>
                <a:lnTo>
                  <a:pt x="3199" y="2039"/>
                </a:lnTo>
                <a:lnTo>
                  <a:pt x="3199" y="1754"/>
                </a:lnTo>
                <a:lnTo>
                  <a:pt x="3293" y="1754"/>
                </a:lnTo>
                <a:lnTo>
                  <a:pt x="3302" y="1791"/>
                </a:lnTo>
                <a:lnTo>
                  <a:pt x="3313" y="1825"/>
                </a:lnTo>
                <a:lnTo>
                  <a:pt x="3328" y="1858"/>
                </a:lnTo>
                <a:lnTo>
                  <a:pt x="3346" y="1887"/>
                </a:lnTo>
                <a:lnTo>
                  <a:pt x="3356" y="1900"/>
                </a:lnTo>
                <a:lnTo>
                  <a:pt x="3369" y="1912"/>
                </a:lnTo>
                <a:lnTo>
                  <a:pt x="3381" y="1922"/>
                </a:lnTo>
                <a:lnTo>
                  <a:pt x="3396" y="1932"/>
                </a:lnTo>
                <a:lnTo>
                  <a:pt x="3412" y="1939"/>
                </a:lnTo>
                <a:lnTo>
                  <a:pt x="3430" y="1944"/>
                </a:lnTo>
                <a:lnTo>
                  <a:pt x="3450" y="1947"/>
                </a:lnTo>
                <a:lnTo>
                  <a:pt x="3472" y="1948"/>
                </a:lnTo>
                <a:lnTo>
                  <a:pt x="3594" y="1948"/>
                </a:lnTo>
                <a:lnTo>
                  <a:pt x="3594" y="1941"/>
                </a:lnTo>
                <a:lnTo>
                  <a:pt x="3586" y="1918"/>
                </a:lnTo>
                <a:lnTo>
                  <a:pt x="3572" y="1876"/>
                </a:lnTo>
                <a:lnTo>
                  <a:pt x="3554" y="1841"/>
                </a:lnTo>
                <a:lnTo>
                  <a:pt x="3529" y="1800"/>
                </a:lnTo>
                <a:lnTo>
                  <a:pt x="3499" y="1758"/>
                </a:lnTo>
                <a:lnTo>
                  <a:pt x="3469" y="1714"/>
                </a:lnTo>
                <a:lnTo>
                  <a:pt x="3412" y="1641"/>
                </a:lnTo>
                <a:lnTo>
                  <a:pt x="3383" y="1603"/>
                </a:lnTo>
                <a:lnTo>
                  <a:pt x="3353" y="1570"/>
                </a:lnTo>
                <a:lnTo>
                  <a:pt x="3324" y="1533"/>
                </a:lnTo>
                <a:lnTo>
                  <a:pt x="3288" y="1485"/>
                </a:lnTo>
                <a:lnTo>
                  <a:pt x="3254" y="1430"/>
                </a:lnTo>
                <a:lnTo>
                  <a:pt x="3238" y="1400"/>
                </a:lnTo>
                <a:lnTo>
                  <a:pt x="3224" y="1370"/>
                </a:lnTo>
                <a:lnTo>
                  <a:pt x="3212" y="1337"/>
                </a:lnTo>
                <a:lnTo>
                  <a:pt x="3203" y="1305"/>
                </a:lnTo>
                <a:lnTo>
                  <a:pt x="3197" y="1273"/>
                </a:lnTo>
                <a:lnTo>
                  <a:pt x="3195" y="1240"/>
                </a:lnTo>
                <a:lnTo>
                  <a:pt x="3198" y="1210"/>
                </a:lnTo>
                <a:close/>
                <a:moveTo>
                  <a:pt x="2404" y="1225"/>
                </a:moveTo>
                <a:lnTo>
                  <a:pt x="2406" y="1210"/>
                </a:lnTo>
                <a:lnTo>
                  <a:pt x="2413" y="1184"/>
                </a:lnTo>
                <a:lnTo>
                  <a:pt x="2422" y="1158"/>
                </a:lnTo>
                <a:lnTo>
                  <a:pt x="3099" y="1158"/>
                </a:lnTo>
                <a:lnTo>
                  <a:pt x="3099" y="1443"/>
                </a:lnTo>
                <a:lnTo>
                  <a:pt x="3010" y="1443"/>
                </a:lnTo>
                <a:lnTo>
                  <a:pt x="2996" y="1394"/>
                </a:lnTo>
                <a:lnTo>
                  <a:pt x="2978" y="1352"/>
                </a:lnTo>
                <a:lnTo>
                  <a:pt x="2968" y="1334"/>
                </a:lnTo>
                <a:lnTo>
                  <a:pt x="2958" y="1319"/>
                </a:lnTo>
                <a:lnTo>
                  <a:pt x="2945" y="1304"/>
                </a:lnTo>
                <a:lnTo>
                  <a:pt x="2933" y="1292"/>
                </a:lnTo>
                <a:lnTo>
                  <a:pt x="2920" y="1281"/>
                </a:lnTo>
                <a:lnTo>
                  <a:pt x="2906" y="1272"/>
                </a:lnTo>
                <a:lnTo>
                  <a:pt x="2890" y="1264"/>
                </a:lnTo>
                <a:lnTo>
                  <a:pt x="2875" y="1258"/>
                </a:lnTo>
                <a:lnTo>
                  <a:pt x="2839" y="1250"/>
                </a:lnTo>
                <a:lnTo>
                  <a:pt x="2800" y="1248"/>
                </a:lnTo>
                <a:lnTo>
                  <a:pt x="2717" y="1248"/>
                </a:lnTo>
                <a:lnTo>
                  <a:pt x="2717" y="1254"/>
                </a:lnTo>
                <a:lnTo>
                  <a:pt x="2725" y="1281"/>
                </a:lnTo>
                <a:lnTo>
                  <a:pt x="2737" y="1311"/>
                </a:lnTo>
                <a:lnTo>
                  <a:pt x="2756" y="1353"/>
                </a:lnTo>
                <a:lnTo>
                  <a:pt x="2783" y="1403"/>
                </a:lnTo>
                <a:lnTo>
                  <a:pt x="2820" y="1459"/>
                </a:lnTo>
                <a:lnTo>
                  <a:pt x="2844" y="1491"/>
                </a:lnTo>
                <a:lnTo>
                  <a:pt x="2870" y="1523"/>
                </a:lnTo>
                <a:lnTo>
                  <a:pt x="2900" y="1556"/>
                </a:lnTo>
                <a:lnTo>
                  <a:pt x="2932" y="1590"/>
                </a:lnTo>
                <a:lnTo>
                  <a:pt x="2957" y="1618"/>
                </a:lnTo>
                <a:lnTo>
                  <a:pt x="2986" y="1654"/>
                </a:lnTo>
                <a:lnTo>
                  <a:pt x="3016" y="1698"/>
                </a:lnTo>
                <a:lnTo>
                  <a:pt x="3046" y="1747"/>
                </a:lnTo>
                <a:lnTo>
                  <a:pt x="3073" y="1799"/>
                </a:lnTo>
                <a:lnTo>
                  <a:pt x="3095" y="1852"/>
                </a:lnTo>
                <a:lnTo>
                  <a:pt x="3103" y="1879"/>
                </a:lnTo>
                <a:lnTo>
                  <a:pt x="3109" y="1906"/>
                </a:lnTo>
                <a:lnTo>
                  <a:pt x="3113" y="1932"/>
                </a:lnTo>
                <a:lnTo>
                  <a:pt x="3114" y="1957"/>
                </a:lnTo>
                <a:lnTo>
                  <a:pt x="3113" y="1983"/>
                </a:lnTo>
                <a:lnTo>
                  <a:pt x="3108" y="2004"/>
                </a:lnTo>
                <a:lnTo>
                  <a:pt x="3101" y="2022"/>
                </a:lnTo>
                <a:lnTo>
                  <a:pt x="3090" y="2039"/>
                </a:lnTo>
                <a:lnTo>
                  <a:pt x="2408" y="2039"/>
                </a:lnTo>
                <a:lnTo>
                  <a:pt x="2408" y="1754"/>
                </a:lnTo>
                <a:lnTo>
                  <a:pt x="2500" y="1754"/>
                </a:lnTo>
                <a:lnTo>
                  <a:pt x="2510" y="1791"/>
                </a:lnTo>
                <a:lnTo>
                  <a:pt x="2521" y="1825"/>
                </a:lnTo>
                <a:lnTo>
                  <a:pt x="2536" y="1858"/>
                </a:lnTo>
                <a:lnTo>
                  <a:pt x="2554" y="1887"/>
                </a:lnTo>
                <a:lnTo>
                  <a:pt x="2564" y="1900"/>
                </a:lnTo>
                <a:lnTo>
                  <a:pt x="2577" y="1912"/>
                </a:lnTo>
                <a:lnTo>
                  <a:pt x="2590" y="1922"/>
                </a:lnTo>
                <a:lnTo>
                  <a:pt x="2605" y="1932"/>
                </a:lnTo>
                <a:lnTo>
                  <a:pt x="2620" y="1939"/>
                </a:lnTo>
                <a:lnTo>
                  <a:pt x="2639" y="1944"/>
                </a:lnTo>
                <a:lnTo>
                  <a:pt x="2659" y="1947"/>
                </a:lnTo>
                <a:lnTo>
                  <a:pt x="2681" y="1948"/>
                </a:lnTo>
                <a:lnTo>
                  <a:pt x="2802" y="1948"/>
                </a:lnTo>
                <a:lnTo>
                  <a:pt x="2802" y="1941"/>
                </a:lnTo>
                <a:lnTo>
                  <a:pt x="2794" y="1918"/>
                </a:lnTo>
                <a:lnTo>
                  <a:pt x="2781" y="1876"/>
                </a:lnTo>
                <a:lnTo>
                  <a:pt x="2762" y="1841"/>
                </a:lnTo>
                <a:lnTo>
                  <a:pt x="2737" y="1800"/>
                </a:lnTo>
                <a:lnTo>
                  <a:pt x="2708" y="1758"/>
                </a:lnTo>
                <a:lnTo>
                  <a:pt x="2677" y="1714"/>
                </a:lnTo>
                <a:lnTo>
                  <a:pt x="2620" y="1641"/>
                </a:lnTo>
                <a:lnTo>
                  <a:pt x="2589" y="1603"/>
                </a:lnTo>
                <a:lnTo>
                  <a:pt x="2561" y="1570"/>
                </a:lnTo>
                <a:lnTo>
                  <a:pt x="2531" y="1533"/>
                </a:lnTo>
                <a:lnTo>
                  <a:pt x="2496" y="1485"/>
                </a:lnTo>
                <a:lnTo>
                  <a:pt x="2462" y="1430"/>
                </a:lnTo>
                <a:lnTo>
                  <a:pt x="2446" y="1400"/>
                </a:lnTo>
                <a:lnTo>
                  <a:pt x="2433" y="1370"/>
                </a:lnTo>
                <a:lnTo>
                  <a:pt x="2420" y="1337"/>
                </a:lnTo>
                <a:lnTo>
                  <a:pt x="2411" y="1305"/>
                </a:lnTo>
                <a:lnTo>
                  <a:pt x="2406" y="1273"/>
                </a:lnTo>
                <a:lnTo>
                  <a:pt x="2402" y="1240"/>
                </a:lnTo>
                <a:lnTo>
                  <a:pt x="2404" y="1225"/>
                </a:lnTo>
                <a:close/>
                <a:moveTo>
                  <a:pt x="1842" y="1948"/>
                </a:moveTo>
                <a:lnTo>
                  <a:pt x="1876" y="1948"/>
                </a:lnTo>
                <a:lnTo>
                  <a:pt x="1884" y="1947"/>
                </a:lnTo>
                <a:lnTo>
                  <a:pt x="1894" y="1943"/>
                </a:lnTo>
                <a:lnTo>
                  <a:pt x="1903" y="1937"/>
                </a:lnTo>
                <a:lnTo>
                  <a:pt x="1913" y="1930"/>
                </a:lnTo>
                <a:lnTo>
                  <a:pt x="1921" y="1920"/>
                </a:lnTo>
                <a:lnTo>
                  <a:pt x="1927" y="1911"/>
                </a:lnTo>
                <a:lnTo>
                  <a:pt x="1931" y="1901"/>
                </a:lnTo>
                <a:lnTo>
                  <a:pt x="1932" y="1892"/>
                </a:lnTo>
                <a:lnTo>
                  <a:pt x="1932" y="1308"/>
                </a:lnTo>
                <a:lnTo>
                  <a:pt x="1931" y="1299"/>
                </a:lnTo>
                <a:lnTo>
                  <a:pt x="1927" y="1289"/>
                </a:lnTo>
                <a:lnTo>
                  <a:pt x="1921" y="1280"/>
                </a:lnTo>
                <a:lnTo>
                  <a:pt x="1913" y="1271"/>
                </a:lnTo>
                <a:lnTo>
                  <a:pt x="1903" y="1262"/>
                </a:lnTo>
                <a:lnTo>
                  <a:pt x="1893" y="1255"/>
                </a:lnTo>
                <a:lnTo>
                  <a:pt x="1882" y="1251"/>
                </a:lnTo>
                <a:lnTo>
                  <a:pt x="1872" y="1250"/>
                </a:lnTo>
                <a:lnTo>
                  <a:pt x="1842" y="1250"/>
                </a:lnTo>
                <a:lnTo>
                  <a:pt x="1842" y="1158"/>
                </a:lnTo>
                <a:lnTo>
                  <a:pt x="2306" y="1158"/>
                </a:lnTo>
                <a:lnTo>
                  <a:pt x="2306" y="1250"/>
                </a:lnTo>
                <a:lnTo>
                  <a:pt x="2275" y="1250"/>
                </a:lnTo>
                <a:lnTo>
                  <a:pt x="2263" y="1252"/>
                </a:lnTo>
                <a:lnTo>
                  <a:pt x="2251" y="1257"/>
                </a:lnTo>
                <a:lnTo>
                  <a:pt x="2241" y="1265"/>
                </a:lnTo>
                <a:lnTo>
                  <a:pt x="2232" y="1276"/>
                </a:lnTo>
                <a:lnTo>
                  <a:pt x="2224" y="1287"/>
                </a:lnTo>
                <a:lnTo>
                  <a:pt x="2219" y="1299"/>
                </a:lnTo>
                <a:lnTo>
                  <a:pt x="2216" y="1309"/>
                </a:lnTo>
                <a:lnTo>
                  <a:pt x="2214" y="1319"/>
                </a:lnTo>
                <a:lnTo>
                  <a:pt x="2214" y="1881"/>
                </a:lnTo>
                <a:lnTo>
                  <a:pt x="2215" y="1890"/>
                </a:lnTo>
                <a:lnTo>
                  <a:pt x="2219" y="1900"/>
                </a:lnTo>
                <a:lnTo>
                  <a:pt x="2224" y="1912"/>
                </a:lnTo>
                <a:lnTo>
                  <a:pt x="2230" y="1923"/>
                </a:lnTo>
                <a:lnTo>
                  <a:pt x="2239" y="1933"/>
                </a:lnTo>
                <a:lnTo>
                  <a:pt x="2249" y="1941"/>
                </a:lnTo>
                <a:lnTo>
                  <a:pt x="2260" y="1946"/>
                </a:lnTo>
                <a:lnTo>
                  <a:pt x="2271" y="1948"/>
                </a:lnTo>
                <a:lnTo>
                  <a:pt x="2306" y="1948"/>
                </a:lnTo>
                <a:lnTo>
                  <a:pt x="2306" y="2039"/>
                </a:lnTo>
                <a:lnTo>
                  <a:pt x="1842" y="2039"/>
                </a:lnTo>
                <a:lnTo>
                  <a:pt x="1842" y="1948"/>
                </a:lnTo>
                <a:close/>
                <a:moveTo>
                  <a:pt x="995" y="1946"/>
                </a:moveTo>
                <a:lnTo>
                  <a:pt x="1030" y="1946"/>
                </a:lnTo>
                <a:lnTo>
                  <a:pt x="1038" y="1944"/>
                </a:lnTo>
                <a:lnTo>
                  <a:pt x="1047" y="1941"/>
                </a:lnTo>
                <a:lnTo>
                  <a:pt x="1057" y="1935"/>
                </a:lnTo>
                <a:lnTo>
                  <a:pt x="1066" y="1927"/>
                </a:lnTo>
                <a:lnTo>
                  <a:pt x="1075" y="1918"/>
                </a:lnTo>
                <a:lnTo>
                  <a:pt x="1081" y="1909"/>
                </a:lnTo>
                <a:lnTo>
                  <a:pt x="1085" y="1899"/>
                </a:lnTo>
                <a:lnTo>
                  <a:pt x="1086" y="1889"/>
                </a:lnTo>
                <a:lnTo>
                  <a:pt x="1086" y="1308"/>
                </a:lnTo>
                <a:lnTo>
                  <a:pt x="1085" y="1299"/>
                </a:lnTo>
                <a:lnTo>
                  <a:pt x="1081" y="1289"/>
                </a:lnTo>
                <a:lnTo>
                  <a:pt x="1075" y="1280"/>
                </a:lnTo>
                <a:lnTo>
                  <a:pt x="1066" y="1271"/>
                </a:lnTo>
                <a:lnTo>
                  <a:pt x="1057" y="1262"/>
                </a:lnTo>
                <a:lnTo>
                  <a:pt x="1046" y="1256"/>
                </a:lnTo>
                <a:lnTo>
                  <a:pt x="1036" y="1251"/>
                </a:lnTo>
                <a:lnTo>
                  <a:pt x="1026" y="1250"/>
                </a:lnTo>
                <a:lnTo>
                  <a:pt x="995" y="1250"/>
                </a:lnTo>
                <a:lnTo>
                  <a:pt x="995" y="1158"/>
                </a:lnTo>
                <a:lnTo>
                  <a:pt x="1742" y="1158"/>
                </a:lnTo>
                <a:lnTo>
                  <a:pt x="1742" y="1443"/>
                </a:lnTo>
                <a:lnTo>
                  <a:pt x="1648" y="1443"/>
                </a:lnTo>
                <a:lnTo>
                  <a:pt x="1635" y="1397"/>
                </a:lnTo>
                <a:lnTo>
                  <a:pt x="1620" y="1356"/>
                </a:lnTo>
                <a:lnTo>
                  <a:pt x="1602" y="1323"/>
                </a:lnTo>
                <a:lnTo>
                  <a:pt x="1592" y="1308"/>
                </a:lnTo>
                <a:lnTo>
                  <a:pt x="1581" y="1296"/>
                </a:lnTo>
                <a:lnTo>
                  <a:pt x="1570" y="1284"/>
                </a:lnTo>
                <a:lnTo>
                  <a:pt x="1557" y="1275"/>
                </a:lnTo>
                <a:lnTo>
                  <a:pt x="1544" y="1267"/>
                </a:lnTo>
                <a:lnTo>
                  <a:pt x="1530" y="1259"/>
                </a:lnTo>
                <a:lnTo>
                  <a:pt x="1514" y="1254"/>
                </a:lnTo>
                <a:lnTo>
                  <a:pt x="1498" y="1251"/>
                </a:lnTo>
                <a:lnTo>
                  <a:pt x="1461" y="1248"/>
                </a:lnTo>
                <a:lnTo>
                  <a:pt x="1369" y="1248"/>
                </a:lnTo>
                <a:lnTo>
                  <a:pt x="1369" y="1553"/>
                </a:lnTo>
                <a:lnTo>
                  <a:pt x="1416" y="1553"/>
                </a:lnTo>
                <a:lnTo>
                  <a:pt x="1432" y="1548"/>
                </a:lnTo>
                <a:lnTo>
                  <a:pt x="1441" y="1542"/>
                </a:lnTo>
                <a:lnTo>
                  <a:pt x="1452" y="1533"/>
                </a:lnTo>
                <a:lnTo>
                  <a:pt x="1461" y="1524"/>
                </a:lnTo>
                <a:lnTo>
                  <a:pt x="1470" y="1513"/>
                </a:lnTo>
                <a:lnTo>
                  <a:pt x="1475" y="1500"/>
                </a:lnTo>
                <a:lnTo>
                  <a:pt x="1477" y="1485"/>
                </a:lnTo>
                <a:lnTo>
                  <a:pt x="1477" y="1445"/>
                </a:lnTo>
                <a:lnTo>
                  <a:pt x="1568" y="1445"/>
                </a:lnTo>
                <a:lnTo>
                  <a:pt x="1568" y="1752"/>
                </a:lnTo>
                <a:lnTo>
                  <a:pt x="1477" y="1752"/>
                </a:lnTo>
                <a:lnTo>
                  <a:pt x="1477" y="1714"/>
                </a:lnTo>
                <a:lnTo>
                  <a:pt x="1476" y="1704"/>
                </a:lnTo>
                <a:lnTo>
                  <a:pt x="1472" y="1693"/>
                </a:lnTo>
                <a:lnTo>
                  <a:pt x="1465" y="1681"/>
                </a:lnTo>
                <a:lnTo>
                  <a:pt x="1457" y="1671"/>
                </a:lnTo>
                <a:lnTo>
                  <a:pt x="1447" y="1661"/>
                </a:lnTo>
                <a:lnTo>
                  <a:pt x="1433" y="1652"/>
                </a:lnTo>
                <a:lnTo>
                  <a:pt x="1419" y="1646"/>
                </a:lnTo>
                <a:lnTo>
                  <a:pt x="1401" y="1644"/>
                </a:lnTo>
                <a:lnTo>
                  <a:pt x="1369" y="1644"/>
                </a:lnTo>
                <a:lnTo>
                  <a:pt x="1369" y="1948"/>
                </a:lnTo>
                <a:lnTo>
                  <a:pt x="1471" y="1948"/>
                </a:lnTo>
                <a:lnTo>
                  <a:pt x="1497" y="1946"/>
                </a:lnTo>
                <a:lnTo>
                  <a:pt x="1524" y="1939"/>
                </a:lnTo>
                <a:lnTo>
                  <a:pt x="1551" y="1925"/>
                </a:lnTo>
                <a:lnTo>
                  <a:pt x="1564" y="1917"/>
                </a:lnTo>
                <a:lnTo>
                  <a:pt x="1577" y="1907"/>
                </a:lnTo>
                <a:lnTo>
                  <a:pt x="1589" y="1894"/>
                </a:lnTo>
                <a:lnTo>
                  <a:pt x="1600" y="1881"/>
                </a:lnTo>
                <a:lnTo>
                  <a:pt x="1611" y="1865"/>
                </a:lnTo>
                <a:lnTo>
                  <a:pt x="1621" y="1847"/>
                </a:lnTo>
                <a:lnTo>
                  <a:pt x="1629" y="1827"/>
                </a:lnTo>
                <a:lnTo>
                  <a:pt x="1637" y="1805"/>
                </a:lnTo>
                <a:lnTo>
                  <a:pt x="1644" y="1781"/>
                </a:lnTo>
                <a:lnTo>
                  <a:pt x="1648" y="1754"/>
                </a:lnTo>
                <a:lnTo>
                  <a:pt x="1742" y="1754"/>
                </a:lnTo>
                <a:lnTo>
                  <a:pt x="1742" y="2039"/>
                </a:lnTo>
                <a:lnTo>
                  <a:pt x="995" y="2039"/>
                </a:lnTo>
                <a:lnTo>
                  <a:pt x="995" y="1946"/>
                </a:lnTo>
                <a:close/>
                <a:moveTo>
                  <a:pt x="173" y="1998"/>
                </a:moveTo>
                <a:lnTo>
                  <a:pt x="174" y="1983"/>
                </a:lnTo>
                <a:lnTo>
                  <a:pt x="180" y="1948"/>
                </a:lnTo>
                <a:lnTo>
                  <a:pt x="192" y="1901"/>
                </a:lnTo>
                <a:lnTo>
                  <a:pt x="201" y="1874"/>
                </a:lnTo>
                <a:lnTo>
                  <a:pt x="213" y="1846"/>
                </a:lnTo>
                <a:lnTo>
                  <a:pt x="235" y="1796"/>
                </a:lnTo>
                <a:lnTo>
                  <a:pt x="267" y="1734"/>
                </a:lnTo>
                <a:lnTo>
                  <a:pt x="287" y="1700"/>
                </a:lnTo>
                <a:lnTo>
                  <a:pt x="309" y="1667"/>
                </a:lnTo>
                <a:lnTo>
                  <a:pt x="334" y="1635"/>
                </a:lnTo>
                <a:lnTo>
                  <a:pt x="360" y="1605"/>
                </a:lnTo>
                <a:lnTo>
                  <a:pt x="392" y="1572"/>
                </a:lnTo>
                <a:lnTo>
                  <a:pt x="420" y="1540"/>
                </a:lnTo>
                <a:lnTo>
                  <a:pt x="469" y="1477"/>
                </a:lnTo>
                <a:lnTo>
                  <a:pt x="508" y="1420"/>
                </a:lnTo>
                <a:lnTo>
                  <a:pt x="538" y="1368"/>
                </a:lnTo>
                <a:lnTo>
                  <a:pt x="559" y="1324"/>
                </a:lnTo>
                <a:lnTo>
                  <a:pt x="574" y="1289"/>
                </a:lnTo>
                <a:lnTo>
                  <a:pt x="588" y="1254"/>
                </a:lnTo>
                <a:lnTo>
                  <a:pt x="588" y="1248"/>
                </a:lnTo>
                <a:lnTo>
                  <a:pt x="506" y="1248"/>
                </a:lnTo>
                <a:lnTo>
                  <a:pt x="472" y="1250"/>
                </a:lnTo>
                <a:lnTo>
                  <a:pt x="443" y="1255"/>
                </a:lnTo>
                <a:lnTo>
                  <a:pt x="418" y="1264"/>
                </a:lnTo>
                <a:lnTo>
                  <a:pt x="395" y="1276"/>
                </a:lnTo>
                <a:lnTo>
                  <a:pt x="375" y="1289"/>
                </a:lnTo>
                <a:lnTo>
                  <a:pt x="359" y="1305"/>
                </a:lnTo>
                <a:lnTo>
                  <a:pt x="344" y="1322"/>
                </a:lnTo>
                <a:lnTo>
                  <a:pt x="332" y="1340"/>
                </a:lnTo>
                <a:lnTo>
                  <a:pt x="315" y="1374"/>
                </a:lnTo>
                <a:lnTo>
                  <a:pt x="303" y="1405"/>
                </a:lnTo>
                <a:lnTo>
                  <a:pt x="295" y="1443"/>
                </a:lnTo>
                <a:lnTo>
                  <a:pt x="206" y="1443"/>
                </a:lnTo>
                <a:lnTo>
                  <a:pt x="206" y="1158"/>
                </a:lnTo>
                <a:lnTo>
                  <a:pt x="913" y="1158"/>
                </a:lnTo>
                <a:lnTo>
                  <a:pt x="913" y="1182"/>
                </a:lnTo>
                <a:lnTo>
                  <a:pt x="912" y="1195"/>
                </a:lnTo>
                <a:lnTo>
                  <a:pt x="907" y="1226"/>
                </a:lnTo>
                <a:lnTo>
                  <a:pt x="897" y="1271"/>
                </a:lnTo>
                <a:lnTo>
                  <a:pt x="881" y="1325"/>
                </a:lnTo>
                <a:lnTo>
                  <a:pt x="859" y="1379"/>
                </a:lnTo>
                <a:lnTo>
                  <a:pt x="835" y="1428"/>
                </a:lnTo>
                <a:lnTo>
                  <a:pt x="810" y="1474"/>
                </a:lnTo>
                <a:lnTo>
                  <a:pt x="784" y="1516"/>
                </a:lnTo>
                <a:lnTo>
                  <a:pt x="757" y="1554"/>
                </a:lnTo>
                <a:lnTo>
                  <a:pt x="730" y="1590"/>
                </a:lnTo>
                <a:lnTo>
                  <a:pt x="673" y="1658"/>
                </a:lnTo>
                <a:lnTo>
                  <a:pt x="620" y="1723"/>
                </a:lnTo>
                <a:lnTo>
                  <a:pt x="596" y="1756"/>
                </a:lnTo>
                <a:lnTo>
                  <a:pt x="572" y="1790"/>
                </a:lnTo>
                <a:lnTo>
                  <a:pt x="551" y="1825"/>
                </a:lnTo>
                <a:lnTo>
                  <a:pt x="533" y="1864"/>
                </a:lnTo>
                <a:lnTo>
                  <a:pt x="516" y="1904"/>
                </a:lnTo>
                <a:lnTo>
                  <a:pt x="503" y="1948"/>
                </a:lnTo>
                <a:lnTo>
                  <a:pt x="624" y="1948"/>
                </a:lnTo>
                <a:lnTo>
                  <a:pt x="651" y="1946"/>
                </a:lnTo>
                <a:lnTo>
                  <a:pt x="680" y="1939"/>
                </a:lnTo>
                <a:lnTo>
                  <a:pt x="707" y="1925"/>
                </a:lnTo>
                <a:lnTo>
                  <a:pt x="720" y="1917"/>
                </a:lnTo>
                <a:lnTo>
                  <a:pt x="733" y="1907"/>
                </a:lnTo>
                <a:lnTo>
                  <a:pt x="744" y="1894"/>
                </a:lnTo>
                <a:lnTo>
                  <a:pt x="756" y="1881"/>
                </a:lnTo>
                <a:lnTo>
                  <a:pt x="767" y="1865"/>
                </a:lnTo>
                <a:lnTo>
                  <a:pt x="777" y="1847"/>
                </a:lnTo>
                <a:lnTo>
                  <a:pt x="786" y="1827"/>
                </a:lnTo>
                <a:lnTo>
                  <a:pt x="793" y="1805"/>
                </a:lnTo>
                <a:lnTo>
                  <a:pt x="799" y="1781"/>
                </a:lnTo>
                <a:lnTo>
                  <a:pt x="805" y="1754"/>
                </a:lnTo>
                <a:lnTo>
                  <a:pt x="897" y="1754"/>
                </a:lnTo>
                <a:lnTo>
                  <a:pt x="897" y="2039"/>
                </a:lnTo>
                <a:lnTo>
                  <a:pt x="173" y="2039"/>
                </a:lnTo>
                <a:lnTo>
                  <a:pt x="173" y="1998"/>
                </a:lnTo>
                <a:close/>
              </a:path>
            </a:pathLst>
          </a:custGeom>
          <a:solidFill>
            <a:srgbClr val="0000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sz="1600">
              <a:solidFill>
                <a:srgbClr val="000000"/>
              </a:solidFill>
            </a:endParaRPr>
          </a:p>
        </p:txBody>
      </p:sp>
      <p:sp>
        <p:nvSpPr>
          <p:cNvPr id="3250201" name="Line 9"/>
          <p:cNvSpPr>
            <a:spLocks noChangeShapeType="1"/>
          </p:cNvSpPr>
          <p:nvPr/>
        </p:nvSpPr>
        <p:spPr bwMode="auto">
          <a:xfrm flipV="1">
            <a:off x="0" y="1258888"/>
            <a:ext cx="9140825"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600">
              <a:solidFill>
                <a:srgbClr val="000000"/>
              </a:solidFill>
            </a:endParaRPr>
          </a:p>
        </p:txBody>
      </p:sp>
      <p:sp>
        <p:nvSpPr>
          <p:cNvPr id="3250202" name="Line 26"/>
          <p:cNvSpPr>
            <a:spLocks noChangeShapeType="1"/>
          </p:cNvSpPr>
          <p:nvPr/>
        </p:nvSpPr>
        <p:spPr bwMode="auto">
          <a:xfrm flipV="1">
            <a:off x="0" y="6569075"/>
            <a:ext cx="9140825"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600">
              <a:solidFill>
                <a:srgbClr val="000000"/>
              </a:solidFill>
            </a:endParaRPr>
          </a:p>
        </p:txBody>
      </p:sp>
      <p:sp>
        <p:nvSpPr>
          <p:cNvPr id="8" name="Date Placeholder 3"/>
          <p:cNvSpPr>
            <a:spLocks noGrp="1"/>
          </p:cNvSpPr>
          <p:nvPr>
            <p:ph type="dt" sz="half" idx="2"/>
          </p:nvPr>
        </p:nvSpPr>
        <p:spPr>
          <a:xfrm>
            <a:off x="6448425" y="6643689"/>
            <a:ext cx="1117600" cy="160337"/>
          </a:xfrm>
          <a:prstGeom prst="rect">
            <a:avLst/>
          </a:prstGeom>
        </p:spPr>
        <p:txBody>
          <a:bodyPr anchor="ctr"/>
          <a:lstStyle>
            <a:lvl1pPr algn="l">
              <a:defRPr sz="800"/>
            </a:lvl1pPr>
          </a:lstStyle>
          <a:p>
            <a:pPr eaLnBrk="0" fontAlgn="base" hangingPunct="0">
              <a:spcBef>
                <a:spcPct val="0"/>
              </a:spcBef>
              <a:spcAft>
                <a:spcPct val="0"/>
              </a:spcAft>
            </a:pPr>
            <a:fld id="{A6887232-1128-4C18-8654-C284210384C1}" type="datetime1">
              <a:rPr lang="de-DE" smtClean="0">
                <a:solidFill>
                  <a:srgbClr val="000000"/>
                </a:solidFill>
              </a:rPr>
              <a:pPr eaLnBrk="0" fontAlgn="base" hangingPunct="0">
                <a:spcBef>
                  <a:spcPct val="0"/>
                </a:spcBef>
                <a:spcAft>
                  <a:spcPct val="0"/>
                </a:spcAft>
              </a:pPr>
              <a:t>28.02.2019</a:t>
            </a:fld>
            <a:endParaRPr lang="en-US" dirty="0">
              <a:solidFill>
                <a:srgbClr val="000000"/>
              </a:solidFill>
            </a:endParaRPr>
          </a:p>
        </p:txBody>
      </p:sp>
      <p:sp>
        <p:nvSpPr>
          <p:cNvPr id="10" name="Footer Placeholder 5"/>
          <p:cNvSpPr>
            <a:spLocks noGrp="1"/>
          </p:cNvSpPr>
          <p:nvPr>
            <p:ph type="ftr" sz="quarter" idx="3"/>
          </p:nvPr>
        </p:nvSpPr>
        <p:spPr>
          <a:xfrm>
            <a:off x="466725" y="6643688"/>
            <a:ext cx="5702300" cy="161925"/>
          </a:xfrm>
          <a:prstGeom prst="rect">
            <a:avLst/>
          </a:prstGeom>
        </p:spPr>
        <p:txBody>
          <a:bodyPr anchor="ctr"/>
          <a:lstStyle>
            <a:lvl1pPr algn="l">
              <a:defRPr sz="800"/>
            </a:lvl1pPr>
          </a:lstStyle>
          <a:p>
            <a:pPr eaLnBrk="0" fontAlgn="base" hangingPunct="0">
              <a:spcBef>
                <a:spcPct val="0"/>
              </a:spcBef>
              <a:spcAft>
                <a:spcPct val="0"/>
              </a:spcAft>
            </a:pPr>
            <a:r>
              <a:rPr lang="en-US">
                <a:solidFill>
                  <a:srgbClr val="000000"/>
                </a:solidFill>
              </a:rPr>
              <a:t>Carl Zeiss Microscopy</a:t>
            </a:r>
            <a:endParaRPr lang="en-US" dirty="0">
              <a:solidFill>
                <a:srgbClr val="000000"/>
              </a:solidFill>
            </a:endParaRPr>
          </a:p>
        </p:txBody>
      </p:sp>
      <p:grpSp>
        <p:nvGrpSpPr>
          <p:cNvPr id="2" name="Group 1"/>
          <p:cNvGrpSpPr/>
          <p:nvPr/>
        </p:nvGrpSpPr>
        <p:grpSpPr>
          <a:xfrm>
            <a:off x="-956829" y="1493838"/>
            <a:ext cx="848309" cy="434519"/>
            <a:chOff x="-956829" y="1554163"/>
            <a:chExt cx="848309" cy="434519"/>
          </a:xfrm>
        </p:grpSpPr>
        <p:sp>
          <p:nvSpPr>
            <p:cNvPr id="9" name="TextBox 8"/>
            <p:cNvSpPr txBox="1"/>
            <p:nvPr userDrawn="1"/>
          </p:nvSpPr>
          <p:spPr bwMode="gray">
            <a:xfrm>
              <a:off x="-865458" y="1773238"/>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1" name="TextBox 10"/>
            <p:cNvSpPr txBox="1"/>
            <p:nvPr userDrawn="1"/>
          </p:nvSpPr>
          <p:spPr bwMode="gray">
            <a:xfrm>
              <a:off x="-956829" y="1554163"/>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2" name="Straight Connector 11"/>
            <p:cNvCxnSpPr/>
            <p:nvPr userDrawn="1"/>
          </p:nvCxnSpPr>
          <p:spPr bwMode="gray">
            <a:xfrm flipH="1">
              <a:off x="-288540" y="17732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bwMode="gray">
            <a:xfrm flipH="1">
              <a:off x="-288540" y="1557338"/>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14" name="TextBox 13"/>
          <p:cNvSpPr txBox="1"/>
          <p:nvPr/>
        </p:nvSpPr>
        <p:spPr bwMode="gray">
          <a:xfrm>
            <a:off x="-865458" y="6093281"/>
            <a:ext cx="756938"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Text-</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sp>
        <p:nvSpPr>
          <p:cNvPr id="15" name="TextBox 14"/>
          <p:cNvSpPr txBox="1"/>
          <p:nvPr/>
        </p:nvSpPr>
        <p:spPr bwMode="gray">
          <a:xfrm>
            <a:off x="-956829" y="6524625"/>
            <a:ext cx="848309"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Image-</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16" name="Straight Connector 15"/>
          <p:cNvCxnSpPr/>
          <p:nvPr/>
        </p:nvCxnSpPr>
        <p:spPr bwMode="gray">
          <a:xfrm flipH="1">
            <a:off x="-288540" y="6522107"/>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bwMode="gray">
          <a:xfrm flipH="1">
            <a:off x="-288540" y="6308725"/>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nvGrpSpPr>
          <p:cNvPr id="18" name="Group 17"/>
          <p:cNvGrpSpPr/>
          <p:nvPr/>
        </p:nvGrpSpPr>
        <p:grpSpPr>
          <a:xfrm rot="5400000">
            <a:off x="-43126" y="-645663"/>
            <a:ext cx="807434" cy="215444"/>
            <a:chOff x="-1248737" y="516171"/>
            <a:chExt cx="807434" cy="215444"/>
          </a:xfrm>
        </p:grpSpPr>
        <p:sp>
          <p:nvSpPr>
            <p:cNvPr id="19" name="TextBox 18"/>
            <p:cNvSpPr txBox="1"/>
            <p:nvPr userDrawn="1"/>
          </p:nvSpPr>
          <p:spPr bwMode="gray">
            <a:xfrm>
              <a:off x="-1248737" y="516171"/>
              <a:ext cx="766557"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Lef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20" name="Straight Connector 19"/>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21" name="Group 20"/>
          <p:cNvGrpSpPr/>
          <p:nvPr/>
        </p:nvGrpSpPr>
        <p:grpSpPr>
          <a:xfrm rot="5400000">
            <a:off x="8185327" y="-625720"/>
            <a:ext cx="767548" cy="215444"/>
            <a:chOff x="-1285606" y="516176"/>
            <a:chExt cx="844303" cy="215444"/>
          </a:xfrm>
        </p:grpSpPr>
        <p:sp>
          <p:nvSpPr>
            <p:cNvPr id="22" name="TextBox 21"/>
            <p:cNvSpPr txBox="1"/>
            <p:nvPr userDrawn="1"/>
          </p:nvSpPr>
          <p:spPr bwMode="gray">
            <a:xfrm>
              <a:off x="-1285606" y="516176"/>
              <a:ext cx="840295" cy="215444"/>
            </a:xfrm>
            <a:prstGeom prst="rect">
              <a:avLst/>
            </a:prstGeom>
            <a:noFill/>
          </p:spPr>
          <p:txBody>
            <a:bodyPr wrap="none" rtlCol="0">
              <a:spAutoFit/>
            </a:bodyPr>
            <a:lstStyle/>
            <a:p>
              <a:pPr algn="r" eaLnBrk="0" fontAlgn="base" hangingPunct="0">
                <a:spcBef>
                  <a:spcPct val="0"/>
                </a:spcBef>
                <a:spcAft>
                  <a:spcPct val="0"/>
                </a:spcAft>
              </a:pPr>
              <a:r>
                <a:rPr lang="de-DE" sz="800" b="1" i="1" dirty="0">
                  <a:solidFill>
                    <a:srgbClr val="000000">
                      <a:lumMod val="75000"/>
                      <a:lumOff val="25000"/>
                    </a:srgbClr>
                  </a:solidFill>
                </a:rPr>
                <a:t> </a:t>
              </a:r>
              <a:r>
                <a:rPr lang="de-DE" sz="800" b="1" i="1" dirty="0" err="1">
                  <a:solidFill>
                    <a:srgbClr val="000000">
                      <a:lumMod val="75000"/>
                      <a:lumOff val="25000"/>
                    </a:srgbClr>
                  </a:solidFill>
                </a:rPr>
                <a:t>Right</a:t>
              </a:r>
              <a:r>
                <a:rPr lang="de-DE" sz="800" b="1" i="1" dirty="0">
                  <a:solidFill>
                    <a:srgbClr val="000000">
                      <a:lumMod val="75000"/>
                      <a:lumOff val="25000"/>
                    </a:srgbClr>
                  </a:solidFill>
                </a:rPr>
                <a:t> </a:t>
              </a:r>
              <a:r>
                <a:rPr lang="de-DE" sz="800" b="1" i="1" dirty="0" err="1">
                  <a:solidFill>
                    <a:srgbClr val="000000">
                      <a:lumMod val="75000"/>
                      <a:lumOff val="25000"/>
                    </a:srgbClr>
                  </a:solidFill>
                </a:rPr>
                <a:t>Border</a:t>
              </a:r>
              <a:endParaRPr lang="de-DE" sz="800" b="1" i="1" dirty="0">
                <a:solidFill>
                  <a:srgbClr val="000000">
                    <a:lumMod val="75000"/>
                    <a:lumOff val="25000"/>
                  </a:srgbClr>
                </a:solidFill>
              </a:endParaRPr>
            </a:p>
          </p:txBody>
        </p:sp>
        <p:cxnSp>
          <p:nvCxnSpPr>
            <p:cNvPr id="23" name="Straight Connector 22"/>
            <p:cNvCxnSpPr/>
            <p:nvPr userDrawn="1"/>
          </p:nvCxnSpPr>
          <p:spPr bwMode="gray">
            <a:xfrm flipH="1">
              <a:off x="-621323" y="519342"/>
              <a:ext cx="180020" cy="0"/>
            </a:xfrm>
            <a:prstGeom prst="line">
              <a:avLst/>
            </a:prstGeom>
            <a:ln w="127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custDataLst>
      <p:tags r:id="rId26"/>
    </p:custDataLst>
    <p:extLst>
      <p:ext uri="{BB962C8B-B14F-4D97-AF65-F5344CB8AC3E}">
        <p14:creationId xmlns:p14="http://schemas.microsoft.com/office/powerpoint/2010/main" val="1313805506"/>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8" r:id="rId6"/>
    <p:sldLayoutId id="2147483829" r:id="rId7"/>
    <p:sldLayoutId id="2147483830" r:id="rId8"/>
    <p:sldLayoutId id="2147483831" r:id="rId9"/>
    <p:sldLayoutId id="2147483832" r:id="rId10"/>
    <p:sldLayoutId id="2147483833" r:id="rId11"/>
    <p:sldLayoutId id="2147483834" r:id="rId12"/>
    <p:sldLayoutId id="2147483835" r:id="rId13"/>
    <p:sldLayoutId id="2147483836" r:id="rId14"/>
    <p:sldLayoutId id="2147483837" r:id="rId15"/>
    <p:sldLayoutId id="2147483838" r:id="rId16"/>
    <p:sldLayoutId id="2147483839" r:id="rId17"/>
    <p:sldLayoutId id="2147483840" r:id="rId18"/>
    <p:sldLayoutId id="2147483841" r:id="rId19"/>
    <p:sldLayoutId id="2147483842" r:id="rId20"/>
    <p:sldLayoutId id="2147483843" r:id="rId21"/>
    <p:sldLayoutId id="2147483844" r:id="rId22"/>
    <p:sldLayoutId id="2147483845" r:id="rId23"/>
  </p:sldLayoutIdLst>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hf hdr="0"/>
  <p:txStyles>
    <p:titleStyle>
      <a:lvl1pPr algn="l" rtl="0" eaLnBrk="1" fontAlgn="base" hangingPunct="1">
        <a:lnSpc>
          <a:spcPct val="90000"/>
        </a:lnSpc>
        <a:spcBef>
          <a:spcPct val="0"/>
        </a:spcBef>
        <a:spcAft>
          <a:spcPct val="0"/>
        </a:spcAft>
        <a:defRPr sz="2200" b="1">
          <a:solidFill>
            <a:schemeClr val="tx2"/>
          </a:solidFill>
          <a:latin typeface="+mj-lt"/>
          <a:ea typeface="+mj-ea"/>
          <a:cs typeface="+mj-cs"/>
        </a:defRPr>
      </a:lvl1pPr>
      <a:lvl2pPr algn="l" rtl="0" eaLnBrk="1" fontAlgn="base" hangingPunct="1">
        <a:lnSpc>
          <a:spcPct val="90000"/>
        </a:lnSpc>
        <a:spcBef>
          <a:spcPct val="0"/>
        </a:spcBef>
        <a:spcAft>
          <a:spcPct val="0"/>
        </a:spcAft>
        <a:defRPr sz="2200" b="1">
          <a:solidFill>
            <a:schemeClr val="tx2"/>
          </a:solidFill>
          <a:latin typeface="Arial" charset="0"/>
        </a:defRPr>
      </a:lvl2pPr>
      <a:lvl3pPr algn="l" rtl="0" eaLnBrk="1" fontAlgn="base" hangingPunct="1">
        <a:lnSpc>
          <a:spcPct val="90000"/>
        </a:lnSpc>
        <a:spcBef>
          <a:spcPct val="0"/>
        </a:spcBef>
        <a:spcAft>
          <a:spcPct val="0"/>
        </a:spcAft>
        <a:defRPr sz="2200" b="1">
          <a:solidFill>
            <a:schemeClr val="tx2"/>
          </a:solidFill>
          <a:latin typeface="Arial" charset="0"/>
        </a:defRPr>
      </a:lvl3pPr>
      <a:lvl4pPr algn="l" rtl="0" eaLnBrk="1" fontAlgn="base" hangingPunct="1">
        <a:lnSpc>
          <a:spcPct val="90000"/>
        </a:lnSpc>
        <a:spcBef>
          <a:spcPct val="0"/>
        </a:spcBef>
        <a:spcAft>
          <a:spcPct val="0"/>
        </a:spcAft>
        <a:defRPr sz="2200" b="1">
          <a:solidFill>
            <a:schemeClr val="tx2"/>
          </a:solidFill>
          <a:latin typeface="Arial" charset="0"/>
        </a:defRPr>
      </a:lvl4pPr>
      <a:lvl5pPr algn="l" rtl="0" eaLnBrk="1" fontAlgn="base" hangingPunct="1">
        <a:lnSpc>
          <a:spcPct val="90000"/>
        </a:lnSpc>
        <a:spcBef>
          <a:spcPct val="0"/>
        </a:spcBef>
        <a:spcAft>
          <a:spcPct val="0"/>
        </a:spcAft>
        <a:defRPr sz="2200" b="1">
          <a:solidFill>
            <a:schemeClr val="tx2"/>
          </a:solidFill>
          <a:latin typeface="Arial" charset="0"/>
        </a:defRPr>
      </a:lvl5pPr>
      <a:lvl6pPr marL="457200" algn="l" rtl="0" eaLnBrk="1" fontAlgn="base" hangingPunct="1">
        <a:lnSpc>
          <a:spcPct val="90000"/>
        </a:lnSpc>
        <a:spcBef>
          <a:spcPct val="0"/>
        </a:spcBef>
        <a:spcAft>
          <a:spcPct val="0"/>
        </a:spcAft>
        <a:defRPr sz="2200" b="1">
          <a:solidFill>
            <a:schemeClr val="tx2"/>
          </a:solidFill>
          <a:latin typeface="Arial" charset="0"/>
        </a:defRPr>
      </a:lvl6pPr>
      <a:lvl7pPr marL="914400" algn="l" rtl="0" eaLnBrk="1" fontAlgn="base" hangingPunct="1">
        <a:lnSpc>
          <a:spcPct val="90000"/>
        </a:lnSpc>
        <a:spcBef>
          <a:spcPct val="0"/>
        </a:spcBef>
        <a:spcAft>
          <a:spcPct val="0"/>
        </a:spcAft>
        <a:defRPr sz="2200" b="1">
          <a:solidFill>
            <a:schemeClr val="tx2"/>
          </a:solidFill>
          <a:latin typeface="Arial" charset="0"/>
        </a:defRPr>
      </a:lvl7pPr>
      <a:lvl8pPr marL="1371600" algn="l" rtl="0" eaLnBrk="1" fontAlgn="base" hangingPunct="1">
        <a:lnSpc>
          <a:spcPct val="90000"/>
        </a:lnSpc>
        <a:spcBef>
          <a:spcPct val="0"/>
        </a:spcBef>
        <a:spcAft>
          <a:spcPct val="0"/>
        </a:spcAft>
        <a:defRPr sz="2200" b="1">
          <a:solidFill>
            <a:schemeClr val="tx2"/>
          </a:solidFill>
          <a:latin typeface="Arial" charset="0"/>
        </a:defRPr>
      </a:lvl8pPr>
      <a:lvl9pPr marL="1828800" algn="l" rtl="0" eaLnBrk="1" fontAlgn="base" hangingPunct="1">
        <a:lnSpc>
          <a:spcPct val="90000"/>
        </a:lnSpc>
        <a:spcBef>
          <a:spcPct val="0"/>
        </a:spcBef>
        <a:spcAft>
          <a:spcPct val="0"/>
        </a:spcAft>
        <a:defRPr sz="2200" b="1">
          <a:solidFill>
            <a:schemeClr val="tx2"/>
          </a:solidFill>
          <a:latin typeface="Arial" charset="0"/>
        </a:defRPr>
      </a:lvl9pPr>
    </p:titleStyle>
    <p:bodyStyle>
      <a:lvl1pPr algn="l" rtl="0" eaLnBrk="1" fontAlgn="base" hangingPunct="1">
        <a:spcBef>
          <a:spcPct val="0"/>
        </a:spcBef>
        <a:spcAft>
          <a:spcPct val="0"/>
        </a:spcAft>
        <a:defRPr sz="1600">
          <a:solidFill>
            <a:schemeClr val="tx1"/>
          </a:solidFill>
          <a:latin typeface="+mn-lt"/>
          <a:ea typeface="+mn-ea"/>
          <a:cs typeface="+mn-cs"/>
        </a:defRPr>
      </a:lvl1pPr>
      <a:lvl2pPr marL="363538" indent="-184150" algn="l" rtl="0" eaLnBrk="1" fontAlgn="base" hangingPunct="1">
        <a:spcBef>
          <a:spcPct val="0"/>
        </a:spcBef>
        <a:spcAft>
          <a:spcPct val="0"/>
        </a:spcAft>
        <a:buClr>
          <a:schemeClr val="folHlink"/>
        </a:buClr>
        <a:buFont typeface="Wingdings" pitchFamily="2" charset="2"/>
        <a:buChar char="§"/>
        <a:defRPr sz="1600">
          <a:solidFill>
            <a:schemeClr val="tx1"/>
          </a:solidFill>
          <a:latin typeface="+mn-lt"/>
        </a:defRPr>
      </a:lvl2pPr>
      <a:lvl3pPr marL="714375" indent="-171450" algn="l" rtl="0" eaLnBrk="1" fontAlgn="base" hangingPunct="1">
        <a:spcBef>
          <a:spcPct val="0"/>
        </a:spcBef>
        <a:spcAft>
          <a:spcPct val="0"/>
        </a:spcAft>
        <a:buClr>
          <a:schemeClr val="folHlink"/>
        </a:buClr>
        <a:buChar char="-"/>
        <a:defRPr sz="1400">
          <a:solidFill>
            <a:schemeClr val="tx1"/>
          </a:solidFill>
          <a:latin typeface="+mn-lt"/>
        </a:defRPr>
      </a:lvl3pPr>
      <a:lvl4pPr marL="1081088" indent="-177800" algn="l" rtl="0" eaLnBrk="1" fontAlgn="base" hangingPunct="1">
        <a:spcBef>
          <a:spcPct val="0"/>
        </a:spcBef>
        <a:spcAft>
          <a:spcPct val="0"/>
        </a:spcAft>
        <a:buChar char="-"/>
        <a:defRPr sz="1200">
          <a:solidFill>
            <a:schemeClr val="tx1"/>
          </a:solidFill>
          <a:latin typeface="+mn-lt"/>
        </a:defRPr>
      </a:lvl4pPr>
      <a:lvl5pPr marL="1438275" indent="-177800" algn="l" rtl="0" eaLnBrk="1" fontAlgn="base" hangingPunct="1">
        <a:spcBef>
          <a:spcPct val="0"/>
        </a:spcBef>
        <a:spcAft>
          <a:spcPct val="0"/>
        </a:spcAft>
        <a:buFont typeface="Arial" charset="0"/>
        <a:buChar char="»"/>
        <a:defRPr sz="1000">
          <a:solidFill>
            <a:schemeClr val="tx1"/>
          </a:solidFill>
          <a:latin typeface="+mn-lt"/>
        </a:defRPr>
      </a:lvl5pPr>
      <a:lvl6pPr marL="1895475" indent="-177800" algn="l" rtl="0" eaLnBrk="1" fontAlgn="base" hangingPunct="1">
        <a:spcBef>
          <a:spcPct val="0"/>
        </a:spcBef>
        <a:spcAft>
          <a:spcPct val="0"/>
        </a:spcAft>
        <a:buFont typeface="Arial" charset="0"/>
        <a:buChar char="»"/>
        <a:defRPr sz="1000">
          <a:solidFill>
            <a:schemeClr val="tx1"/>
          </a:solidFill>
          <a:latin typeface="+mn-lt"/>
        </a:defRPr>
      </a:lvl6pPr>
      <a:lvl7pPr marL="2352675" indent="-177800" algn="l" rtl="0" eaLnBrk="1" fontAlgn="base" hangingPunct="1">
        <a:spcBef>
          <a:spcPct val="0"/>
        </a:spcBef>
        <a:spcAft>
          <a:spcPct val="0"/>
        </a:spcAft>
        <a:buFont typeface="Arial" charset="0"/>
        <a:buChar char="»"/>
        <a:defRPr sz="1000">
          <a:solidFill>
            <a:schemeClr val="tx1"/>
          </a:solidFill>
          <a:latin typeface="+mn-lt"/>
        </a:defRPr>
      </a:lvl7pPr>
      <a:lvl8pPr marL="2809875" indent="-177800" algn="l" rtl="0" eaLnBrk="1" fontAlgn="base" hangingPunct="1">
        <a:spcBef>
          <a:spcPct val="0"/>
        </a:spcBef>
        <a:spcAft>
          <a:spcPct val="0"/>
        </a:spcAft>
        <a:buFont typeface="Arial" charset="0"/>
        <a:buChar char="»"/>
        <a:defRPr sz="1000">
          <a:solidFill>
            <a:schemeClr val="tx1"/>
          </a:solidFill>
          <a:latin typeface="+mn-lt"/>
        </a:defRPr>
      </a:lvl8pPr>
      <a:lvl9pPr marL="3267075" indent="-177800" algn="l" rtl="0" eaLnBrk="1" fontAlgn="base" hangingPunct="1">
        <a:spcBef>
          <a:spcPct val="0"/>
        </a:spcBef>
        <a:spcAft>
          <a:spcPct val="0"/>
        </a:spcAft>
        <a:buFont typeface="Arial" charset="0"/>
        <a:buChar char="»"/>
        <a:defRPr sz="1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250179" name="Rectangle 3"/>
          <p:cNvSpPr>
            <a:spLocks noGrp="1" noChangeArrowheads="1"/>
          </p:cNvSpPr>
          <p:nvPr>
            <p:ph type="body" idx="1"/>
          </p:nvPr>
        </p:nvSpPr>
        <p:spPr bwMode="auto">
          <a:xfrm>
            <a:off x="466725" y="1493838"/>
            <a:ext cx="8208963" cy="4806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250182" name="Rectangle 6"/>
          <p:cNvSpPr>
            <a:spLocks noGrp="1" noChangeArrowheads="1"/>
          </p:cNvSpPr>
          <p:nvPr>
            <p:ph type="title"/>
          </p:nvPr>
        </p:nvSpPr>
        <p:spPr bwMode="auto">
          <a:xfrm>
            <a:off x="466725" y="307975"/>
            <a:ext cx="7346950" cy="941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err="1"/>
              <a:t>Titel</a:t>
            </a:r>
            <a:endParaRPr lang="en-US" dirty="0"/>
          </a:p>
        </p:txBody>
      </p:sp>
      <p:sp>
        <p:nvSpPr>
          <p:cNvPr id="3250187" name="Freeform 11"/>
          <p:cNvSpPr>
            <a:spLocks noEditPoints="1"/>
          </p:cNvSpPr>
          <p:nvPr/>
        </p:nvSpPr>
        <p:spPr bwMode="auto">
          <a:xfrm>
            <a:off x="8216900" y="379414"/>
            <a:ext cx="463550" cy="488951"/>
          </a:xfrm>
          <a:custGeom>
            <a:avLst/>
            <a:gdLst>
              <a:gd name="T0" fmla="*/ 743 w 4092"/>
              <a:gd name="T1" fmla="*/ 3836 h 4104"/>
              <a:gd name="T2" fmla="*/ 1652 w 4092"/>
              <a:gd name="T3" fmla="*/ 3680 h 4104"/>
              <a:gd name="T4" fmla="*/ 2573 w 4092"/>
              <a:gd name="T5" fmla="*/ 3692 h 4104"/>
              <a:gd name="T6" fmla="*/ 3476 w 4092"/>
              <a:gd name="T7" fmla="*/ 3873 h 4104"/>
              <a:gd name="T8" fmla="*/ 0 w 4092"/>
              <a:gd name="T9" fmla="*/ 0 h 4104"/>
              <a:gd name="T10" fmla="*/ 3802 w 4092"/>
              <a:gd name="T11" fmla="*/ 1443 h 4104"/>
              <a:gd name="T12" fmla="*/ 3712 w 4092"/>
              <a:gd name="T13" fmla="*/ 1281 h 4104"/>
              <a:gd name="T14" fmla="*/ 3509 w 4092"/>
              <a:gd name="T15" fmla="*/ 1254 h 4104"/>
              <a:gd name="T16" fmla="*/ 3662 w 4092"/>
              <a:gd name="T17" fmla="*/ 1523 h 4104"/>
              <a:gd name="T18" fmla="*/ 3865 w 4092"/>
              <a:gd name="T19" fmla="*/ 1799 h 4104"/>
              <a:gd name="T20" fmla="*/ 3900 w 4092"/>
              <a:gd name="T21" fmla="*/ 2004 h 4104"/>
              <a:gd name="T22" fmla="*/ 3313 w 4092"/>
              <a:gd name="T23" fmla="*/ 1825 h 4104"/>
              <a:gd name="T24" fmla="*/ 3412 w 4092"/>
              <a:gd name="T25" fmla="*/ 1939 h 4104"/>
              <a:gd name="T26" fmla="*/ 3572 w 4092"/>
              <a:gd name="T27" fmla="*/ 1876 h 4104"/>
              <a:gd name="T28" fmla="*/ 3353 w 4092"/>
              <a:gd name="T29" fmla="*/ 1570 h 4104"/>
              <a:gd name="T30" fmla="*/ 3203 w 4092"/>
              <a:gd name="T31" fmla="*/ 1305 h 4104"/>
              <a:gd name="T32" fmla="*/ 2422 w 4092"/>
              <a:gd name="T33" fmla="*/ 1158 h 4104"/>
              <a:gd name="T34" fmla="*/ 2958 w 4092"/>
              <a:gd name="T35" fmla="*/ 1319 h 4104"/>
              <a:gd name="T36" fmla="*/ 2839 w 4092"/>
              <a:gd name="T37" fmla="*/ 1250 h 4104"/>
              <a:gd name="T38" fmla="*/ 2783 w 4092"/>
              <a:gd name="T39" fmla="*/ 1403 h 4104"/>
              <a:gd name="T40" fmla="*/ 2986 w 4092"/>
              <a:gd name="T41" fmla="*/ 1654 h 4104"/>
              <a:gd name="T42" fmla="*/ 3113 w 4092"/>
              <a:gd name="T43" fmla="*/ 1932 h 4104"/>
              <a:gd name="T44" fmla="*/ 2408 w 4092"/>
              <a:gd name="T45" fmla="*/ 1754 h 4104"/>
              <a:gd name="T46" fmla="*/ 2577 w 4092"/>
              <a:gd name="T47" fmla="*/ 1912 h 4104"/>
              <a:gd name="T48" fmla="*/ 2802 w 4092"/>
              <a:gd name="T49" fmla="*/ 1948 h 4104"/>
              <a:gd name="T50" fmla="*/ 2677 w 4092"/>
              <a:gd name="T51" fmla="*/ 1714 h 4104"/>
              <a:gd name="T52" fmla="*/ 2446 w 4092"/>
              <a:gd name="T53" fmla="*/ 1400 h 4104"/>
              <a:gd name="T54" fmla="*/ 1842 w 4092"/>
              <a:gd name="T55" fmla="*/ 1948 h 4104"/>
              <a:gd name="T56" fmla="*/ 1927 w 4092"/>
              <a:gd name="T57" fmla="*/ 1911 h 4104"/>
              <a:gd name="T58" fmla="*/ 1913 w 4092"/>
              <a:gd name="T59" fmla="*/ 1271 h 4104"/>
              <a:gd name="T60" fmla="*/ 2306 w 4092"/>
              <a:gd name="T61" fmla="*/ 1158 h 4104"/>
              <a:gd name="T62" fmla="*/ 2224 w 4092"/>
              <a:gd name="T63" fmla="*/ 1287 h 4104"/>
              <a:gd name="T64" fmla="*/ 2224 w 4092"/>
              <a:gd name="T65" fmla="*/ 1912 h 4104"/>
              <a:gd name="T66" fmla="*/ 2306 w 4092"/>
              <a:gd name="T67" fmla="*/ 2039 h 4104"/>
              <a:gd name="T68" fmla="*/ 1057 w 4092"/>
              <a:gd name="T69" fmla="*/ 1935 h 4104"/>
              <a:gd name="T70" fmla="*/ 1085 w 4092"/>
              <a:gd name="T71" fmla="*/ 1299 h 4104"/>
              <a:gd name="T72" fmla="*/ 1026 w 4092"/>
              <a:gd name="T73" fmla="*/ 1250 h 4104"/>
              <a:gd name="T74" fmla="*/ 1620 w 4092"/>
              <a:gd name="T75" fmla="*/ 1356 h 4104"/>
              <a:gd name="T76" fmla="*/ 1530 w 4092"/>
              <a:gd name="T77" fmla="*/ 1259 h 4104"/>
              <a:gd name="T78" fmla="*/ 1432 w 4092"/>
              <a:gd name="T79" fmla="*/ 1548 h 4104"/>
              <a:gd name="T80" fmla="*/ 1477 w 4092"/>
              <a:gd name="T81" fmla="*/ 1445 h 4104"/>
              <a:gd name="T82" fmla="*/ 1465 w 4092"/>
              <a:gd name="T83" fmla="*/ 1681 h 4104"/>
              <a:gd name="T84" fmla="*/ 1369 w 4092"/>
              <a:gd name="T85" fmla="*/ 1948 h 4104"/>
              <a:gd name="T86" fmla="*/ 1589 w 4092"/>
              <a:gd name="T87" fmla="*/ 1894 h 4104"/>
              <a:gd name="T88" fmla="*/ 1648 w 4092"/>
              <a:gd name="T89" fmla="*/ 1754 h 4104"/>
              <a:gd name="T90" fmla="*/ 180 w 4092"/>
              <a:gd name="T91" fmla="*/ 1948 h 4104"/>
              <a:gd name="T92" fmla="*/ 309 w 4092"/>
              <a:gd name="T93" fmla="*/ 1667 h 4104"/>
              <a:gd name="T94" fmla="*/ 538 w 4092"/>
              <a:gd name="T95" fmla="*/ 1368 h 4104"/>
              <a:gd name="T96" fmla="*/ 443 w 4092"/>
              <a:gd name="T97" fmla="*/ 1255 h 4104"/>
              <a:gd name="T98" fmla="*/ 315 w 4092"/>
              <a:gd name="T99" fmla="*/ 1374 h 4104"/>
              <a:gd name="T100" fmla="*/ 912 w 4092"/>
              <a:gd name="T101" fmla="*/ 1195 h 4104"/>
              <a:gd name="T102" fmla="*/ 784 w 4092"/>
              <a:gd name="T103" fmla="*/ 1516 h 4104"/>
              <a:gd name="T104" fmla="*/ 551 w 4092"/>
              <a:gd name="T105" fmla="*/ 1825 h 4104"/>
              <a:gd name="T106" fmla="*/ 707 w 4092"/>
              <a:gd name="T107" fmla="*/ 1925 h 4104"/>
              <a:gd name="T108" fmla="*/ 786 w 4092"/>
              <a:gd name="T109" fmla="*/ 1827 h 4104"/>
              <a:gd name="T110" fmla="*/ 173 w 4092"/>
              <a:gd name="T111" fmla="*/ 1998 h 4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92" h="4104">
                <a:moveTo>
                  <a:pt x="0" y="4104"/>
                </a:moveTo>
                <a:lnTo>
                  <a:pt x="121" y="4051"/>
                </a:lnTo>
                <a:lnTo>
                  <a:pt x="243" y="4001"/>
                </a:lnTo>
                <a:lnTo>
                  <a:pt x="366" y="3955"/>
                </a:lnTo>
                <a:lnTo>
                  <a:pt x="491" y="3912"/>
                </a:lnTo>
                <a:lnTo>
                  <a:pt x="617" y="3873"/>
                </a:lnTo>
                <a:lnTo>
                  <a:pt x="743" y="3836"/>
                </a:lnTo>
                <a:lnTo>
                  <a:pt x="871" y="3804"/>
                </a:lnTo>
                <a:lnTo>
                  <a:pt x="1000" y="3775"/>
                </a:lnTo>
                <a:lnTo>
                  <a:pt x="1129" y="3749"/>
                </a:lnTo>
                <a:lnTo>
                  <a:pt x="1259" y="3727"/>
                </a:lnTo>
                <a:lnTo>
                  <a:pt x="1389" y="3707"/>
                </a:lnTo>
                <a:lnTo>
                  <a:pt x="1521" y="3692"/>
                </a:lnTo>
                <a:lnTo>
                  <a:pt x="1652" y="3680"/>
                </a:lnTo>
                <a:lnTo>
                  <a:pt x="1783" y="3671"/>
                </a:lnTo>
                <a:lnTo>
                  <a:pt x="1915" y="3666"/>
                </a:lnTo>
                <a:lnTo>
                  <a:pt x="2047" y="3664"/>
                </a:lnTo>
                <a:lnTo>
                  <a:pt x="2178" y="3666"/>
                </a:lnTo>
                <a:lnTo>
                  <a:pt x="2311" y="3671"/>
                </a:lnTo>
                <a:lnTo>
                  <a:pt x="2442" y="3680"/>
                </a:lnTo>
                <a:lnTo>
                  <a:pt x="2573" y="3692"/>
                </a:lnTo>
                <a:lnTo>
                  <a:pt x="2704" y="3707"/>
                </a:lnTo>
                <a:lnTo>
                  <a:pt x="2835" y="3727"/>
                </a:lnTo>
                <a:lnTo>
                  <a:pt x="2964" y="3749"/>
                </a:lnTo>
                <a:lnTo>
                  <a:pt x="3093" y="3775"/>
                </a:lnTo>
                <a:lnTo>
                  <a:pt x="3222" y="3804"/>
                </a:lnTo>
                <a:lnTo>
                  <a:pt x="3350" y="3836"/>
                </a:lnTo>
                <a:lnTo>
                  <a:pt x="3476" y="3873"/>
                </a:lnTo>
                <a:lnTo>
                  <a:pt x="3602" y="3912"/>
                </a:lnTo>
                <a:lnTo>
                  <a:pt x="3726" y="3955"/>
                </a:lnTo>
                <a:lnTo>
                  <a:pt x="3850" y="4001"/>
                </a:lnTo>
                <a:lnTo>
                  <a:pt x="3972" y="4051"/>
                </a:lnTo>
                <a:lnTo>
                  <a:pt x="4092" y="4104"/>
                </a:lnTo>
                <a:lnTo>
                  <a:pt x="4092" y="0"/>
                </a:lnTo>
                <a:lnTo>
                  <a:pt x="0" y="0"/>
                </a:lnTo>
                <a:lnTo>
                  <a:pt x="0" y="4104"/>
                </a:lnTo>
                <a:close/>
                <a:moveTo>
                  <a:pt x="3198" y="1210"/>
                </a:moveTo>
                <a:lnTo>
                  <a:pt x="3205" y="1184"/>
                </a:lnTo>
                <a:lnTo>
                  <a:pt x="3214" y="1158"/>
                </a:lnTo>
                <a:lnTo>
                  <a:pt x="3891" y="1158"/>
                </a:lnTo>
                <a:lnTo>
                  <a:pt x="3891" y="1443"/>
                </a:lnTo>
                <a:lnTo>
                  <a:pt x="3802" y="1443"/>
                </a:lnTo>
                <a:lnTo>
                  <a:pt x="3788" y="1394"/>
                </a:lnTo>
                <a:lnTo>
                  <a:pt x="3770" y="1352"/>
                </a:lnTo>
                <a:lnTo>
                  <a:pt x="3761" y="1334"/>
                </a:lnTo>
                <a:lnTo>
                  <a:pt x="3749" y="1319"/>
                </a:lnTo>
                <a:lnTo>
                  <a:pt x="3738" y="1304"/>
                </a:lnTo>
                <a:lnTo>
                  <a:pt x="3725" y="1292"/>
                </a:lnTo>
                <a:lnTo>
                  <a:pt x="3712" y="1281"/>
                </a:lnTo>
                <a:lnTo>
                  <a:pt x="3698" y="1272"/>
                </a:lnTo>
                <a:lnTo>
                  <a:pt x="3682" y="1264"/>
                </a:lnTo>
                <a:lnTo>
                  <a:pt x="3667" y="1258"/>
                </a:lnTo>
                <a:lnTo>
                  <a:pt x="3631" y="1250"/>
                </a:lnTo>
                <a:lnTo>
                  <a:pt x="3592" y="1248"/>
                </a:lnTo>
                <a:lnTo>
                  <a:pt x="3509" y="1248"/>
                </a:lnTo>
                <a:lnTo>
                  <a:pt x="3509" y="1254"/>
                </a:lnTo>
                <a:lnTo>
                  <a:pt x="3517" y="1281"/>
                </a:lnTo>
                <a:lnTo>
                  <a:pt x="3528" y="1311"/>
                </a:lnTo>
                <a:lnTo>
                  <a:pt x="3548" y="1353"/>
                </a:lnTo>
                <a:lnTo>
                  <a:pt x="3575" y="1403"/>
                </a:lnTo>
                <a:lnTo>
                  <a:pt x="3613" y="1459"/>
                </a:lnTo>
                <a:lnTo>
                  <a:pt x="3635" y="1491"/>
                </a:lnTo>
                <a:lnTo>
                  <a:pt x="3662" y="1523"/>
                </a:lnTo>
                <a:lnTo>
                  <a:pt x="3691" y="1556"/>
                </a:lnTo>
                <a:lnTo>
                  <a:pt x="3724" y="1590"/>
                </a:lnTo>
                <a:lnTo>
                  <a:pt x="3749" y="1618"/>
                </a:lnTo>
                <a:lnTo>
                  <a:pt x="3778" y="1654"/>
                </a:lnTo>
                <a:lnTo>
                  <a:pt x="3808" y="1698"/>
                </a:lnTo>
                <a:lnTo>
                  <a:pt x="3838" y="1747"/>
                </a:lnTo>
                <a:lnTo>
                  <a:pt x="3865" y="1799"/>
                </a:lnTo>
                <a:lnTo>
                  <a:pt x="3887" y="1852"/>
                </a:lnTo>
                <a:lnTo>
                  <a:pt x="3895" y="1879"/>
                </a:lnTo>
                <a:lnTo>
                  <a:pt x="3901" y="1906"/>
                </a:lnTo>
                <a:lnTo>
                  <a:pt x="3904" y="1932"/>
                </a:lnTo>
                <a:lnTo>
                  <a:pt x="3906" y="1957"/>
                </a:lnTo>
                <a:lnTo>
                  <a:pt x="3905" y="1983"/>
                </a:lnTo>
                <a:lnTo>
                  <a:pt x="3900" y="2004"/>
                </a:lnTo>
                <a:lnTo>
                  <a:pt x="3893" y="2022"/>
                </a:lnTo>
                <a:lnTo>
                  <a:pt x="3883" y="2039"/>
                </a:lnTo>
                <a:lnTo>
                  <a:pt x="3199" y="2039"/>
                </a:lnTo>
                <a:lnTo>
                  <a:pt x="3199" y="1754"/>
                </a:lnTo>
                <a:lnTo>
                  <a:pt x="3293" y="1754"/>
                </a:lnTo>
                <a:lnTo>
                  <a:pt x="3302" y="1791"/>
                </a:lnTo>
                <a:lnTo>
                  <a:pt x="3313" y="1825"/>
                </a:lnTo>
                <a:lnTo>
                  <a:pt x="3328" y="1858"/>
                </a:lnTo>
                <a:lnTo>
                  <a:pt x="3346" y="1887"/>
                </a:lnTo>
                <a:lnTo>
                  <a:pt x="3356" y="1900"/>
                </a:lnTo>
                <a:lnTo>
                  <a:pt x="3369" y="1912"/>
                </a:lnTo>
                <a:lnTo>
                  <a:pt x="3381" y="1922"/>
                </a:lnTo>
                <a:lnTo>
                  <a:pt x="3396" y="1932"/>
                </a:lnTo>
                <a:lnTo>
                  <a:pt x="3412" y="1939"/>
                </a:lnTo>
                <a:lnTo>
                  <a:pt x="3430" y="1944"/>
                </a:lnTo>
                <a:lnTo>
                  <a:pt x="3450" y="1947"/>
                </a:lnTo>
                <a:lnTo>
                  <a:pt x="3472" y="1948"/>
                </a:lnTo>
                <a:lnTo>
                  <a:pt x="3594" y="1948"/>
                </a:lnTo>
                <a:lnTo>
                  <a:pt x="3594" y="1941"/>
                </a:lnTo>
                <a:lnTo>
                  <a:pt x="3586" y="1918"/>
                </a:lnTo>
                <a:lnTo>
                  <a:pt x="3572" y="1876"/>
                </a:lnTo>
                <a:lnTo>
                  <a:pt x="3554" y="1841"/>
                </a:lnTo>
                <a:lnTo>
                  <a:pt x="3529" y="1800"/>
                </a:lnTo>
                <a:lnTo>
                  <a:pt x="3499" y="1758"/>
                </a:lnTo>
                <a:lnTo>
                  <a:pt x="3469" y="1714"/>
                </a:lnTo>
                <a:lnTo>
                  <a:pt x="3412" y="1641"/>
                </a:lnTo>
                <a:lnTo>
                  <a:pt x="3383" y="1603"/>
                </a:lnTo>
                <a:lnTo>
                  <a:pt x="3353" y="1570"/>
                </a:lnTo>
                <a:lnTo>
                  <a:pt x="3324" y="1533"/>
                </a:lnTo>
                <a:lnTo>
                  <a:pt x="3288" y="1485"/>
                </a:lnTo>
                <a:lnTo>
                  <a:pt x="3254" y="1430"/>
                </a:lnTo>
                <a:lnTo>
                  <a:pt x="3238" y="1400"/>
                </a:lnTo>
                <a:lnTo>
                  <a:pt x="3224" y="1370"/>
                </a:lnTo>
                <a:lnTo>
                  <a:pt x="3212" y="1337"/>
                </a:lnTo>
                <a:lnTo>
                  <a:pt x="3203" y="1305"/>
                </a:lnTo>
                <a:lnTo>
                  <a:pt x="3197" y="1273"/>
                </a:lnTo>
                <a:lnTo>
                  <a:pt x="3195" y="1240"/>
                </a:lnTo>
                <a:lnTo>
                  <a:pt x="3198" y="1210"/>
                </a:lnTo>
                <a:close/>
                <a:moveTo>
                  <a:pt x="2404" y="1225"/>
                </a:moveTo>
                <a:lnTo>
                  <a:pt x="2406" y="1210"/>
                </a:lnTo>
                <a:lnTo>
                  <a:pt x="2413" y="1184"/>
                </a:lnTo>
                <a:lnTo>
                  <a:pt x="2422" y="1158"/>
                </a:lnTo>
                <a:lnTo>
                  <a:pt x="3099" y="1158"/>
                </a:lnTo>
                <a:lnTo>
                  <a:pt x="3099" y="1443"/>
                </a:lnTo>
                <a:lnTo>
                  <a:pt x="3010" y="1443"/>
                </a:lnTo>
                <a:lnTo>
                  <a:pt x="2996" y="1394"/>
                </a:lnTo>
                <a:lnTo>
                  <a:pt x="2978" y="1352"/>
                </a:lnTo>
                <a:lnTo>
                  <a:pt x="2968" y="1334"/>
                </a:lnTo>
                <a:lnTo>
                  <a:pt x="2958" y="1319"/>
                </a:lnTo>
                <a:lnTo>
                  <a:pt x="2945" y="1304"/>
                </a:lnTo>
                <a:lnTo>
                  <a:pt x="2933" y="1292"/>
                </a:lnTo>
                <a:lnTo>
                  <a:pt x="2920" y="1281"/>
                </a:lnTo>
                <a:lnTo>
                  <a:pt x="2906" y="1272"/>
                </a:lnTo>
                <a:lnTo>
                  <a:pt x="2890" y="1264"/>
                </a:lnTo>
                <a:lnTo>
                  <a:pt x="2875" y="1258"/>
                </a:lnTo>
                <a:lnTo>
                  <a:pt x="2839" y="1250"/>
                </a:lnTo>
                <a:lnTo>
                  <a:pt x="2800" y="1248"/>
                </a:lnTo>
                <a:lnTo>
                  <a:pt x="2717" y="1248"/>
                </a:lnTo>
                <a:lnTo>
                  <a:pt x="2717" y="1254"/>
                </a:lnTo>
                <a:lnTo>
                  <a:pt x="2725" y="1281"/>
                </a:lnTo>
                <a:lnTo>
                  <a:pt x="2737" y="1311"/>
                </a:lnTo>
                <a:lnTo>
                  <a:pt x="2756" y="1353"/>
                </a:lnTo>
                <a:lnTo>
                  <a:pt x="2783" y="1403"/>
                </a:lnTo>
                <a:lnTo>
                  <a:pt x="2820" y="1459"/>
                </a:lnTo>
                <a:lnTo>
                  <a:pt x="2844" y="1491"/>
                </a:lnTo>
                <a:lnTo>
                  <a:pt x="2870" y="1523"/>
                </a:lnTo>
                <a:lnTo>
                  <a:pt x="2900" y="1556"/>
                </a:lnTo>
                <a:lnTo>
                  <a:pt x="2932" y="1590"/>
                </a:lnTo>
                <a:lnTo>
                  <a:pt x="2957" y="1618"/>
                </a:lnTo>
                <a:lnTo>
                  <a:pt x="2986" y="1654"/>
                </a:lnTo>
                <a:lnTo>
                  <a:pt x="3016" y="1698"/>
                </a:lnTo>
                <a:lnTo>
                  <a:pt x="3046" y="1747"/>
                </a:lnTo>
                <a:lnTo>
                  <a:pt x="3073" y="1799"/>
                </a:lnTo>
                <a:lnTo>
                  <a:pt x="3095" y="1852"/>
                </a:lnTo>
                <a:lnTo>
                  <a:pt x="3103" y="1879"/>
                </a:lnTo>
                <a:lnTo>
                  <a:pt x="3109" y="1906"/>
                </a:lnTo>
                <a:lnTo>
                  <a:pt x="3113" y="1932"/>
                </a:lnTo>
                <a:lnTo>
                  <a:pt x="3114" y="1957"/>
                </a:lnTo>
                <a:lnTo>
                  <a:pt x="3113" y="1983"/>
                </a:lnTo>
                <a:lnTo>
                  <a:pt x="3108" y="2004"/>
                </a:lnTo>
                <a:lnTo>
                  <a:pt x="3101" y="2022"/>
                </a:lnTo>
                <a:lnTo>
                  <a:pt x="3090" y="2039"/>
                </a:lnTo>
                <a:lnTo>
                  <a:pt x="2408" y="2039"/>
                </a:lnTo>
                <a:lnTo>
                  <a:pt x="2408" y="1754"/>
                </a:lnTo>
                <a:lnTo>
                  <a:pt x="2500" y="1754"/>
                </a:lnTo>
                <a:lnTo>
                  <a:pt x="2510" y="1791"/>
                </a:lnTo>
                <a:lnTo>
                  <a:pt x="2521" y="1825"/>
                </a:lnTo>
                <a:lnTo>
                  <a:pt x="2536" y="1858"/>
                </a:lnTo>
                <a:lnTo>
                  <a:pt x="2554" y="1887"/>
                </a:lnTo>
                <a:lnTo>
                  <a:pt x="2564" y="1900"/>
                </a:lnTo>
                <a:lnTo>
                  <a:pt x="2577" y="1912"/>
                </a:lnTo>
                <a:lnTo>
                  <a:pt x="2590" y="1922"/>
                </a:lnTo>
                <a:lnTo>
                  <a:pt x="2605" y="1932"/>
                </a:lnTo>
                <a:lnTo>
                  <a:pt x="2620" y="1939"/>
                </a:lnTo>
                <a:lnTo>
                  <a:pt x="2639" y="1944"/>
                </a:lnTo>
                <a:lnTo>
                  <a:pt x="2659" y="1947"/>
                </a:lnTo>
                <a:lnTo>
                  <a:pt x="2681" y="1948"/>
                </a:lnTo>
                <a:lnTo>
                  <a:pt x="2802" y="1948"/>
                </a:lnTo>
                <a:lnTo>
                  <a:pt x="2802" y="1941"/>
                </a:lnTo>
                <a:lnTo>
                  <a:pt x="2794" y="1918"/>
                </a:lnTo>
                <a:lnTo>
                  <a:pt x="2781" y="1876"/>
                </a:lnTo>
                <a:lnTo>
                  <a:pt x="2762" y="1841"/>
                </a:lnTo>
                <a:lnTo>
                  <a:pt x="2737" y="1800"/>
                </a:lnTo>
                <a:lnTo>
                  <a:pt x="2708" y="1758"/>
                </a:lnTo>
                <a:lnTo>
                  <a:pt x="2677" y="1714"/>
                </a:lnTo>
                <a:lnTo>
                  <a:pt x="2620" y="1641"/>
                </a:lnTo>
                <a:lnTo>
                  <a:pt x="2589" y="1603"/>
                </a:lnTo>
                <a:lnTo>
                  <a:pt x="2561" y="1570"/>
                </a:lnTo>
                <a:lnTo>
                  <a:pt x="2531" y="1533"/>
                </a:lnTo>
                <a:lnTo>
                  <a:pt x="2496" y="1485"/>
                </a:lnTo>
                <a:lnTo>
                  <a:pt x="2462" y="1430"/>
                </a:lnTo>
                <a:lnTo>
                  <a:pt x="2446" y="1400"/>
                </a:lnTo>
                <a:lnTo>
                  <a:pt x="2433" y="1370"/>
                </a:lnTo>
                <a:lnTo>
                  <a:pt x="2420" y="1337"/>
                </a:lnTo>
                <a:lnTo>
                  <a:pt x="2411" y="1305"/>
                </a:lnTo>
                <a:lnTo>
                  <a:pt x="2406" y="1273"/>
                </a:lnTo>
                <a:lnTo>
                  <a:pt x="2402" y="1240"/>
                </a:lnTo>
                <a:lnTo>
                  <a:pt x="2404" y="1225"/>
                </a:lnTo>
                <a:close/>
                <a:moveTo>
                  <a:pt x="1842" y="1948"/>
                </a:moveTo>
                <a:lnTo>
                  <a:pt x="1876" y="1948"/>
                </a:lnTo>
                <a:lnTo>
                  <a:pt x="1884" y="1947"/>
                </a:lnTo>
                <a:lnTo>
                  <a:pt x="1894" y="1943"/>
                </a:lnTo>
                <a:lnTo>
                  <a:pt x="1903" y="1937"/>
                </a:lnTo>
                <a:lnTo>
                  <a:pt x="1913" y="1930"/>
                </a:lnTo>
                <a:lnTo>
                  <a:pt x="1921" y="1920"/>
                </a:lnTo>
                <a:lnTo>
                  <a:pt x="1927" y="1911"/>
                </a:lnTo>
                <a:lnTo>
                  <a:pt x="1931" y="1901"/>
                </a:lnTo>
                <a:lnTo>
                  <a:pt x="1932" y="1892"/>
                </a:lnTo>
                <a:lnTo>
                  <a:pt x="1932" y="1308"/>
                </a:lnTo>
                <a:lnTo>
                  <a:pt x="1931" y="1299"/>
                </a:lnTo>
                <a:lnTo>
                  <a:pt x="1927" y="1289"/>
                </a:lnTo>
                <a:lnTo>
                  <a:pt x="1921" y="1280"/>
                </a:lnTo>
                <a:lnTo>
                  <a:pt x="1913" y="1271"/>
                </a:lnTo>
                <a:lnTo>
                  <a:pt x="1903" y="1262"/>
                </a:lnTo>
                <a:lnTo>
                  <a:pt x="1893" y="1255"/>
                </a:lnTo>
                <a:lnTo>
                  <a:pt x="1882" y="1251"/>
                </a:lnTo>
                <a:lnTo>
                  <a:pt x="1872" y="1250"/>
                </a:lnTo>
                <a:lnTo>
                  <a:pt x="1842" y="1250"/>
                </a:lnTo>
                <a:lnTo>
                  <a:pt x="1842" y="1158"/>
                </a:lnTo>
                <a:lnTo>
                  <a:pt x="2306" y="1158"/>
                </a:lnTo>
                <a:lnTo>
                  <a:pt x="2306" y="1250"/>
                </a:lnTo>
                <a:lnTo>
                  <a:pt x="2275" y="1250"/>
                </a:lnTo>
                <a:lnTo>
                  <a:pt x="2263" y="1252"/>
                </a:lnTo>
                <a:lnTo>
                  <a:pt x="2251" y="1257"/>
                </a:lnTo>
                <a:lnTo>
                  <a:pt x="2241" y="1265"/>
                </a:lnTo>
                <a:lnTo>
                  <a:pt x="2232" y="1276"/>
                </a:lnTo>
                <a:lnTo>
                  <a:pt x="2224" y="1287"/>
                </a:lnTo>
                <a:lnTo>
                  <a:pt x="2219" y="1299"/>
                </a:lnTo>
                <a:lnTo>
                  <a:pt x="2216" y="1309"/>
                </a:lnTo>
                <a:lnTo>
                  <a:pt x="2214" y="1319"/>
                </a:lnTo>
                <a:lnTo>
                  <a:pt x="2214" y="1881"/>
                </a:lnTo>
                <a:lnTo>
                  <a:pt x="2215" y="1890"/>
                </a:lnTo>
                <a:lnTo>
                  <a:pt x="2219" y="1900"/>
                </a:lnTo>
                <a:lnTo>
                  <a:pt x="2224" y="1912"/>
                </a:lnTo>
                <a:lnTo>
                  <a:pt x="2230" y="1923"/>
                </a:lnTo>
                <a:lnTo>
                  <a:pt x="2239" y="1933"/>
                </a:lnTo>
                <a:lnTo>
                  <a:pt x="2249" y="1941"/>
                </a:lnTo>
                <a:lnTo>
                  <a:pt x="2260" y="1946"/>
                </a:lnTo>
                <a:lnTo>
                  <a:pt x="2271" y="1948"/>
                </a:lnTo>
                <a:lnTo>
                  <a:pt x="2306" y="1948"/>
                </a:lnTo>
                <a:lnTo>
                  <a:pt x="2306" y="2039"/>
                </a:lnTo>
                <a:lnTo>
                  <a:pt x="1842" y="2039"/>
                </a:lnTo>
                <a:lnTo>
                  <a:pt x="1842" y="1948"/>
                </a:lnTo>
                <a:close/>
                <a:moveTo>
                  <a:pt x="995" y="1946"/>
                </a:moveTo>
                <a:lnTo>
                  <a:pt x="1030" y="1946"/>
                </a:lnTo>
                <a:lnTo>
                  <a:pt x="1038" y="1944"/>
                </a:lnTo>
                <a:lnTo>
                  <a:pt x="1047" y="1941"/>
                </a:lnTo>
                <a:lnTo>
                  <a:pt x="1057" y="1935"/>
                </a:lnTo>
                <a:lnTo>
                  <a:pt x="1066" y="1927"/>
                </a:lnTo>
                <a:lnTo>
                  <a:pt x="1075" y="1918"/>
                </a:lnTo>
                <a:lnTo>
                  <a:pt x="1081" y="1909"/>
                </a:lnTo>
                <a:lnTo>
                  <a:pt x="1085" y="1899"/>
                </a:lnTo>
                <a:lnTo>
                  <a:pt x="1086" y="1889"/>
                </a:lnTo>
                <a:lnTo>
                  <a:pt x="1086" y="1308"/>
                </a:lnTo>
                <a:lnTo>
                  <a:pt x="1085" y="1299"/>
                </a:lnTo>
                <a:lnTo>
                  <a:pt x="1081" y="1289"/>
                </a:lnTo>
                <a:lnTo>
                  <a:pt x="1075" y="1280"/>
                </a:lnTo>
                <a:lnTo>
                  <a:pt x="1066" y="1271"/>
                </a:lnTo>
                <a:lnTo>
                  <a:pt x="1057" y="1262"/>
                </a:lnTo>
                <a:lnTo>
                  <a:pt x="1046" y="1256"/>
                </a:lnTo>
                <a:lnTo>
                  <a:pt x="1036" y="1251"/>
                </a:lnTo>
                <a:lnTo>
                  <a:pt x="1026" y="1250"/>
                </a:lnTo>
                <a:lnTo>
                  <a:pt x="995" y="1250"/>
                </a:lnTo>
                <a:lnTo>
                  <a:pt x="995" y="1158"/>
                </a:lnTo>
                <a:lnTo>
                  <a:pt x="1742" y="1158"/>
                </a:lnTo>
                <a:lnTo>
                  <a:pt x="1742" y="1443"/>
                </a:lnTo>
                <a:lnTo>
                  <a:pt x="1648" y="1443"/>
                </a:lnTo>
                <a:lnTo>
                  <a:pt x="1635" y="1397"/>
                </a:lnTo>
                <a:lnTo>
                  <a:pt x="1620" y="1356"/>
                </a:lnTo>
                <a:lnTo>
                  <a:pt x="1602" y="1323"/>
                </a:lnTo>
                <a:lnTo>
                  <a:pt x="1592" y="1308"/>
                </a:lnTo>
                <a:lnTo>
                  <a:pt x="1581" y="1296"/>
                </a:lnTo>
                <a:lnTo>
                  <a:pt x="1570" y="1284"/>
                </a:lnTo>
                <a:lnTo>
                  <a:pt x="1557" y="1275"/>
                </a:lnTo>
                <a:lnTo>
                  <a:pt x="1544" y="1267"/>
                </a:lnTo>
                <a:lnTo>
                  <a:pt x="1530" y="1259"/>
                </a:lnTo>
                <a:lnTo>
                  <a:pt x="1514" y="1254"/>
                </a:lnTo>
                <a:lnTo>
                  <a:pt x="1498" y="1251"/>
                </a:lnTo>
                <a:lnTo>
                  <a:pt x="1461" y="1248"/>
                </a:lnTo>
                <a:lnTo>
                  <a:pt x="1369" y="1248"/>
                </a:lnTo>
                <a:lnTo>
                  <a:pt x="1369" y="1553"/>
                </a:lnTo>
                <a:lnTo>
                  <a:pt x="1416" y="1553"/>
                </a:lnTo>
                <a:lnTo>
                  <a:pt x="1432" y="1548"/>
                </a:lnTo>
                <a:lnTo>
                  <a:pt x="1441" y="1542"/>
                </a:lnTo>
                <a:lnTo>
                  <a:pt x="1452" y="1533"/>
                </a:lnTo>
                <a:lnTo>
                  <a:pt x="1461" y="1524"/>
                </a:lnTo>
                <a:lnTo>
                  <a:pt x="1470" y="1513"/>
                </a:lnTo>
                <a:lnTo>
                  <a:pt x="1475" y="1500"/>
                </a:lnTo>
                <a:lnTo>
                  <a:pt x="1477" y="1485"/>
                </a:lnTo>
                <a:lnTo>
                  <a:pt x="1477" y="1445"/>
                </a:lnTo>
                <a:lnTo>
                  <a:pt x="1568" y="1445"/>
                </a:lnTo>
                <a:lnTo>
                  <a:pt x="1568" y="1752"/>
                </a:lnTo>
                <a:lnTo>
                  <a:pt x="1477" y="1752"/>
                </a:lnTo>
                <a:lnTo>
                  <a:pt x="1477" y="1714"/>
                </a:lnTo>
                <a:lnTo>
                  <a:pt x="1476" y="1704"/>
                </a:lnTo>
                <a:lnTo>
                  <a:pt x="1472" y="1693"/>
                </a:lnTo>
                <a:lnTo>
                  <a:pt x="1465" y="1681"/>
                </a:lnTo>
                <a:lnTo>
                  <a:pt x="1457" y="1671"/>
                </a:lnTo>
                <a:lnTo>
                  <a:pt x="1447" y="1661"/>
                </a:lnTo>
                <a:lnTo>
                  <a:pt x="1433" y="1652"/>
                </a:lnTo>
                <a:lnTo>
                  <a:pt x="1419" y="1646"/>
                </a:lnTo>
                <a:lnTo>
                  <a:pt x="1401" y="1644"/>
                </a:lnTo>
                <a:lnTo>
                  <a:pt x="1369" y="1644"/>
                </a:lnTo>
                <a:lnTo>
                  <a:pt x="1369" y="1948"/>
                </a:lnTo>
                <a:lnTo>
                  <a:pt x="1471" y="1948"/>
                </a:lnTo>
                <a:lnTo>
                  <a:pt x="1497" y="1946"/>
                </a:lnTo>
                <a:lnTo>
                  <a:pt x="1524" y="1939"/>
                </a:lnTo>
                <a:lnTo>
                  <a:pt x="1551" y="1925"/>
                </a:lnTo>
                <a:lnTo>
                  <a:pt x="1564" y="1917"/>
                </a:lnTo>
                <a:lnTo>
                  <a:pt x="1577" y="1907"/>
                </a:lnTo>
                <a:lnTo>
                  <a:pt x="1589" y="1894"/>
                </a:lnTo>
                <a:lnTo>
                  <a:pt x="1600" y="1881"/>
                </a:lnTo>
                <a:lnTo>
                  <a:pt x="1611" y="1865"/>
                </a:lnTo>
                <a:lnTo>
                  <a:pt x="1621" y="1847"/>
                </a:lnTo>
                <a:lnTo>
                  <a:pt x="1629" y="1827"/>
                </a:lnTo>
                <a:lnTo>
                  <a:pt x="1637" y="1805"/>
                </a:lnTo>
                <a:lnTo>
                  <a:pt x="1644" y="1781"/>
                </a:lnTo>
                <a:lnTo>
                  <a:pt x="1648" y="1754"/>
                </a:lnTo>
                <a:lnTo>
                  <a:pt x="1742" y="1754"/>
                </a:lnTo>
                <a:lnTo>
                  <a:pt x="1742" y="2039"/>
                </a:lnTo>
                <a:lnTo>
                  <a:pt x="995" y="2039"/>
                </a:lnTo>
                <a:lnTo>
                  <a:pt x="995" y="1946"/>
                </a:lnTo>
                <a:close/>
                <a:moveTo>
                  <a:pt x="173" y="1998"/>
                </a:moveTo>
                <a:lnTo>
                  <a:pt x="174" y="1983"/>
                </a:lnTo>
                <a:lnTo>
                  <a:pt x="180" y="1948"/>
                </a:lnTo>
                <a:lnTo>
                  <a:pt x="192" y="1901"/>
                </a:lnTo>
                <a:lnTo>
                  <a:pt x="201" y="1874"/>
                </a:lnTo>
                <a:lnTo>
                  <a:pt x="213" y="1846"/>
                </a:lnTo>
                <a:lnTo>
                  <a:pt x="235" y="1796"/>
                </a:lnTo>
                <a:lnTo>
                  <a:pt x="267" y="1734"/>
                </a:lnTo>
                <a:lnTo>
                  <a:pt x="287" y="1700"/>
                </a:lnTo>
                <a:lnTo>
                  <a:pt x="309" y="1667"/>
                </a:lnTo>
                <a:lnTo>
                  <a:pt x="334" y="1635"/>
                </a:lnTo>
                <a:lnTo>
                  <a:pt x="360" y="1605"/>
                </a:lnTo>
                <a:lnTo>
                  <a:pt x="392" y="1572"/>
                </a:lnTo>
                <a:lnTo>
                  <a:pt x="420" y="1540"/>
                </a:lnTo>
                <a:lnTo>
                  <a:pt x="469" y="1477"/>
                </a:lnTo>
                <a:lnTo>
                  <a:pt x="508" y="1420"/>
                </a:lnTo>
                <a:lnTo>
                  <a:pt x="538" y="1368"/>
                </a:lnTo>
                <a:lnTo>
                  <a:pt x="559" y="1324"/>
                </a:lnTo>
                <a:lnTo>
                  <a:pt x="574" y="1289"/>
                </a:lnTo>
                <a:lnTo>
                  <a:pt x="588" y="1254"/>
                </a:lnTo>
                <a:lnTo>
                  <a:pt x="588" y="1248"/>
                </a:lnTo>
                <a:lnTo>
                  <a:pt x="506" y="1248"/>
                </a:lnTo>
                <a:lnTo>
                  <a:pt x="472" y="1250"/>
                </a:lnTo>
                <a:lnTo>
                  <a:pt x="443" y="1255"/>
                </a:lnTo>
                <a:lnTo>
                  <a:pt x="418" y="1264"/>
                </a:lnTo>
                <a:lnTo>
                  <a:pt x="395" y="1276"/>
                </a:lnTo>
                <a:lnTo>
                  <a:pt x="375" y="1289"/>
                </a:lnTo>
                <a:lnTo>
                  <a:pt x="359" y="1305"/>
                </a:lnTo>
                <a:lnTo>
                  <a:pt x="344" y="1322"/>
                </a:lnTo>
                <a:lnTo>
                  <a:pt x="332" y="1340"/>
                </a:lnTo>
                <a:lnTo>
                  <a:pt x="315" y="1374"/>
                </a:lnTo>
                <a:lnTo>
                  <a:pt x="303" y="1405"/>
                </a:lnTo>
                <a:lnTo>
                  <a:pt x="295" y="1443"/>
                </a:lnTo>
                <a:lnTo>
                  <a:pt x="206" y="1443"/>
                </a:lnTo>
                <a:lnTo>
                  <a:pt x="206" y="1158"/>
                </a:lnTo>
                <a:lnTo>
                  <a:pt x="913" y="1158"/>
                </a:lnTo>
                <a:lnTo>
                  <a:pt x="913" y="1182"/>
                </a:lnTo>
                <a:lnTo>
                  <a:pt x="912" y="1195"/>
                </a:lnTo>
                <a:lnTo>
                  <a:pt x="907" y="1226"/>
                </a:lnTo>
                <a:lnTo>
                  <a:pt x="897" y="1271"/>
                </a:lnTo>
                <a:lnTo>
                  <a:pt x="881" y="1325"/>
                </a:lnTo>
                <a:lnTo>
                  <a:pt x="859" y="1379"/>
                </a:lnTo>
                <a:lnTo>
                  <a:pt x="835" y="1428"/>
                </a:lnTo>
                <a:lnTo>
                  <a:pt x="810" y="1474"/>
                </a:lnTo>
                <a:lnTo>
                  <a:pt x="784" y="1516"/>
                </a:lnTo>
                <a:lnTo>
                  <a:pt x="757" y="1554"/>
                </a:lnTo>
                <a:lnTo>
                  <a:pt x="730" y="1590"/>
                </a:lnTo>
                <a:lnTo>
                  <a:pt x="673" y="1658"/>
                </a:lnTo>
                <a:lnTo>
                  <a:pt x="620" y="1723"/>
                </a:lnTo>
                <a:lnTo>
                  <a:pt x="596" y="1756"/>
                </a:lnTo>
                <a:lnTo>
                  <a:pt x="572" y="1790"/>
                </a:lnTo>
                <a:lnTo>
                  <a:pt x="551" y="1825"/>
                </a:lnTo>
                <a:lnTo>
                  <a:pt x="533" y="1864"/>
                </a:lnTo>
                <a:lnTo>
                  <a:pt x="516" y="1904"/>
                </a:lnTo>
                <a:lnTo>
                  <a:pt x="503" y="1948"/>
                </a:lnTo>
                <a:lnTo>
                  <a:pt x="624" y="1948"/>
                </a:lnTo>
                <a:lnTo>
                  <a:pt x="651" y="1946"/>
                </a:lnTo>
                <a:lnTo>
                  <a:pt x="680" y="1939"/>
                </a:lnTo>
                <a:lnTo>
                  <a:pt x="707" y="1925"/>
                </a:lnTo>
                <a:lnTo>
                  <a:pt x="720" y="1917"/>
                </a:lnTo>
                <a:lnTo>
                  <a:pt x="733" y="1907"/>
                </a:lnTo>
                <a:lnTo>
                  <a:pt x="744" y="1894"/>
                </a:lnTo>
                <a:lnTo>
                  <a:pt x="756" y="1881"/>
                </a:lnTo>
                <a:lnTo>
                  <a:pt x="767" y="1865"/>
                </a:lnTo>
                <a:lnTo>
                  <a:pt x="777" y="1847"/>
                </a:lnTo>
                <a:lnTo>
                  <a:pt x="786" y="1827"/>
                </a:lnTo>
                <a:lnTo>
                  <a:pt x="793" y="1805"/>
                </a:lnTo>
                <a:lnTo>
                  <a:pt x="799" y="1781"/>
                </a:lnTo>
                <a:lnTo>
                  <a:pt x="805" y="1754"/>
                </a:lnTo>
                <a:lnTo>
                  <a:pt x="897" y="1754"/>
                </a:lnTo>
                <a:lnTo>
                  <a:pt x="897" y="2039"/>
                </a:lnTo>
                <a:lnTo>
                  <a:pt x="173" y="2039"/>
                </a:lnTo>
                <a:lnTo>
                  <a:pt x="173" y="1998"/>
                </a:lnTo>
                <a:close/>
              </a:path>
            </a:pathLst>
          </a:custGeom>
          <a:solidFill>
            <a:srgbClr val="0000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sz="1600">
              <a:solidFill>
                <a:srgbClr val="000000"/>
              </a:solidFill>
            </a:endParaRPr>
          </a:p>
        </p:txBody>
      </p:sp>
      <p:sp>
        <p:nvSpPr>
          <p:cNvPr id="3250201" name="Line 9"/>
          <p:cNvSpPr>
            <a:spLocks noChangeShapeType="1"/>
          </p:cNvSpPr>
          <p:nvPr/>
        </p:nvSpPr>
        <p:spPr bwMode="auto">
          <a:xfrm flipV="1">
            <a:off x="0" y="1258888"/>
            <a:ext cx="9140825"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600">
              <a:solidFill>
                <a:srgbClr val="000000"/>
              </a:solidFill>
            </a:endParaRPr>
          </a:p>
        </p:txBody>
      </p:sp>
      <p:sp>
        <p:nvSpPr>
          <p:cNvPr id="3250202" name="Line 26"/>
          <p:cNvSpPr>
            <a:spLocks noChangeShapeType="1"/>
          </p:cNvSpPr>
          <p:nvPr/>
        </p:nvSpPr>
        <p:spPr bwMode="auto">
          <a:xfrm flipV="1">
            <a:off x="0" y="6569075"/>
            <a:ext cx="9140825"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600">
              <a:solidFill>
                <a:srgbClr val="000000"/>
              </a:solidFill>
            </a:endParaRPr>
          </a:p>
        </p:txBody>
      </p:sp>
      <p:sp>
        <p:nvSpPr>
          <p:cNvPr id="8" name="Date Placeholder 3"/>
          <p:cNvSpPr>
            <a:spLocks noGrp="1"/>
          </p:cNvSpPr>
          <p:nvPr>
            <p:ph type="dt" sz="half" idx="2"/>
          </p:nvPr>
        </p:nvSpPr>
        <p:spPr>
          <a:xfrm>
            <a:off x="6448425" y="6643689"/>
            <a:ext cx="1117600" cy="160337"/>
          </a:xfrm>
          <a:prstGeom prst="rect">
            <a:avLst/>
          </a:prstGeom>
        </p:spPr>
        <p:txBody>
          <a:bodyPr anchor="ctr"/>
          <a:lstStyle>
            <a:lvl1pPr algn="l">
              <a:defRPr sz="800"/>
            </a:lvl1pPr>
          </a:lstStyle>
          <a:p>
            <a:pPr eaLnBrk="0" fontAlgn="base" hangingPunct="0">
              <a:spcBef>
                <a:spcPct val="0"/>
              </a:spcBef>
              <a:spcAft>
                <a:spcPct val="0"/>
              </a:spcAft>
            </a:pPr>
            <a:fld id="{0FCA21AA-E20F-4AF4-8A2D-CCD01AB38734}" type="datetime1">
              <a:rPr lang="de-DE" smtClean="0">
                <a:solidFill>
                  <a:srgbClr val="000000"/>
                </a:solidFill>
              </a:rPr>
              <a:pPr eaLnBrk="0" fontAlgn="base" hangingPunct="0">
                <a:spcBef>
                  <a:spcPct val="0"/>
                </a:spcBef>
                <a:spcAft>
                  <a:spcPct val="0"/>
                </a:spcAft>
              </a:pPr>
              <a:t>28.02.2019</a:t>
            </a:fld>
            <a:endParaRPr lang="en-US" dirty="0">
              <a:solidFill>
                <a:srgbClr val="000000"/>
              </a:solidFill>
            </a:endParaRPr>
          </a:p>
        </p:txBody>
      </p:sp>
      <p:sp>
        <p:nvSpPr>
          <p:cNvPr id="10" name="Footer Placeholder 5"/>
          <p:cNvSpPr>
            <a:spLocks noGrp="1"/>
          </p:cNvSpPr>
          <p:nvPr>
            <p:ph type="ftr" sz="quarter" idx="3"/>
          </p:nvPr>
        </p:nvSpPr>
        <p:spPr>
          <a:xfrm>
            <a:off x="466725" y="6643688"/>
            <a:ext cx="5702300" cy="161925"/>
          </a:xfrm>
          <a:prstGeom prst="rect">
            <a:avLst/>
          </a:prstGeom>
        </p:spPr>
        <p:txBody>
          <a:bodyPr anchor="ctr"/>
          <a:lstStyle>
            <a:lvl1pPr algn="l">
              <a:defRPr sz="800"/>
            </a:lvl1pPr>
          </a:lstStyle>
          <a:p>
            <a:pPr eaLnBrk="0" fontAlgn="base" hangingPunct="0">
              <a:spcBef>
                <a:spcPct val="0"/>
              </a:spcBef>
              <a:spcAft>
                <a:spcPct val="0"/>
              </a:spcAft>
            </a:pPr>
            <a:r>
              <a:rPr lang="en-US">
                <a:solidFill>
                  <a:srgbClr val="000000"/>
                </a:solidFill>
              </a:rPr>
              <a:t>Carl Zeiss Microscopy</a:t>
            </a:r>
            <a:endParaRPr lang="en-US" dirty="0">
              <a:solidFill>
                <a:srgbClr val="000000"/>
              </a:solidFill>
            </a:endParaRPr>
          </a:p>
        </p:txBody>
      </p:sp>
    </p:spTree>
    <p:custDataLst>
      <p:tags r:id="rId26"/>
    </p:custDataLst>
    <p:extLst>
      <p:ext uri="{BB962C8B-B14F-4D97-AF65-F5344CB8AC3E}">
        <p14:creationId xmlns:p14="http://schemas.microsoft.com/office/powerpoint/2010/main" val="1086557727"/>
      </p:ext>
    </p:extLst>
  </p:cSld>
  <p:clrMap bg1="lt1" tx1="dk1" bg2="lt2" tx2="dk2" accent1="accent1" accent2="accent2" accent3="accent3" accent4="accent4" accent5="accent5" accent6="accent6" hlink="hlink" folHlink="folHlink"/>
  <p:sldLayoutIdLst>
    <p:sldLayoutId id="2147483847"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 id="2147483858" r:id="rId12"/>
    <p:sldLayoutId id="2147483859" r:id="rId13"/>
    <p:sldLayoutId id="2147483860" r:id="rId14"/>
    <p:sldLayoutId id="2147483861" r:id="rId15"/>
    <p:sldLayoutId id="2147483862" r:id="rId16"/>
    <p:sldLayoutId id="2147483863" r:id="rId17"/>
    <p:sldLayoutId id="2147483864" r:id="rId18"/>
    <p:sldLayoutId id="2147483865" r:id="rId19"/>
    <p:sldLayoutId id="2147483866" r:id="rId20"/>
    <p:sldLayoutId id="2147483867" r:id="rId21"/>
    <p:sldLayoutId id="2147483868" r:id="rId22"/>
    <p:sldLayoutId id="2147483869" r:id="rId23"/>
    <p:sldLayoutId id="2147483870" r:id="rId24"/>
  </p:sldLayoutIdLst>
  <p:hf hdr="0"/>
  <p:txStyles>
    <p:titleStyle>
      <a:lvl1pPr algn="l" rtl="0" eaLnBrk="1" fontAlgn="base" hangingPunct="1">
        <a:lnSpc>
          <a:spcPct val="90000"/>
        </a:lnSpc>
        <a:spcBef>
          <a:spcPct val="0"/>
        </a:spcBef>
        <a:spcAft>
          <a:spcPct val="0"/>
        </a:spcAft>
        <a:defRPr sz="2200" b="1">
          <a:solidFill>
            <a:schemeClr val="tx2"/>
          </a:solidFill>
          <a:latin typeface="+mj-lt"/>
          <a:ea typeface="+mj-ea"/>
          <a:cs typeface="+mj-cs"/>
        </a:defRPr>
      </a:lvl1pPr>
      <a:lvl2pPr algn="l" rtl="0" eaLnBrk="1" fontAlgn="base" hangingPunct="1">
        <a:lnSpc>
          <a:spcPct val="90000"/>
        </a:lnSpc>
        <a:spcBef>
          <a:spcPct val="0"/>
        </a:spcBef>
        <a:spcAft>
          <a:spcPct val="0"/>
        </a:spcAft>
        <a:defRPr sz="2200" b="1">
          <a:solidFill>
            <a:schemeClr val="tx2"/>
          </a:solidFill>
          <a:latin typeface="Arial" charset="0"/>
        </a:defRPr>
      </a:lvl2pPr>
      <a:lvl3pPr algn="l" rtl="0" eaLnBrk="1" fontAlgn="base" hangingPunct="1">
        <a:lnSpc>
          <a:spcPct val="90000"/>
        </a:lnSpc>
        <a:spcBef>
          <a:spcPct val="0"/>
        </a:spcBef>
        <a:spcAft>
          <a:spcPct val="0"/>
        </a:spcAft>
        <a:defRPr sz="2200" b="1">
          <a:solidFill>
            <a:schemeClr val="tx2"/>
          </a:solidFill>
          <a:latin typeface="Arial" charset="0"/>
        </a:defRPr>
      </a:lvl3pPr>
      <a:lvl4pPr algn="l" rtl="0" eaLnBrk="1" fontAlgn="base" hangingPunct="1">
        <a:lnSpc>
          <a:spcPct val="90000"/>
        </a:lnSpc>
        <a:spcBef>
          <a:spcPct val="0"/>
        </a:spcBef>
        <a:spcAft>
          <a:spcPct val="0"/>
        </a:spcAft>
        <a:defRPr sz="2200" b="1">
          <a:solidFill>
            <a:schemeClr val="tx2"/>
          </a:solidFill>
          <a:latin typeface="Arial" charset="0"/>
        </a:defRPr>
      </a:lvl4pPr>
      <a:lvl5pPr algn="l" rtl="0" eaLnBrk="1" fontAlgn="base" hangingPunct="1">
        <a:lnSpc>
          <a:spcPct val="90000"/>
        </a:lnSpc>
        <a:spcBef>
          <a:spcPct val="0"/>
        </a:spcBef>
        <a:spcAft>
          <a:spcPct val="0"/>
        </a:spcAft>
        <a:defRPr sz="2200" b="1">
          <a:solidFill>
            <a:schemeClr val="tx2"/>
          </a:solidFill>
          <a:latin typeface="Arial" charset="0"/>
        </a:defRPr>
      </a:lvl5pPr>
      <a:lvl6pPr marL="457200" algn="l" rtl="0" eaLnBrk="1" fontAlgn="base" hangingPunct="1">
        <a:lnSpc>
          <a:spcPct val="90000"/>
        </a:lnSpc>
        <a:spcBef>
          <a:spcPct val="0"/>
        </a:spcBef>
        <a:spcAft>
          <a:spcPct val="0"/>
        </a:spcAft>
        <a:defRPr sz="2200" b="1">
          <a:solidFill>
            <a:schemeClr val="tx2"/>
          </a:solidFill>
          <a:latin typeface="Arial" charset="0"/>
        </a:defRPr>
      </a:lvl6pPr>
      <a:lvl7pPr marL="914400" algn="l" rtl="0" eaLnBrk="1" fontAlgn="base" hangingPunct="1">
        <a:lnSpc>
          <a:spcPct val="90000"/>
        </a:lnSpc>
        <a:spcBef>
          <a:spcPct val="0"/>
        </a:spcBef>
        <a:spcAft>
          <a:spcPct val="0"/>
        </a:spcAft>
        <a:defRPr sz="2200" b="1">
          <a:solidFill>
            <a:schemeClr val="tx2"/>
          </a:solidFill>
          <a:latin typeface="Arial" charset="0"/>
        </a:defRPr>
      </a:lvl7pPr>
      <a:lvl8pPr marL="1371600" algn="l" rtl="0" eaLnBrk="1" fontAlgn="base" hangingPunct="1">
        <a:lnSpc>
          <a:spcPct val="90000"/>
        </a:lnSpc>
        <a:spcBef>
          <a:spcPct val="0"/>
        </a:spcBef>
        <a:spcAft>
          <a:spcPct val="0"/>
        </a:spcAft>
        <a:defRPr sz="2200" b="1">
          <a:solidFill>
            <a:schemeClr val="tx2"/>
          </a:solidFill>
          <a:latin typeface="Arial" charset="0"/>
        </a:defRPr>
      </a:lvl8pPr>
      <a:lvl9pPr marL="1828800" algn="l" rtl="0" eaLnBrk="1" fontAlgn="base" hangingPunct="1">
        <a:lnSpc>
          <a:spcPct val="90000"/>
        </a:lnSpc>
        <a:spcBef>
          <a:spcPct val="0"/>
        </a:spcBef>
        <a:spcAft>
          <a:spcPct val="0"/>
        </a:spcAft>
        <a:defRPr sz="2200" b="1">
          <a:solidFill>
            <a:schemeClr val="tx2"/>
          </a:solidFill>
          <a:latin typeface="Arial" charset="0"/>
        </a:defRPr>
      </a:lvl9pPr>
    </p:titleStyle>
    <p:bodyStyle>
      <a:lvl1pPr algn="l" rtl="0" eaLnBrk="1" fontAlgn="base" hangingPunct="1">
        <a:spcBef>
          <a:spcPct val="0"/>
        </a:spcBef>
        <a:spcAft>
          <a:spcPct val="0"/>
        </a:spcAft>
        <a:defRPr sz="1600">
          <a:solidFill>
            <a:schemeClr val="tx1"/>
          </a:solidFill>
          <a:latin typeface="+mn-lt"/>
          <a:ea typeface="+mn-ea"/>
          <a:cs typeface="+mn-cs"/>
        </a:defRPr>
      </a:lvl1pPr>
      <a:lvl2pPr marL="363538" indent="-184150" algn="l" rtl="0" eaLnBrk="1" fontAlgn="base" hangingPunct="1">
        <a:spcBef>
          <a:spcPct val="0"/>
        </a:spcBef>
        <a:spcAft>
          <a:spcPct val="0"/>
        </a:spcAft>
        <a:buClr>
          <a:schemeClr val="folHlink"/>
        </a:buClr>
        <a:buFont typeface="Wingdings" pitchFamily="2" charset="2"/>
        <a:buChar char="§"/>
        <a:defRPr sz="1600">
          <a:solidFill>
            <a:schemeClr val="tx1"/>
          </a:solidFill>
          <a:latin typeface="+mn-lt"/>
        </a:defRPr>
      </a:lvl2pPr>
      <a:lvl3pPr marL="714375" indent="-171450" algn="l" rtl="0" eaLnBrk="1" fontAlgn="base" hangingPunct="1">
        <a:spcBef>
          <a:spcPct val="0"/>
        </a:spcBef>
        <a:spcAft>
          <a:spcPct val="0"/>
        </a:spcAft>
        <a:buClr>
          <a:schemeClr val="folHlink"/>
        </a:buClr>
        <a:buChar char="-"/>
        <a:defRPr sz="1400">
          <a:solidFill>
            <a:schemeClr val="tx1"/>
          </a:solidFill>
          <a:latin typeface="+mn-lt"/>
        </a:defRPr>
      </a:lvl3pPr>
      <a:lvl4pPr marL="1081088" indent="-177800" algn="l" rtl="0" eaLnBrk="1" fontAlgn="base" hangingPunct="1">
        <a:spcBef>
          <a:spcPct val="0"/>
        </a:spcBef>
        <a:spcAft>
          <a:spcPct val="0"/>
        </a:spcAft>
        <a:buChar char="-"/>
        <a:defRPr sz="1200">
          <a:solidFill>
            <a:schemeClr val="tx1"/>
          </a:solidFill>
          <a:latin typeface="+mn-lt"/>
        </a:defRPr>
      </a:lvl4pPr>
      <a:lvl5pPr marL="1438275" indent="-177800" algn="l" rtl="0" eaLnBrk="1" fontAlgn="base" hangingPunct="1">
        <a:spcBef>
          <a:spcPct val="0"/>
        </a:spcBef>
        <a:spcAft>
          <a:spcPct val="0"/>
        </a:spcAft>
        <a:buFont typeface="Arial" charset="0"/>
        <a:buChar char="»"/>
        <a:defRPr sz="1000">
          <a:solidFill>
            <a:schemeClr val="tx1"/>
          </a:solidFill>
          <a:latin typeface="+mn-lt"/>
        </a:defRPr>
      </a:lvl5pPr>
      <a:lvl6pPr marL="1895475" indent="-177800" algn="l" rtl="0" eaLnBrk="1" fontAlgn="base" hangingPunct="1">
        <a:spcBef>
          <a:spcPct val="0"/>
        </a:spcBef>
        <a:spcAft>
          <a:spcPct val="0"/>
        </a:spcAft>
        <a:buFont typeface="Arial" charset="0"/>
        <a:buChar char="»"/>
        <a:defRPr sz="1000">
          <a:solidFill>
            <a:schemeClr val="tx1"/>
          </a:solidFill>
          <a:latin typeface="+mn-lt"/>
        </a:defRPr>
      </a:lvl6pPr>
      <a:lvl7pPr marL="2352675" indent="-177800" algn="l" rtl="0" eaLnBrk="1" fontAlgn="base" hangingPunct="1">
        <a:spcBef>
          <a:spcPct val="0"/>
        </a:spcBef>
        <a:spcAft>
          <a:spcPct val="0"/>
        </a:spcAft>
        <a:buFont typeface="Arial" charset="0"/>
        <a:buChar char="»"/>
        <a:defRPr sz="1000">
          <a:solidFill>
            <a:schemeClr val="tx1"/>
          </a:solidFill>
          <a:latin typeface="+mn-lt"/>
        </a:defRPr>
      </a:lvl7pPr>
      <a:lvl8pPr marL="2809875" indent="-177800" algn="l" rtl="0" eaLnBrk="1" fontAlgn="base" hangingPunct="1">
        <a:spcBef>
          <a:spcPct val="0"/>
        </a:spcBef>
        <a:spcAft>
          <a:spcPct val="0"/>
        </a:spcAft>
        <a:buFont typeface="Arial" charset="0"/>
        <a:buChar char="»"/>
        <a:defRPr sz="1000">
          <a:solidFill>
            <a:schemeClr val="tx1"/>
          </a:solidFill>
          <a:latin typeface="+mn-lt"/>
        </a:defRPr>
      </a:lvl8pPr>
      <a:lvl9pPr marL="3267075" indent="-177800" algn="l" rtl="0" eaLnBrk="1" fontAlgn="base" hangingPunct="1">
        <a:spcBef>
          <a:spcPct val="0"/>
        </a:spcBef>
        <a:spcAft>
          <a:spcPct val="0"/>
        </a:spcAft>
        <a:buFont typeface="Arial" charset="0"/>
        <a:buChar char="»"/>
        <a:defRPr sz="1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Folie" r:id="rId18" imgW="270" imgH="270" progId="TCLayout.ActiveDocument.1">
                  <p:embed/>
                </p:oleObj>
              </mc:Choice>
              <mc:Fallback>
                <p:oleObj name="think-cell Folie" r:id="rId18" imgW="270" imgH="270" progId="TCLayout.ActiveDocument.1">
                  <p:embed/>
                  <p:pic>
                    <p:nvPicPr>
                      <p:cNvPr id="2" name="Objekt 1" hidden="1"/>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1026" name="Rectangle 3"/>
          <p:cNvSpPr>
            <a:spLocks noGrp="1" noChangeArrowheads="1"/>
          </p:cNvSpPr>
          <p:nvPr>
            <p:ph type="body" idx="1"/>
          </p:nvPr>
        </p:nvSpPr>
        <p:spPr bwMode="auto">
          <a:xfrm>
            <a:off x="466725" y="1708150"/>
            <a:ext cx="8208963" cy="4462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p>
            <a:pPr lvl="0"/>
            <a:r>
              <a:rPr lang="de-DE" altLang="de-DE"/>
              <a:t>Textmasterformate durch Klicken bearbeiten</a:t>
            </a:r>
          </a:p>
          <a:p>
            <a:pPr lvl="1"/>
            <a:r>
              <a:rPr lang="de-DE" altLang="de-DE"/>
              <a:t>Zweite Ebene</a:t>
            </a:r>
          </a:p>
          <a:p>
            <a:pPr lvl="2"/>
            <a:r>
              <a:rPr lang="de-DE" altLang="de-DE"/>
              <a:t>Dritte Ebene</a:t>
            </a:r>
          </a:p>
          <a:p>
            <a:pPr lvl="3"/>
            <a:r>
              <a:rPr lang="de-DE" altLang="de-DE"/>
              <a:t>Vierte Ebene</a:t>
            </a:r>
          </a:p>
          <a:p>
            <a:pPr lvl="4"/>
            <a:r>
              <a:rPr lang="de-DE" altLang="de-DE"/>
              <a:t>Fünfte Ebene</a:t>
            </a:r>
          </a:p>
        </p:txBody>
      </p:sp>
      <p:sp>
        <p:nvSpPr>
          <p:cNvPr id="1027" name="Rectangle 6"/>
          <p:cNvSpPr>
            <a:spLocks noGrp="1" noChangeArrowheads="1"/>
          </p:cNvSpPr>
          <p:nvPr>
            <p:ph type="title"/>
          </p:nvPr>
        </p:nvSpPr>
        <p:spPr bwMode="auto">
          <a:xfrm>
            <a:off x="466725" y="307975"/>
            <a:ext cx="6208713" cy="941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de-DE"/>
              <a:t>Titel</a:t>
            </a:r>
          </a:p>
        </p:txBody>
      </p:sp>
      <p:sp>
        <p:nvSpPr>
          <p:cNvPr id="1028" name="Freeform 11"/>
          <p:cNvSpPr>
            <a:spLocks noEditPoints="1"/>
          </p:cNvSpPr>
          <p:nvPr/>
        </p:nvSpPr>
        <p:spPr bwMode="auto">
          <a:xfrm>
            <a:off x="8216900" y="379413"/>
            <a:ext cx="463550" cy="488950"/>
          </a:xfrm>
          <a:custGeom>
            <a:avLst/>
            <a:gdLst>
              <a:gd name="T0" fmla="*/ 84169 w 4092"/>
              <a:gd name="T1" fmla="*/ 457021 h 4104"/>
              <a:gd name="T2" fmla="*/ 187142 w 4092"/>
              <a:gd name="T3" fmla="*/ 438435 h 4104"/>
              <a:gd name="T4" fmla="*/ 291475 w 4092"/>
              <a:gd name="T5" fmla="*/ 439864 h 4104"/>
              <a:gd name="T6" fmla="*/ 393768 w 4092"/>
              <a:gd name="T7" fmla="*/ 461429 h 4104"/>
              <a:gd name="T8" fmla="*/ 0 w 4092"/>
              <a:gd name="T9" fmla="*/ 0 h 4104"/>
              <a:gd name="T10" fmla="*/ 430698 w 4092"/>
              <a:gd name="T11" fmla="*/ 171919 h 4104"/>
              <a:gd name="T12" fmla="*/ 420503 w 4092"/>
              <a:gd name="T13" fmla="*/ 152618 h 4104"/>
              <a:gd name="T14" fmla="*/ 397507 w 4092"/>
              <a:gd name="T15" fmla="*/ 149401 h 4104"/>
              <a:gd name="T16" fmla="*/ 414839 w 4092"/>
              <a:gd name="T17" fmla="*/ 181450 h 4104"/>
              <a:gd name="T18" fmla="*/ 437835 w 4092"/>
              <a:gd name="T19" fmla="*/ 214333 h 4104"/>
              <a:gd name="T20" fmla="*/ 441800 w 4092"/>
              <a:gd name="T21" fmla="*/ 238756 h 4104"/>
              <a:gd name="T22" fmla="*/ 375303 w 4092"/>
              <a:gd name="T23" fmla="*/ 217430 h 4104"/>
              <a:gd name="T24" fmla="*/ 386518 w 4092"/>
              <a:gd name="T25" fmla="*/ 231012 h 4104"/>
              <a:gd name="T26" fmla="*/ 404643 w 4092"/>
              <a:gd name="T27" fmla="*/ 223506 h 4104"/>
              <a:gd name="T28" fmla="*/ 379835 w 4092"/>
              <a:gd name="T29" fmla="*/ 187050 h 4104"/>
              <a:gd name="T30" fmla="*/ 362842 w 4092"/>
              <a:gd name="T31" fmla="*/ 155478 h 4104"/>
              <a:gd name="T32" fmla="*/ 274369 w 4092"/>
              <a:gd name="T33" fmla="*/ 137964 h 4104"/>
              <a:gd name="T34" fmla="*/ 335088 w 4092"/>
              <a:gd name="T35" fmla="*/ 157145 h 4104"/>
              <a:gd name="T36" fmla="*/ 321608 w 4092"/>
              <a:gd name="T37" fmla="*/ 148925 h 4104"/>
              <a:gd name="T38" fmla="*/ 315264 w 4092"/>
              <a:gd name="T39" fmla="*/ 167153 h 4104"/>
              <a:gd name="T40" fmla="*/ 338260 w 4092"/>
              <a:gd name="T41" fmla="*/ 197057 h 4104"/>
              <a:gd name="T42" fmla="*/ 352647 w 4092"/>
              <a:gd name="T43" fmla="*/ 230178 h 4104"/>
              <a:gd name="T44" fmla="*/ 272783 w 4092"/>
              <a:gd name="T45" fmla="*/ 208971 h 4104"/>
              <a:gd name="T46" fmla="*/ 291928 w 4092"/>
              <a:gd name="T47" fmla="*/ 227795 h 4104"/>
              <a:gd name="T48" fmla="*/ 317416 w 4092"/>
              <a:gd name="T49" fmla="*/ 232084 h 4104"/>
              <a:gd name="T50" fmla="*/ 303256 w 4092"/>
              <a:gd name="T51" fmla="*/ 204206 h 4104"/>
              <a:gd name="T52" fmla="*/ 277088 w 4092"/>
              <a:gd name="T53" fmla="*/ 166796 h 4104"/>
              <a:gd name="T54" fmla="*/ 208665 w 4092"/>
              <a:gd name="T55" fmla="*/ 232084 h 4104"/>
              <a:gd name="T56" fmla="*/ 218294 w 4092"/>
              <a:gd name="T57" fmla="*/ 227676 h 4104"/>
              <a:gd name="T58" fmla="*/ 216708 w 4092"/>
              <a:gd name="T59" fmla="*/ 151427 h 4104"/>
              <a:gd name="T60" fmla="*/ 261228 w 4092"/>
              <a:gd name="T61" fmla="*/ 137964 h 4104"/>
              <a:gd name="T62" fmla="*/ 251939 w 4092"/>
              <a:gd name="T63" fmla="*/ 153333 h 4104"/>
              <a:gd name="T64" fmla="*/ 251939 w 4092"/>
              <a:gd name="T65" fmla="*/ 227795 h 4104"/>
              <a:gd name="T66" fmla="*/ 261228 w 4092"/>
              <a:gd name="T67" fmla="*/ 242926 h 4104"/>
              <a:gd name="T68" fmla="*/ 119739 w 4092"/>
              <a:gd name="T69" fmla="*/ 230536 h 4104"/>
              <a:gd name="T70" fmla="*/ 122911 w 4092"/>
              <a:gd name="T71" fmla="*/ 154763 h 4104"/>
              <a:gd name="T72" fmla="*/ 116227 w 4092"/>
              <a:gd name="T73" fmla="*/ 148925 h 4104"/>
              <a:gd name="T74" fmla="*/ 183517 w 4092"/>
              <a:gd name="T75" fmla="*/ 161554 h 4104"/>
              <a:gd name="T76" fmla="*/ 173321 w 4092"/>
              <a:gd name="T77" fmla="*/ 149997 h 4104"/>
              <a:gd name="T78" fmla="*/ 162220 w 4092"/>
              <a:gd name="T79" fmla="*/ 184429 h 4104"/>
              <a:gd name="T80" fmla="*/ 167318 w 4092"/>
              <a:gd name="T81" fmla="*/ 172157 h 4104"/>
              <a:gd name="T82" fmla="*/ 165958 w 4092"/>
              <a:gd name="T83" fmla="*/ 200274 h 4104"/>
              <a:gd name="T84" fmla="*/ 155083 w 4092"/>
              <a:gd name="T85" fmla="*/ 232084 h 4104"/>
              <a:gd name="T86" fmla="*/ 180005 w 4092"/>
              <a:gd name="T87" fmla="*/ 225651 h 4104"/>
              <a:gd name="T88" fmla="*/ 186689 w 4092"/>
              <a:gd name="T89" fmla="*/ 208971 h 4104"/>
              <a:gd name="T90" fmla="*/ 20391 w 4092"/>
              <a:gd name="T91" fmla="*/ 232084 h 4104"/>
              <a:gd name="T92" fmla="*/ 35004 w 4092"/>
              <a:gd name="T93" fmla="*/ 198606 h 4104"/>
              <a:gd name="T94" fmla="*/ 60946 w 4092"/>
              <a:gd name="T95" fmla="*/ 162983 h 4104"/>
              <a:gd name="T96" fmla="*/ 50184 w 4092"/>
              <a:gd name="T97" fmla="*/ 149521 h 4104"/>
              <a:gd name="T98" fmla="*/ 35684 w 4092"/>
              <a:gd name="T99" fmla="*/ 163698 h 4104"/>
              <a:gd name="T100" fmla="*/ 103313 w 4092"/>
              <a:gd name="T101" fmla="*/ 142372 h 4104"/>
              <a:gd name="T102" fmla="*/ 88813 w 4092"/>
              <a:gd name="T103" fmla="*/ 180616 h 4104"/>
              <a:gd name="T104" fmla="*/ 62418 w 4092"/>
              <a:gd name="T105" fmla="*/ 217430 h 4104"/>
              <a:gd name="T106" fmla="*/ 80090 w 4092"/>
              <a:gd name="T107" fmla="*/ 229344 h 4104"/>
              <a:gd name="T108" fmla="*/ 89040 w 4092"/>
              <a:gd name="T109" fmla="*/ 217669 h 4104"/>
              <a:gd name="T110" fmla="*/ 19598 w 4092"/>
              <a:gd name="T111" fmla="*/ 238041 h 410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092" h="4104">
                <a:moveTo>
                  <a:pt x="0" y="4104"/>
                </a:moveTo>
                <a:lnTo>
                  <a:pt x="121" y="4051"/>
                </a:lnTo>
                <a:lnTo>
                  <a:pt x="243" y="4001"/>
                </a:lnTo>
                <a:lnTo>
                  <a:pt x="366" y="3955"/>
                </a:lnTo>
                <a:lnTo>
                  <a:pt x="491" y="3912"/>
                </a:lnTo>
                <a:lnTo>
                  <a:pt x="617" y="3873"/>
                </a:lnTo>
                <a:lnTo>
                  <a:pt x="743" y="3836"/>
                </a:lnTo>
                <a:lnTo>
                  <a:pt x="871" y="3804"/>
                </a:lnTo>
                <a:lnTo>
                  <a:pt x="1000" y="3775"/>
                </a:lnTo>
                <a:lnTo>
                  <a:pt x="1129" y="3749"/>
                </a:lnTo>
                <a:lnTo>
                  <a:pt x="1259" y="3727"/>
                </a:lnTo>
                <a:lnTo>
                  <a:pt x="1389" y="3707"/>
                </a:lnTo>
                <a:lnTo>
                  <a:pt x="1521" y="3692"/>
                </a:lnTo>
                <a:lnTo>
                  <a:pt x="1652" y="3680"/>
                </a:lnTo>
                <a:lnTo>
                  <a:pt x="1783" y="3671"/>
                </a:lnTo>
                <a:lnTo>
                  <a:pt x="1915" y="3666"/>
                </a:lnTo>
                <a:lnTo>
                  <a:pt x="2047" y="3664"/>
                </a:lnTo>
                <a:lnTo>
                  <a:pt x="2178" y="3666"/>
                </a:lnTo>
                <a:lnTo>
                  <a:pt x="2311" y="3671"/>
                </a:lnTo>
                <a:lnTo>
                  <a:pt x="2442" y="3680"/>
                </a:lnTo>
                <a:lnTo>
                  <a:pt x="2573" y="3692"/>
                </a:lnTo>
                <a:lnTo>
                  <a:pt x="2704" y="3707"/>
                </a:lnTo>
                <a:lnTo>
                  <a:pt x="2835" y="3727"/>
                </a:lnTo>
                <a:lnTo>
                  <a:pt x="2964" y="3749"/>
                </a:lnTo>
                <a:lnTo>
                  <a:pt x="3093" y="3775"/>
                </a:lnTo>
                <a:lnTo>
                  <a:pt x="3222" y="3804"/>
                </a:lnTo>
                <a:lnTo>
                  <a:pt x="3350" y="3836"/>
                </a:lnTo>
                <a:lnTo>
                  <a:pt x="3476" y="3873"/>
                </a:lnTo>
                <a:lnTo>
                  <a:pt x="3602" y="3912"/>
                </a:lnTo>
                <a:lnTo>
                  <a:pt x="3726" y="3955"/>
                </a:lnTo>
                <a:lnTo>
                  <a:pt x="3850" y="4001"/>
                </a:lnTo>
                <a:lnTo>
                  <a:pt x="3972" y="4051"/>
                </a:lnTo>
                <a:lnTo>
                  <a:pt x="4092" y="4104"/>
                </a:lnTo>
                <a:lnTo>
                  <a:pt x="4092" y="0"/>
                </a:lnTo>
                <a:lnTo>
                  <a:pt x="0" y="0"/>
                </a:lnTo>
                <a:lnTo>
                  <a:pt x="0" y="4104"/>
                </a:lnTo>
                <a:close/>
                <a:moveTo>
                  <a:pt x="3198" y="1210"/>
                </a:moveTo>
                <a:lnTo>
                  <a:pt x="3205" y="1184"/>
                </a:lnTo>
                <a:lnTo>
                  <a:pt x="3214" y="1158"/>
                </a:lnTo>
                <a:lnTo>
                  <a:pt x="3891" y="1158"/>
                </a:lnTo>
                <a:lnTo>
                  <a:pt x="3891" y="1443"/>
                </a:lnTo>
                <a:lnTo>
                  <a:pt x="3802" y="1443"/>
                </a:lnTo>
                <a:lnTo>
                  <a:pt x="3788" y="1394"/>
                </a:lnTo>
                <a:lnTo>
                  <a:pt x="3770" y="1352"/>
                </a:lnTo>
                <a:lnTo>
                  <a:pt x="3761" y="1334"/>
                </a:lnTo>
                <a:lnTo>
                  <a:pt x="3749" y="1319"/>
                </a:lnTo>
                <a:lnTo>
                  <a:pt x="3738" y="1304"/>
                </a:lnTo>
                <a:lnTo>
                  <a:pt x="3725" y="1292"/>
                </a:lnTo>
                <a:lnTo>
                  <a:pt x="3712" y="1281"/>
                </a:lnTo>
                <a:lnTo>
                  <a:pt x="3698" y="1272"/>
                </a:lnTo>
                <a:lnTo>
                  <a:pt x="3682" y="1264"/>
                </a:lnTo>
                <a:lnTo>
                  <a:pt x="3667" y="1258"/>
                </a:lnTo>
                <a:lnTo>
                  <a:pt x="3631" y="1250"/>
                </a:lnTo>
                <a:lnTo>
                  <a:pt x="3592" y="1248"/>
                </a:lnTo>
                <a:lnTo>
                  <a:pt x="3509" y="1248"/>
                </a:lnTo>
                <a:lnTo>
                  <a:pt x="3509" y="1254"/>
                </a:lnTo>
                <a:lnTo>
                  <a:pt x="3517" y="1281"/>
                </a:lnTo>
                <a:lnTo>
                  <a:pt x="3528" y="1311"/>
                </a:lnTo>
                <a:lnTo>
                  <a:pt x="3548" y="1353"/>
                </a:lnTo>
                <a:lnTo>
                  <a:pt x="3575" y="1403"/>
                </a:lnTo>
                <a:lnTo>
                  <a:pt x="3613" y="1459"/>
                </a:lnTo>
                <a:lnTo>
                  <a:pt x="3635" y="1491"/>
                </a:lnTo>
                <a:lnTo>
                  <a:pt x="3662" y="1523"/>
                </a:lnTo>
                <a:lnTo>
                  <a:pt x="3691" y="1556"/>
                </a:lnTo>
                <a:lnTo>
                  <a:pt x="3724" y="1590"/>
                </a:lnTo>
                <a:lnTo>
                  <a:pt x="3749" y="1618"/>
                </a:lnTo>
                <a:lnTo>
                  <a:pt x="3778" y="1654"/>
                </a:lnTo>
                <a:lnTo>
                  <a:pt x="3808" y="1698"/>
                </a:lnTo>
                <a:lnTo>
                  <a:pt x="3838" y="1747"/>
                </a:lnTo>
                <a:lnTo>
                  <a:pt x="3865" y="1799"/>
                </a:lnTo>
                <a:lnTo>
                  <a:pt x="3887" y="1852"/>
                </a:lnTo>
                <a:lnTo>
                  <a:pt x="3895" y="1879"/>
                </a:lnTo>
                <a:lnTo>
                  <a:pt x="3901" y="1906"/>
                </a:lnTo>
                <a:lnTo>
                  <a:pt x="3904" y="1932"/>
                </a:lnTo>
                <a:lnTo>
                  <a:pt x="3906" y="1957"/>
                </a:lnTo>
                <a:lnTo>
                  <a:pt x="3905" y="1983"/>
                </a:lnTo>
                <a:lnTo>
                  <a:pt x="3900" y="2004"/>
                </a:lnTo>
                <a:lnTo>
                  <a:pt x="3893" y="2022"/>
                </a:lnTo>
                <a:lnTo>
                  <a:pt x="3883" y="2039"/>
                </a:lnTo>
                <a:lnTo>
                  <a:pt x="3199" y="2039"/>
                </a:lnTo>
                <a:lnTo>
                  <a:pt x="3199" y="1754"/>
                </a:lnTo>
                <a:lnTo>
                  <a:pt x="3293" y="1754"/>
                </a:lnTo>
                <a:lnTo>
                  <a:pt x="3302" y="1791"/>
                </a:lnTo>
                <a:lnTo>
                  <a:pt x="3313" y="1825"/>
                </a:lnTo>
                <a:lnTo>
                  <a:pt x="3328" y="1858"/>
                </a:lnTo>
                <a:lnTo>
                  <a:pt x="3346" y="1887"/>
                </a:lnTo>
                <a:lnTo>
                  <a:pt x="3356" y="1900"/>
                </a:lnTo>
                <a:lnTo>
                  <a:pt x="3369" y="1912"/>
                </a:lnTo>
                <a:lnTo>
                  <a:pt x="3381" y="1922"/>
                </a:lnTo>
                <a:lnTo>
                  <a:pt x="3396" y="1932"/>
                </a:lnTo>
                <a:lnTo>
                  <a:pt x="3412" y="1939"/>
                </a:lnTo>
                <a:lnTo>
                  <a:pt x="3430" y="1944"/>
                </a:lnTo>
                <a:lnTo>
                  <a:pt x="3450" y="1947"/>
                </a:lnTo>
                <a:lnTo>
                  <a:pt x="3472" y="1948"/>
                </a:lnTo>
                <a:lnTo>
                  <a:pt x="3594" y="1948"/>
                </a:lnTo>
                <a:lnTo>
                  <a:pt x="3594" y="1941"/>
                </a:lnTo>
                <a:lnTo>
                  <a:pt x="3586" y="1918"/>
                </a:lnTo>
                <a:lnTo>
                  <a:pt x="3572" y="1876"/>
                </a:lnTo>
                <a:lnTo>
                  <a:pt x="3554" y="1841"/>
                </a:lnTo>
                <a:lnTo>
                  <a:pt x="3529" y="1800"/>
                </a:lnTo>
                <a:lnTo>
                  <a:pt x="3499" y="1758"/>
                </a:lnTo>
                <a:lnTo>
                  <a:pt x="3469" y="1714"/>
                </a:lnTo>
                <a:lnTo>
                  <a:pt x="3412" y="1641"/>
                </a:lnTo>
                <a:lnTo>
                  <a:pt x="3383" y="1603"/>
                </a:lnTo>
                <a:lnTo>
                  <a:pt x="3353" y="1570"/>
                </a:lnTo>
                <a:lnTo>
                  <a:pt x="3324" y="1533"/>
                </a:lnTo>
                <a:lnTo>
                  <a:pt x="3288" y="1485"/>
                </a:lnTo>
                <a:lnTo>
                  <a:pt x="3254" y="1430"/>
                </a:lnTo>
                <a:lnTo>
                  <a:pt x="3238" y="1400"/>
                </a:lnTo>
                <a:lnTo>
                  <a:pt x="3224" y="1370"/>
                </a:lnTo>
                <a:lnTo>
                  <a:pt x="3212" y="1337"/>
                </a:lnTo>
                <a:lnTo>
                  <a:pt x="3203" y="1305"/>
                </a:lnTo>
                <a:lnTo>
                  <a:pt x="3197" y="1273"/>
                </a:lnTo>
                <a:lnTo>
                  <a:pt x="3195" y="1240"/>
                </a:lnTo>
                <a:lnTo>
                  <a:pt x="3198" y="1210"/>
                </a:lnTo>
                <a:close/>
                <a:moveTo>
                  <a:pt x="2404" y="1225"/>
                </a:moveTo>
                <a:lnTo>
                  <a:pt x="2406" y="1210"/>
                </a:lnTo>
                <a:lnTo>
                  <a:pt x="2413" y="1184"/>
                </a:lnTo>
                <a:lnTo>
                  <a:pt x="2422" y="1158"/>
                </a:lnTo>
                <a:lnTo>
                  <a:pt x="3099" y="1158"/>
                </a:lnTo>
                <a:lnTo>
                  <a:pt x="3099" y="1443"/>
                </a:lnTo>
                <a:lnTo>
                  <a:pt x="3010" y="1443"/>
                </a:lnTo>
                <a:lnTo>
                  <a:pt x="2996" y="1394"/>
                </a:lnTo>
                <a:lnTo>
                  <a:pt x="2978" y="1352"/>
                </a:lnTo>
                <a:lnTo>
                  <a:pt x="2968" y="1334"/>
                </a:lnTo>
                <a:lnTo>
                  <a:pt x="2958" y="1319"/>
                </a:lnTo>
                <a:lnTo>
                  <a:pt x="2945" y="1304"/>
                </a:lnTo>
                <a:lnTo>
                  <a:pt x="2933" y="1292"/>
                </a:lnTo>
                <a:lnTo>
                  <a:pt x="2920" y="1281"/>
                </a:lnTo>
                <a:lnTo>
                  <a:pt x="2906" y="1272"/>
                </a:lnTo>
                <a:lnTo>
                  <a:pt x="2890" y="1264"/>
                </a:lnTo>
                <a:lnTo>
                  <a:pt x="2875" y="1258"/>
                </a:lnTo>
                <a:lnTo>
                  <a:pt x="2839" y="1250"/>
                </a:lnTo>
                <a:lnTo>
                  <a:pt x="2800" y="1248"/>
                </a:lnTo>
                <a:lnTo>
                  <a:pt x="2717" y="1248"/>
                </a:lnTo>
                <a:lnTo>
                  <a:pt x="2717" y="1254"/>
                </a:lnTo>
                <a:lnTo>
                  <a:pt x="2725" y="1281"/>
                </a:lnTo>
                <a:lnTo>
                  <a:pt x="2737" y="1311"/>
                </a:lnTo>
                <a:lnTo>
                  <a:pt x="2756" y="1353"/>
                </a:lnTo>
                <a:lnTo>
                  <a:pt x="2783" y="1403"/>
                </a:lnTo>
                <a:lnTo>
                  <a:pt x="2820" y="1459"/>
                </a:lnTo>
                <a:lnTo>
                  <a:pt x="2844" y="1491"/>
                </a:lnTo>
                <a:lnTo>
                  <a:pt x="2870" y="1523"/>
                </a:lnTo>
                <a:lnTo>
                  <a:pt x="2900" y="1556"/>
                </a:lnTo>
                <a:lnTo>
                  <a:pt x="2932" y="1590"/>
                </a:lnTo>
                <a:lnTo>
                  <a:pt x="2957" y="1618"/>
                </a:lnTo>
                <a:lnTo>
                  <a:pt x="2986" y="1654"/>
                </a:lnTo>
                <a:lnTo>
                  <a:pt x="3016" y="1698"/>
                </a:lnTo>
                <a:lnTo>
                  <a:pt x="3046" y="1747"/>
                </a:lnTo>
                <a:lnTo>
                  <a:pt x="3073" y="1799"/>
                </a:lnTo>
                <a:lnTo>
                  <a:pt x="3095" y="1852"/>
                </a:lnTo>
                <a:lnTo>
                  <a:pt x="3103" y="1879"/>
                </a:lnTo>
                <a:lnTo>
                  <a:pt x="3109" y="1906"/>
                </a:lnTo>
                <a:lnTo>
                  <a:pt x="3113" y="1932"/>
                </a:lnTo>
                <a:lnTo>
                  <a:pt x="3114" y="1957"/>
                </a:lnTo>
                <a:lnTo>
                  <a:pt x="3113" y="1983"/>
                </a:lnTo>
                <a:lnTo>
                  <a:pt x="3108" y="2004"/>
                </a:lnTo>
                <a:lnTo>
                  <a:pt x="3101" y="2022"/>
                </a:lnTo>
                <a:lnTo>
                  <a:pt x="3090" y="2039"/>
                </a:lnTo>
                <a:lnTo>
                  <a:pt x="2408" y="2039"/>
                </a:lnTo>
                <a:lnTo>
                  <a:pt x="2408" y="1754"/>
                </a:lnTo>
                <a:lnTo>
                  <a:pt x="2500" y="1754"/>
                </a:lnTo>
                <a:lnTo>
                  <a:pt x="2510" y="1791"/>
                </a:lnTo>
                <a:lnTo>
                  <a:pt x="2521" y="1825"/>
                </a:lnTo>
                <a:lnTo>
                  <a:pt x="2536" y="1858"/>
                </a:lnTo>
                <a:lnTo>
                  <a:pt x="2554" y="1887"/>
                </a:lnTo>
                <a:lnTo>
                  <a:pt x="2564" y="1900"/>
                </a:lnTo>
                <a:lnTo>
                  <a:pt x="2577" y="1912"/>
                </a:lnTo>
                <a:lnTo>
                  <a:pt x="2590" y="1922"/>
                </a:lnTo>
                <a:lnTo>
                  <a:pt x="2605" y="1932"/>
                </a:lnTo>
                <a:lnTo>
                  <a:pt x="2620" y="1939"/>
                </a:lnTo>
                <a:lnTo>
                  <a:pt x="2639" y="1944"/>
                </a:lnTo>
                <a:lnTo>
                  <a:pt x="2659" y="1947"/>
                </a:lnTo>
                <a:lnTo>
                  <a:pt x="2681" y="1948"/>
                </a:lnTo>
                <a:lnTo>
                  <a:pt x="2802" y="1948"/>
                </a:lnTo>
                <a:lnTo>
                  <a:pt x="2802" y="1941"/>
                </a:lnTo>
                <a:lnTo>
                  <a:pt x="2794" y="1918"/>
                </a:lnTo>
                <a:lnTo>
                  <a:pt x="2781" y="1876"/>
                </a:lnTo>
                <a:lnTo>
                  <a:pt x="2762" y="1841"/>
                </a:lnTo>
                <a:lnTo>
                  <a:pt x="2737" y="1800"/>
                </a:lnTo>
                <a:lnTo>
                  <a:pt x="2708" y="1758"/>
                </a:lnTo>
                <a:lnTo>
                  <a:pt x="2677" y="1714"/>
                </a:lnTo>
                <a:lnTo>
                  <a:pt x="2620" y="1641"/>
                </a:lnTo>
                <a:lnTo>
                  <a:pt x="2589" y="1603"/>
                </a:lnTo>
                <a:lnTo>
                  <a:pt x="2561" y="1570"/>
                </a:lnTo>
                <a:lnTo>
                  <a:pt x="2531" y="1533"/>
                </a:lnTo>
                <a:lnTo>
                  <a:pt x="2496" y="1485"/>
                </a:lnTo>
                <a:lnTo>
                  <a:pt x="2462" y="1430"/>
                </a:lnTo>
                <a:lnTo>
                  <a:pt x="2446" y="1400"/>
                </a:lnTo>
                <a:lnTo>
                  <a:pt x="2433" y="1370"/>
                </a:lnTo>
                <a:lnTo>
                  <a:pt x="2420" y="1337"/>
                </a:lnTo>
                <a:lnTo>
                  <a:pt x="2411" y="1305"/>
                </a:lnTo>
                <a:lnTo>
                  <a:pt x="2406" y="1273"/>
                </a:lnTo>
                <a:lnTo>
                  <a:pt x="2402" y="1240"/>
                </a:lnTo>
                <a:lnTo>
                  <a:pt x="2404" y="1225"/>
                </a:lnTo>
                <a:close/>
                <a:moveTo>
                  <a:pt x="1842" y="1948"/>
                </a:moveTo>
                <a:lnTo>
                  <a:pt x="1876" y="1948"/>
                </a:lnTo>
                <a:lnTo>
                  <a:pt x="1884" y="1947"/>
                </a:lnTo>
                <a:lnTo>
                  <a:pt x="1894" y="1943"/>
                </a:lnTo>
                <a:lnTo>
                  <a:pt x="1903" y="1937"/>
                </a:lnTo>
                <a:lnTo>
                  <a:pt x="1913" y="1930"/>
                </a:lnTo>
                <a:lnTo>
                  <a:pt x="1921" y="1920"/>
                </a:lnTo>
                <a:lnTo>
                  <a:pt x="1927" y="1911"/>
                </a:lnTo>
                <a:lnTo>
                  <a:pt x="1931" y="1901"/>
                </a:lnTo>
                <a:lnTo>
                  <a:pt x="1932" y="1892"/>
                </a:lnTo>
                <a:lnTo>
                  <a:pt x="1932" y="1308"/>
                </a:lnTo>
                <a:lnTo>
                  <a:pt x="1931" y="1299"/>
                </a:lnTo>
                <a:lnTo>
                  <a:pt x="1927" y="1289"/>
                </a:lnTo>
                <a:lnTo>
                  <a:pt x="1921" y="1280"/>
                </a:lnTo>
                <a:lnTo>
                  <a:pt x="1913" y="1271"/>
                </a:lnTo>
                <a:lnTo>
                  <a:pt x="1903" y="1262"/>
                </a:lnTo>
                <a:lnTo>
                  <a:pt x="1893" y="1255"/>
                </a:lnTo>
                <a:lnTo>
                  <a:pt x="1882" y="1251"/>
                </a:lnTo>
                <a:lnTo>
                  <a:pt x="1872" y="1250"/>
                </a:lnTo>
                <a:lnTo>
                  <a:pt x="1842" y="1250"/>
                </a:lnTo>
                <a:lnTo>
                  <a:pt x="1842" y="1158"/>
                </a:lnTo>
                <a:lnTo>
                  <a:pt x="2306" y="1158"/>
                </a:lnTo>
                <a:lnTo>
                  <a:pt x="2306" y="1250"/>
                </a:lnTo>
                <a:lnTo>
                  <a:pt x="2275" y="1250"/>
                </a:lnTo>
                <a:lnTo>
                  <a:pt x="2263" y="1252"/>
                </a:lnTo>
                <a:lnTo>
                  <a:pt x="2251" y="1257"/>
                </a:lnTo>
                <a:lnTo>
                  <a:pt x="2241" y="1265"/>
                </a:lnTo>
                <a:lnTo>
                  <a:pt x="2232" y="1276"/>
                </a:lnTo>
                <a:lnTo>
                  <a:pt x="2224" y="1287"/>
                </a:lnTo>
                <a:lnTo>
                  <a:pt x="2219" y="1299"/>
                </a:lnTo>
                <a:lnTo>
                  <a:pt x="2216" y="1309"/>
                </a:lnTo>
                <a:lnTo>
                  <a:pt x="2214" y="1319"/>
                </a:lnTo>
                <a:lnTo>
                  <a:pt x="2214" y="1881"/>
                </a:lnTo>
                <a:lnTo>
                  <a:pt x="2215" y="1890"/>
                </a:lnTo>
                <a:lnTo>
                  <a:pt x="2219" y="1900"/>
                </a:lnTo>
                <a:lnTo>
                  <a:pt x="2224" y="1912"/>
                </a:lnTo>
                <a:lnTo>
                  <a:pt x="2230" y="1923"/>
                </a:lnTo>
                <a:lnTo>
                  <a:pt x="2239" y="1933"/>
                </a:lnTo>
                <a:lnTo>
                  <a:pt x="2249" y="1941"/>
                </a:lnTo>
                <a:lnTo>
                  <a:pt x="2260" y="1946"/>
                </a:lnTo>
                <a:lnTo>
                  <a:pt x="2271" y="1948"/>
                </a:lnTo>
                <a:lnTo>
                  <a:pt x="2306" y="1948"/>
                </a:lnTo>
                <a:lnTo>
                  <a:pt x="2306" y="2039"/>
                </a:lnTo>
                <a:lnTo>
                  <a:pt x="1842" y="2039"/>
                </a:lnTo>
                <a:lnTo>
                  <a:pt x="1842" y="1948"/>
                </a:lnTo>
                <a:close/>
                <a:moveTo>
                  <a:pt x="995" y="1946"/>
                </a:moveTo>
                <a:lnTo>
                  <a:pt x="1030" y="1946"/>
                </a:lnTo>
                <a:lnTo>
                  <a:pt x="1038" y="1944"/>
                </a:lnTo>
                <a:lnTo>
                  <a:pt x="1047" y="1941"/>
                </a:lnTo>
                <a:lnTo>
                  <a:pt x="1057" y="1935"/>
                </a:lnTo>
                <a:lnTo>
                  <a:pt x="1066" y="1927"/>
                </a:lnTo>
                <a:lnTo>
                  <a:pt x="1075" y="1918"/>
                </a:lnTo>
                <a:lnTo>
                  <a:pt x="1081" y="1909"/>
                </a:lnTo>
                <a:lnTo>
                  <a:pt x="1085" y="1899"/>
                </a:lnTo>
                <a:lnTo>
                  <a:pt x="1086" y="1889"/>
                </a:lnTo>
                <a:lnTo>
                  <a:pt x="1086" y="1308"/>
                </a:lnTo>
                <a:lnTo>
                  <a:pt x="1085" y="1299"/>
                </a:lnTo>
                <a:lnTo>
                  <a:pt x="1081" y="1289"/>
                </a:lnTo>
                <a:lnTo>
                  <a:pt x="1075" y="1280"/>
                </a:lnTo>
                <a:lnTo>
                  <a:pt x="1066" y="1271"/>
                </a:lnTo>
                <a:lnTo>
                  <a:pt x="1057" y="1262"/>
                </a:lnTo>
                <a:lnTo>
                  <a:pt x="1046" y="1256"/>
                </a:lnTo>
                <a:lnTo>
                  <a:pt x="1036" y="1251"/>
                </a:lnTo>
                <a:lnTo>
                  <a:pt x="1026" y="1250"/>
                </a:lnTo>
                <a:lnTo>
                  <a:pt x="995" y="1250"/>
                </a:lnTo>
                <a:lnTo>
                  <a:pt x="995" y="1158"/>
                </a:lnTo>
                <a:lnTo>
                  <a:pt x="1742" y="1158"/>
                </a:lnTo>
                <a:lnTo>
                  <a:pt x="1742" y="1443"/>
                </a:lnTo>
                <a:lnTo>
                  <a:pt x="1648" y="1443"/>
                </a:lnTo>
                <a:lnTo>
                  <a:pt x="1635" y="1397"/>
                </a:lnTo>
                <a:lnTo>
                  <a:pt x="1620" y="1356"/>
                </a:lnTo>
                <a:lnTo>
                  <a:pt x="1602" y="1323"/>
                </a:lnTo>
                <a:lnTo>
                  <a:pt x="1592" y="1308"/>
                </a:lnTo>
                <a:lnTo>
                  <a:pt x="1581" y="1296"/>
                </a:lnTo>
                <a:lnTo>
                  <a:pt x="1570" y="1284"/>
                </a:lnTo>
                <a:lnTo>
                  <a:pt x="1557" y="1275"/>
                </a:lnTo>
                <a:lnTo>
                  <a:pt x="1544" y="1267"/>
                </a:lnTo>
                <a:lnTo>
                  <a:pt x="1530" y="1259"/>
                </a:lnTo>
                <a:lnTo>
                  <a:pt x="1514" y="1254"/>
                </a:lnTo>
                <a:lnTo>
                  <a:pt x="1498" y="1251"/>
                </a:lnTo>
                <a:lnTo>
                  <a:pt x="1461" y="1248"/>
                </a:lnTo>
                <a:lnTo>
                  <a:pt x="1369" y="1248"/>
                </a:lnTo>
                <a:lnTo>
                  <a:pt x="1369" y="1553"/>
                </a:lnTo>
                <a:lnTo>
                  <a:pt x="1416" y="1553"/>
                </a:lnTo>
                <a:lnTo>
                  <a:pt x="1432" y="1548"/>
                </a:lnTo>
                <a:lnTo>
                  <a:pt x="1441" y="1542"/>
                </a:lnTo>
                <a:lnTo>
                  <a:pt x="1452" y="1533"/>
                </a:lnTo>
                <a:lnTo>
                  <a:pt x="1461" y="1524"/>
                </a:lnTo>
                <a:lnTo>
                  <a:pt x="1470" y="1513"/>
                </a:lnTo>
                <a:lnTo>
                  <a:pt x="1475" y="1500"/>
                </a:lnTo>
                <a:lnTo>
                  <a:pt x="1477" y="1485"/>
                </a:lnTo>
                <a:lnTo>
                  <a:pt x="1477" y="1445"/>
                </a:lnTo>
                <a:lnTo>
                  <a:pt x="1568" y="1445"/>
                </a:lnTo>
                <a:lnTo>
                  <a:pt x="1568" y="1752"/>
                </a:lnTo>
                <a:lnTo>
                  <a:pt x="1477" y="1752"/>
                </a:lnTo>
                <a:lnTo>
                  <a:pt x="1477" y="1714"/>
                </a:lnTo>
                <a:lnTo>
                  <a:pt x="1476" y="1704"/>
                </a:lnTo>
                <a:lnTo>
                  <a:pt x="1472" y="1693"/>
                </a:lnTo>
                <a:lnTo>
                  <a:pt x="1465" y="1681"/>
                </a:lnTo>
                <a:lnTo>
                  <a:pt x="1457" y="1671"/>
                </a:lnTo>
                <a:lnTo>
                  <a:pt x="1447" y="1661"/>
                </a:lnTo>
                <a:lnTo>
                  <a:pt x="1433" y="1652"/>
                </a:lnTo>
                <a:lnTo>
                  <a:pt x="1419" y="1646"/>
                </a:lnTo>
                <a:lnTo>
                  <a:pt x="1401" y="1644"/>
                </a:lnTo>
                <a:lnTo>
                  <a:pt x="1369" y="1644"/>
                </a:lnTo>
                <a:lnTo>
                  <a:pt x="1369" y="1948"/>
                </a:lnTo>
                <a:lnTo>
                  <a:pt x="1471" y="1948"/>
                </a:lnTo>
                <a:lnTo>
                  <a:pt x="1497" y="1946"/>
                </a:lnTo>
                <a:lnTo>
                  <a:pt x="1524" y="1939"/>
                </a:lnTo>
                <a:lnTo>
                  <a:pt x="1551" y="1925"/>
                </a:lnTo>
                <a:lnTo>
                  <a:pt x="1564" y="1917"/>
                </a:lnTo>
                <a:lnTo>
                  <a:pt x="1577" y="1907"/>
                </a:lnTo>
                <a:lnTo>
                  <a:pt x="1589" y="1894"/>
                </a:lnTo>
                <a:lnTo>
                  <a:pt x="1600" y="1881"/>
                </a:lnTo>
                <a:lnTo>
                  <a:pt x="1611" y="1865"/>
                </a:lnTo>
                <a:lnTo>
                  <a:pt x="1621" y="1847"/>
                </a:lnTo>
                <a:lnTo>
                  <a:pt x="1629" y="1827"/>
                </a:lnTo>
                <a:lnTo>
                  <a:pt x="1637" y="1805"/>
                </a:lnTo>
                <a:lnTo>
                  <a:pt x="1644" y="1781"/>
                </a:lnTo>
                <a:lnTo>
                  <a:pt x="1648" y="1754"/>
                </a:lnTo>
                <a:lnTo>
                  <a:pt x="1742" y="1754"/>
                </a:lnTo>
                <a:lnTo>
                  <a:pt x="1742" y="2039"/>
                </a:lnTo>
                <a:lnTo>
                  <a:pt x="995" y="2039"/>
                </a:lnTo>
                <a:lnTo>
                  <a:pt x="995" y="1946"/>
                </a:lnTo>
                <a:close/>
                <a:moveTo>
                  <a:pt x="173" y="1998"/>
                </a:moveTo>
                <a:lnTo>
                  <a:pt x="174" y="1983"/>
                </a:lnTo>
                <a:lnTo>
                  <a:pt x="180" y="1948"/>
                </a:lnTo>
                <a:lnTo>
                  <a:pt x="192" y="1901"/>
                </a:lnTo>
                <a:lnTo>
                  <a:pt x="201" y="1874"/>
                </a:lnTo>
                <a:lnTo>
                  <a:pt x="213" y="1846"/>
                </a:lnTo>
                <a:lnTo>
                  <a:pt x="235" y="1796"/>
                </a:lnTo>
                <a:lnTo>
                  <a:pt x="267" y="1734"/>
                </a:lnTo>
                <a:lnTo>
                  <a:pt x="287" y="1700"/>
                </a:lnTo>
                <a:lnTo>
                  <a:pt x="309" y="1667"/>
                </a:lnTo>
                <a:lnTo>
                  <a:pt x="334" y="1635"/>
                </a:lnTo>
                <a:lnTo>
                  <a:pt x="360" y="1605"/>
                </a:lnTo>
                <a:lnTo>
                  <a:pt x="392" y="1572"/>
                </a:lnTo>
                <a:lnTo>
                  <a:pt x="420" y="1540"/>
                </a:lnTo>
                <a:lnTo>
                  <a:pt x="469" y="1477"/>
                </a:lnTo>
                <a:lnTo>
                  <a:pt x="508" y="1420"/>
                </a:lnTo>
                <a:lnTo>
                  <a:pt x="538" y="1368"/>
                </a:lnTo>
                <a:lnTo>
                  <a:pt x="559" y="1324"/>
                </a:lnTo>
                <a:lnTo>
                  <a:pt x="574" y="1289"/>
                </a:lnTo>
                <a:lnTo>
                  <a:pt x="588" y="1254"/>
                </a:lnTo>
                <a:lnTo>
                  <a:pt x="588" y="1248"/>
                </a:lnTo>
                <a:lnTo>
                  <a:pt x="506" y="1248"/>
                </a:lnTo>
                <a:lnTo>
                  <a:pt x="472" y="1250"/>
                </a:lnTo>
                <a:lnTo>
                  <a:pt x="443" y="1255"/>
                </a:lnTo>
                <a:lnTo>
                  <a:pt x="418" y="1264"/>
                </a:lnTo>
                <a:lnTo>
                  <a:pt x="395" y="1276"/>
                </a:lnTo>
                <a:lnTo>
                  <a:pt x="375" y="1289"/>
                </a:lnTo>
                <a:lnTo>
                  <a:pt x="359" y="1305"/>
                </a:lnTo>
                <a:lnTo>
                  <a:pt x="344" y="1322"/>
                </a:lnTo>
                <a:lnTo>
                  <a:pt x="332" y="1340"/>
                </a:lnTo>
                <a:lnTo>
                  <a:pt x="315" y="1374"/>
                </a:lnTo>
                <a:lnTo>
                  <a:pt x="303" y="1405"/>
                </a:lnTo>
                <a:lnTo>
                  <a:pt x="295" y="1443"/>
                </a:lnTo>
                <a:lnTo>
                  <a:pt x="206" y="1443"/>
                </a:lnTo>
                <a:lnTo>
                  <a:pt x="206" y="1158"/>
                </a:lnTo>
                <a:lnTo>
                  <a:pt x="913" y="1158"/>
                </a:lnTo>
                <a:lnTo>
                  <a:pt x="913" y="1182"/>
                </a:lnTo>
                <a:lnTo>
                  <a:pt x="912" y="1195"/>
                </a:lnTo>
                <a:lnTo>
                  <a:pt x="907" y="1226"/>
                </a:lnTo>
                <a:lnTo>
                  <a:pt x="897" y="1271"/>
                </a:lnTo>
                <a:lnTo>
                  <a:pt x="881" y="1325"/>
                </a:lnTo>
                <a:lnTo>
                  <a:pt x="859" y="1379"/>
                </a:lnTo>
                <a:lnTo>
                  <a:pt x="835" y="1428"/>
                </a:lnTo>
                <a:lnTo>
                  <a:pt x="810" y="1474"/>
                </a:lnTo>
                <a:lnTo>
                  <a:pt x="784" y="1516"/>
                </a:lnTo>
                <a:lnTo>
                  <a:pt x="757" y="1554"/>
                </a:lnTo>
                <a:lnTo>
                  <a:pt x="730" y="1590"/>
                </a:lnTo>
                <a:lnTo>
                  <a:pt x="673" y="1658"/>
                </a:lnTo>
                <a:lnTo>
                  <a:pt x="620" y="1723"/>
                </a:lnTo>
                <a:lnTo>
                  <a:pt x="596" y="1756"/>
                </a:lnTo>
                <a:lnTo>
                  <a:pt x="572" y="1790"/>
                </a:lnTo>
                <a:lnTo>
                  <a:pt x="551" y="1825"/>
                </a:lnTo>
                <a:lnTo>
                  <a:pt x="533" y="1864"/>
                </a:lnTo>
                <a:lnTo>
                  <a:pt x="516" y="1904"/>
                </a:lnTo>
                <a:lnTo>
                  <a:pt x="503" y="1948"/>
                </a:lnTo>
                <a:lnTo>
                  <a:pt x="624" y="1948"/>
                </a:lnTo>
                <a:lnTo>
                  <a:pt x="651" y="1946"/>
                </a:lnTo>
                <a:lnTo>
                  <a:pt x="680" y="1939"/>
                </a:lnTo>
                <a:lnTo>
                  <a:pt x="707" y="1925"/>
                </a:lnTo>
                <a:lnTo>
                  <a:pt x="720" y="1917"/>
                </a:lnTo>
                <a:lnTo>
                  <a:pt x="733" y="1907"/>
                </a:lnTo>
                <a:lnTo>
                  <a:pt x="744" y="1894"/>
                </a:lnTo>
                <a:lnTo>
                  <a:pt x="756" y="1881"/>
                </a:lnTo>
                <a:lnTo>
                  <a:pt x="767" y="1865"/>
                </a:lnTo>
                <a:lnTo>
                  <a:pt x="777" y="1847"/>
                </a:lnTo>
                <a:lnTo>
                  <a:pt x="786" y="1827"/>
                </a:lnTo>
                <a:lnTo>
                  <a:pt x="793" y="1805"/>
                </a:lnTo>
                <a:lnTo>
                  <a:pt x="799" y="1781"/>
                </a:lnTo>
                <a:lnTo>
                  <a:pt x="805" y="1754"/>
                </a:lnTo>
                <a:lnTo>
                  <a:pt x="897" y="1754"/>
                </a:lnTo>
                <a:lnTo>
                  <a:pt x="897" y="2039"/>
                </a:lnTo>
                <a:lnTo>
                  <a:pt x="173" y="2039"/>
                </a:lnTo>
                <a:lnTo>
                  <a:pt x="173" y="1998"/>
                </a:lnTo>
                <a:close/>
              </a:path>
            </a:pathLst>
          </a:custGeom>
          <a:solidFill>
            <a:srgbClr val="0000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e-DE" sz="1600">
              <a:solidFill>
                <a:srgbClr val="000000"/>
              </a:solidFill>
            </a:endParaRPr>
          </a:p>
        </p:txBody>
      </p:sp>
      <p:sp>
        <p:nvSpPr>
          <p:cNvPr id="3250193" name="TW_Footer_3"/>
          <p:cNvSpPr>
            <a:spLocks noGrp="1" noChangeArrowheads="1"/>
          </p:cNvSpPr>
          <p:nvPr>
            <p:ph type="dt" sz="half" idx="2"/>
          </p:nvPr>
        </p:nvSpPr>
        <p:spPr bwMode="auto">
          <a:xfrm>
            <a:off x="6448425" y="6643688"/>
            <a:ext cx="1117600" cy="160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defTabSz="798513" eaLnBrk="1" hangingPunct="1">
              <a:defRPr sz="800" smtClean="0">
                <a:latin typeface="Arial Narrow" pitchFamily="34" charset="0"/>
              </a:defRPr>
            </a:lvl1pPr>
          </a:lstStyle>
          <a:p>
            <a:pPr fontAlgn="base">
              <a:spcBef>
                <a:spcPct val="0"/>
              </a:spcBef>
              <a:spcAft>
                <a:spcPct val="0"/>
              </a:spcAft>
              <a:defRPr/>
            </a:pPr>
            <a:fld id="{969D7DE7-ACA9-4BB0-9226-7589C2424556}" type="datetime1">
              <a:rPr lang="de-DE">
                <a:solidFill>
                  <a:srgbClr val="000000"/>
                </a:solidFill>
              </a:rPr>
              <a:pPr fontAlgn="base">
                <a:spcBef>
                  <a:spcPct val="0"/>
                </a:spcBef>
                <a:spcAft>
                  <a:spcPct val="0"/>
                </a:spcAft>
                <a:defRPr/>
              </a:pPr>
              <a:t>28.02.2019</a:t>
            </a:fld>
            <a:endParaRPr lang="de-DE">
              <a:solidFill>
                <a:srgbClr val="000000"/>
              </a:solidFill>
            </a:endParaRPr>
          </a:p>
        </p:txBody>
      </p:sp>
      <p:sp>
        <p:nvSpPr>
          <p:cNvPr id="3250195" name="Rectangle 19"/>
          <p:cNvSpPr>
            <a:spLocks noGrp="1" noChangeArrowheads="1"/>
          </p:cNvSpPr>
          <p:nvPr>
            <p:ph type="sldNum" sz="quarter" idx="4"/>
          </p:nvPr>
        </p:nvSpPr>
        <p:spPr bwMode="auto">
          <a:xfrm>
            <a:off x="8402638" y="6643688"/>
            <a:ext cx="277812" cy="161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defTabSz="798513">
              <a:defRPr sz="800" smtClean="0">
                <a:latin typeface="Arial Narrow" pitchFamily="34" charset="0"/>
              </a:defRPr>
            </a:lvl1pPr>
          </a:lstStyle>
          <a:p>
            <a:pPr eaLnBrk="0" fontAlgn="base" hangingPunct="0">
              <a:spcBef>
                <a:spcPct val="0"/>
              </a:spcBef>
              <a:spcAft>
                <a:spcPct val="0"/>
              </a:spcAft>
              <a:defRPr/>
            </a:pPr>
            <a:fld id="{89ACA8DC-DA41-4FBD-940E-F5E15ED72AE4}" type="slidenum">
              <a:rPr lang="de-DE">
                <a:solidFill>
                  <a:srgbClr val="000000"/>
                </a:solidFill>
              </a:rPr>
              <a:pPr eaLnBrk="0" fontAlgn="base" hangingPunct="0">
                <a:spcBef>
                  <a:spcPct val="0"/>
                </a:spcBef>
                <a:spcAft>
                  <a:spcPct val="0"/>
                </a:spcAft>
                <a:defRPr/>
              </a:pPr>
              <a:t>‹#›</a:t>
            </a:fld>
            <a:endParaRPr lang="de-DE">
              <a:solidFill>
                <a:srgbClr val="000000"/>
              </a:solidFill>
            </a:endParaRPr>
          </a:p>
        </p:txBody>
      </p:sp>
      <p:sp>
        <p:nvSpPr>
          <p:cNvPr id="3250199" name="TW_Footer_1"/>
          <p:cNvSpPr>
            <a:spLocks noGrp="1" noChangeArrowheads="1"/>
          </p:cNvSpPr>
          <p:nvPr>
            <p:ph type="ftr" sz="quarter" idx="3"/>
          </p:nvPr>
        </p:nvSpPr>
        <p:spPr bwMode="auto">
          <a:xfrm>
            <a:off x="466725" y="6643688"/>
            <a:ext cx="5702300" cy="161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defTabSz="798513" eaLnBrk="1" hangingPunct="1">
              <a:defRPr sz="800" smtClean="0">
                <a:latin typeface="Arial Narrow" pitchFamily="34" charset="0"/>
              </a:defRPr>
            </a:lvl1pPr>
          </a:lstStyle>
          <a:p>
            <a:pPr fontAlgn="base">
              <a:spcBef>
                <a:spcPct val="0"/>
              </a:spcBef>
              <a:spcAft>
                <a:spcPct val="0"/>
              </a:spcAft>
              <a:defRPr/>
            </a:pPr>
            <a:r>
              <a:rPr lang="de-DE">
                <a:solidFill>
                  <a:srgbClr val="000000"/>
                </a:solidFill>
              </a:rPr>
              <a:t>Carl Zeiss Microscopy</a:t>
            </a:r>
          </a:p>
        </p:txBody>
      </p:sp>
      <p:sp>
        <p:nvSpPr>
          <p:cNvPr id="1032" name="Line 9"/>
          <p:cNvSpPr>
            <a:spLocks noChangeShapeType="1"/>
          </p:cNvSpPr>
          <p:nvPr/>
        </p:nvSpPr>
        <p:spPr bwMode="auto">
          <a:xfrm flipV="1">
            <a:off x="0" y="1258888"/>
            <a:ext cx="9140825"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de-DE" sz="1600">
              <a:solidFill>
                <a:srgbClr val="000000"/>
              </a:solidFill>
            </a:endParaRPr>
          </a:p>
        </p:txBody>
      </p:sp>
      <p:sp>
        <p:nvSpPr>
          <p:cNvPr id="1033" name="Line 26"/>
          <p:cNvSpPr>
            <a:spLocks noChangeShapeType="1"/>
          </p:cNvSpPr>
          <p:nvPr/>
        </p:nvSpPr>
        <p:spPr bwMode="auto">
          <a:xfrm flipV="1">
            <a:off x="0" y="6569075"/>
            <a:ext cx="9140825" cy="0"/>
          </a:xfrm>
          <a:prstGeom prst="line">
            <a:avLst/>
          </a:prstGeom>
          <a:noFill/>
          <a:ln w="9525">
            <a:solidFill>
              <a:srgbClr val="C0C0C0"/>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de-DE" sz="1600">
              <a:solidFill>
                <a:srgbClr val="000000"/>
              </a:solidFill>
            </a:endParaRPr>
          </a:p>
        </p:txBody>
      </p:sp>
    </p:spTree>
    <p:extLst>
      <p:ext uri="{BB962C8B-B14F-4D97-AF65-F5344CB8AC3E}">
        <p14:creationId xmlns:p14="http://schemas.microsoft.com/office/powerpoint/2010/main" val="3033581336"/>
      </p:ext>
    </p:extLst>
  </p:cSld>
  <p:clrMap bg1="lt1" tx1="dk1" bg2="lt2" tx2="dk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 id="2147483883" r:id="rId12"/>
    <p:sldLayoutId id="2147483884" r:id="rId13"/>
    <p:sldLayoutId id="2147483885" r:id="rId14"/>
  </p:sldLayoutIdLst>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hf hdr="0"/>
  <p:txStyles>
    <p:titleStyle>
      <a:lvl1pPr algn="l" rtl="0" eaLnBrk="0" fontAlgn="base" hangingPunct="0">
        <a:lnSpc>
          <a:spcPct val="90000"/>
        </a:lnSpc>
        <a:spcBef>
          <a:spcPct val="0"/>
        </a:spcBef>
        <a:spcAft>
          <a:spcPct val="0"/>
        </a:spcAft>
        <a:defRPr sz="2200" b="1">
          <a:solidFill>
            <a:schemeClr val="tx2"/>
          </a:solidFill>
          <a:latin typeface="+mj-lt"/>
          <a:ea typeface="+mj-ea"/>
          <a:cs typeface="+mj-cs"/>
        </a:defRPr>
      </a:lvl1pPr>
      <a:lvl2pPr algn="l" rtl="0" eaLnBrk="0" fontAlgn="base" hangingPunct="0">
        <a:lnSpc>
          <a:spcPct val="90000"/>
        </a:lnSpc>
        <a:spcBef>
          <a:spcPct val="0"/>
        </a:spcBef>
        <a:spcAft>
          <a:spcPct val="0"/>
        </a:spcAft>
        <a:defRPr sz="2200" b="1">
          <a:solidFill>
            <a:schemeClr val="tx2"/>
          </a:solidFill>
          <a:latin typeface="Arial" charset="0"/>
        </a:defRPr>
      </a:lvl2pPr>
      <a:lvl3pPr algn="l" rtl="0" eaLnBrk="0" fontAlgn="base" hangingPunct="0">
        <a:lnSpc>
          <a:spcPct val="90000"/>
        </a:lnSpc>
        <a:spcBef>
          <a:spcPct val="0"/>
        </a:spcBef>
        <a:spcAft>
          <a:spcPct val="0"/>
        </a:spcAft>
        <a:defRPr sz="2200" b="1">
          <a:solidFill>
            <a:schemeClr val="tx2"/>
          </a:solidFill>
          <a:latin typeface="Arial" charset="0"/>
        </a:defRPr>
      </a:lvl3pPr>
      <a:lvl4pPr algn="l" rtl="0" eaLnBrk="0" fontAlgn="base" hangingPunct="0">
        <a:lnSpc>
          <a:spcPct val="90000"/>
        </a:lnSpc>
        <a:spcBef>
          <a:spcPct val="0"/>
        </a:spcBef>
        <a:spcAft>
          <a:spcPct val="0"/>
        </a:spcAft>
        <a:defRPr sz="2200" b="1">
          <a:solidFill>
            <a:schemeClr val="tx2"/>
          </a:solidFill>
          <a:latin typeface="Arial" charset="0"/>
        </a:defRPr>
      </a:lvl4pPr>
      <a:lvl5pPr algn="l" rtl="0" eaLnBrk="0" fontAlgn="base" hangingPunct="0">
        <a:lnSpc>
          <a:spcPct val="90000"/>
        </a:lnSpc>
        <a:spcBef>
          <a:spcPct val="0"/>
        </a:spcBef>
        <a:spcAft>
          <a:spcPct val="0"/>
        </a:spcAft>
        <a:defRPr sz="2200" b="1">
          <a:solidFill>
            <a:schemeClr val="tx2"/>
          </a:solidFill>
          <a:latin typeface="Arial" charset="0"/>
        </a:defRPr>
      </a:lvl5pPr>
      <a:lvl6pPr marL="457200" algn="l" rtl="0" eaLnBrk="0" fontAlgn="base" hangingPunct="0">
        <a:lnSpc>
          <a:spcPct val="90000"/>
        </a:lnSpc>
        <a:spcBef>
          <a:spcPct val="0"/>
        </a:spcBef>
        <a:spcAft>
          <a:spcPct val="0"/>
        </a:spcAft>
        <a:defRPr sz="2200" b="1">
          <a:solidFill>
            <a:schemeClr val="tx2"/>
          </a:solidFill>
          <a:latin typeface="Arial" charset="0"/>
        </a:defRPr>
      </a:lvl6pPr>
      <a:lvl7pPr marL="914400" algn="l" rtl="0" eaLnBrk="0" fontAlgn="base" hangingPunct="0">
        <a:lnSpc>
          <a:spcPct val="90000"/>
        </a:lnSpc>
        <a:spcBef>
          <a:spcPct val="0"/>
        </a:spcBef>
        <a:spcAft>
          <a:spcPct val="0"/>
        </a:spcAft>
        <a:defRPr sz="2200" b="1">
          <a:solidFill>
            <a:schemeClr val="tx2"/>
          </a:solidFill>
          <a:latin typeface="Arial" charset="0"/>
        </a:defRPr>
      </a:lvl7pPr>
      <a:lvl8pPr marL="1371600" algn="l" rtl="0" eaLnBrk="0" fontAlgn="base" hangingPunct="0">
        <a:lnSpc>
          <a:spcPct val="90000"/>
        </a:lnSpc>
        <a:spcBef>
          <a:spcPct val="0"/>
        </a:spcBef>
        <a:spcAft>
          <a:spcPct val="0"/>
        </a:spcAft>
        <a:defRPr sz="2200" b="1">
          <a:solidFill>
            <a:schemeClr val="tx2"/>
          </a:solidFill>
          <a:latin typeface="Arial" charset="0"/>
        </a:defRPr>
      </a:lvl8pPr>
      <a:lvl9pPr marL="1828800" algn="l" rtl="0" eaLnBrk="0" fontAlgn="base" hangingPunct="0">
        <a:lnSpc>
          <a:spcPct val="90000"/>
        </a:lnSpc>
        <a:spcBef>
          <a:spcPct val="0"/>
        </a:spcBef>
        <a:spcAft>
          <a:spcPct val="0"/>
        </a:spcAft>
        <a:defRPr sz="2200" b="1">
          <a:solidFill>
            <a:schemeClr val="tx2"/>
          </a:solidFill>
          <a:latin typeface="Arial" charset="0"/>
        </a:defRPr>
      </a:lvl9pPr>
    </p:titleStyle>
    <p:bodyStyle>
      <a:lvl1pPr marL="342900" indent="-342900" algn="l" rtl="0" eaLnBrk="0" fontAlgn="base" hangingPunct="0">
        <a:spcBef>
          <a:spcPct val="0"/>
        </a:spcBef>
        <a:spcAft>
          <a:spcPct val="0"/>
        </a:spcAft>
        <a:defRPr sz="1600">
          <a:solidFill>
            <a:schemeClr val="tx1"/>
          </a:solidFill>
          <a:latin typeface="+mn-lt"/>
          <a:ea typeface="+mn-ea"/>
          <a:cs typeface="+mn-cs"/>
        </a:defRPr>
      </a:lvl1pPr>
      <a:lvl2pPr marL="363538" indent="-184150" algn="l" rtl="0" eaLnBrk="0" fontAlgn="base" hangingPunct="0">
        <a:spcBef>
          <a:spcPct val="0"/>
        </a:spcBef>
        <a:spcAft>
          <a:spcPct val="0"/>
        </a:spcAft>
        <a:buClr>
          <a:schemeClr val="folHlink"/>
        </a:buClr>
        <a:buFont typeface="Wingdings" pitchFamily="2" charset="2"/>
        <a:buChar char="§"/>
        <a:defRPr sz="1600">
          <a:solidFill>
            <a:schemeClr val="tx1"/>
          </a:solidFill>
          <a:latin typeface="+mn-lt"/>
        </a:defRPr>
      </a:lvl2pPr>
      <a:lvl3pPr marL="714375" indent="-171450" algn="l" rtl="0" eaLnBrk="0" fontAlgn="base" hangingPunct="0">
        <a:spcBef>
          <a:spcPct val="0"/>
        </a:spcBef>
        <a:spcAft>
          <a:spcPct val="0"/>
        </a:spcAft>
        <a:buClr>
          <a:schemeClr val="folHlink"/>
        </a:buClr>
        <a:buChar char="-"/>
        <a:defRPr sz="1400">
          <a:solidFill>
            <a:schemeClr val="tx1"/>
          </a:solidFill>
          <a:latin typeface="+mn-lt"/>
        </a:defRPr>
      </a:lvl3pPr>
      <a:lvl4pPr marL="1081088" indent="-177800" algn="l" rtl="0" eaLnBrk="0" fontAlgn="base" hangingPunct="0">
        <a:spcBef>
          <a:spcPct val="0"/>
        </a:spcBef>
        <a:spcAft>
          <a:spcPct val="0"/>
        </a:spcAft>
        <a:buChar char="-"/>
        <a:defRPr sz="1200">
          <a:solidFill>
            <a:schemeClr val="tx1"/>
          </a:solidFill>
          <a:latin typeface="+mn-lt"/>
        </a:defRPr>
      </a:lvl4pPr>
      <a:lvl5pPr marL="1438275" indent="-177800" algn="l" rtl="0" eaLnBrk="0" fontAlgn="base" hangingPunct="0">
        <a:spcBef>
          <a:spcPct val="0"/>
        </a:spcBef>
        <a:spcAft>
          <a:spcPct val="0"/>
        </a:spcAft>
        <a:buFont typeface="Arial" charset="0"/>
        <a:buChar char="»"/>
        <a:defRPr sz="1000">
          <a:solidFill>
            <a:schemeClr val="tx1"/>
          </a:solidFill>
          <a:latin typeface="+mn-lt"/>
        </a:defRPr>
      </a:lvl5pPr>
      <a:lvl6pPr marL="1895475" indent="-177800" algn="l" rtl="0" eaLnBrk="0" fontAlgn="base" hangingPunct="0">
        <a:spcBef>
          <a:spcPct val="0"/>
        </a:spcBef>
        <a:spcAft>
          <a:spcPct val="0"/>
        </a:spcAft>
        <a:buFont typeface="Arial" charset="0"/>
        <a:buChar char="»"/>
        <a:defRPr sz="1000">
          <a:solidFill>
            <a:schemeClr val="tx1"/>
          </a:solidFill>
          <a:latin typeface="+mn-lt"/>
        </a:defRPr>
      </a:lvl6pPr>
      <a:lvl7pPr marL="2352675" indent="-177800" algn="l" rtl="0" eaLnBrk="0" fontAlgn="base" hangingPunct="0">
        <a:spcBef>
          <a:spcPct val="0"/>
        </a:spcBef>
        <a:spcAft>
          <a:spcPct val="0"/>
        </a:spcAft>
        <a:buFont typeface="Arial" charset="0"/>
        <a:buChar char="»"/>
        <a:defRPr sz="1000">
          <a:solidFill>
            <a:schemeClr val="tx1"/>
          </a:solidFill>
          <a:latin typeface="+mn-lt"/>
        </a:defRPr>
      </a:lvl7pPr>
      <a:lvl8pPr marL="2809875" indent="-177800" algn="l" rtl="0" eaLnBrk="0" fontAlgn="base" hangingPunct="0">
        <a:spcBef>
          <a:spcPct val="0"/>
        </a:spcBef>
        <a:spcAft>
          <a:spcPct val="0"/>
        </a:spcAft>
        <a:buFont typeface="Arial" charset="0"/>
        <a:buChar char="»"/>
        <a:defRPr sz="1000">
          <a:solidFill>
            <a:schemeClr val="tx1"/>
          </a:solidFill>
          <a:latin typeface="+mn-lt"/>
        </a:defRPr>
      </a:lvl8pPr>
      <a:lvl9pPr marL="3267075" indent="-177800" algn="l" rtl="0" eaLnBrk="0" fontAlgn="base" hangingPunct="0">
        <a:spcBef>
          <a:spcPct val="0"/>
        </a:spcBef>
        <a:spcAft>
          <a:spcPct val="0"/>
        </a:spcAft>
        <a:buFont typeface="Arial" charset="0"/>
        <a:buChar char="»"/>
        <a:defRPr sz="1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F765975-A351-42C2-A247-B41DB5844E41}" type="datetimeFigureOut">
              <a:rPr lang="en-US" smtClean="0">
                <a:solidFill>
                  <a:prstClr val="black">
                    <a:tint val="75000"/>
                  </a:prstClr>
                </a:solidFill>
              </a:rPr>
              <a:pPr/>
              <a:t>2/28/2019</a:t>
            </a:fld>
            <a:endParaRPr lang="en-US">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9644B14-AD48-466B-BE43-749EAD28AC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12700456"/>
      </p:ext>
    </p:extLst>
  </p:cSld>
  <p:clrMap bg1="dk1" tx1="lt1" bg2="dk2" tx2="lt2" accent1="accent1" accent2="accent2" accent3="accent3" accent4="accent4" accent5="accent5" accent6="accent6" hlink="hlink" folHlink="folHlink"/>
  <p:sldLayoutIdLst>
    <p:sldLayoutId id="2147483887"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89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oleObject" Target="../embeddings/oleObject3.bin"/><Relationship Id="rId7" Type="http://schemas.openxmlformats.org/officeDocument/2006/relationships/image" Target="../media/image25.emf"/><Relationship Id="rId2" Type="http://schemas.openxmlformats.org/officeDocument/2006/relationships/slideLayout" Target="../slideLayouts/slideLayout6.xml"/><Relationship Id="rId1" Type="http://schemas.openxmlformats.org/officeDocument/2006/relationships/vmlDrawing" Target="../drawings/vmlDrawing3.vml"/><Relationship Id="rId6" Type="http://schemas.openxmlformats.org/officeDocument/2006/relationships/oleObject" Target="../embeddings/oleObject4.bin"/><Relationship Id="rId5" Type="http://schemas.openxmlformats.org/officeDocument/2006/relationships/image" Target="../media/image26.png"/><Relationship Id="rId4" Type="http://schemas.openxmlformats.org/officeDocument/2006/relationships/image" Target="../media/image24.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6.xml"/><Relationship Id="rId1" Type="http://schemas.openxmlformats.org/officeDocument/2006/relationships/vmlDrawing" Target="../drawings/vmlDrawing4.vml"/><Relationship Id="rId6" Type="http://schemas.openxmlformats.org/officeDocument/2006/relationships/image" Target="../media/image29.wmf"/><Relationship Id="rId5" Type="http://schemas.openxmlformats.org/officeDocument/2006/relationships/oleObject" Target="../embeddings/oleObject6.bin"/><Relationship Id="rId4" Type="http://schemas.openxmlformats.org/officeDocument/2006/relationships/image" Target="../media/image28.wmf"/></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hyperlink" Target="http://www.microscopyu.com/tutorials/flash/superresolution/storm/index.html" TargetMode="External"/><Relationship Id="rId2" Type="http://schemas.openxmlformats.org/officeDocument/2006/relationships/hyperlink" Target="http://www.microscopyu.com/tutorials/flash/superresolution/stedvsstorm/index.html" TargetMode="Externa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35.wmf"/><Relationship Id="rId2" Type="http://schemas.openxmlformats.org/officeDocument/2006/relationships/slideLayout" Target="../slideLayouts/slideLayout24.xml"/><Relationship Id="rId1" Type="http://schemas.openxmlformats.org/officeDocument/2006/relationships/vmlDrawing" Target="../drawings/vmlDrawing5.vml"/><Relationship Id="rId6" Type="http://schemas.openxmlformats.org/officeDocument/2006/relationships/oleObject" Target="../embeddings/oleObject7.bin"/><Relationship Id="rId5" Type="http://schemas.openxmlformats.org/officeDocument/2006/relationships/image" Target="../media/image38.png"/><Relationship Id="rId4" Type="http://schemas.openxmlformats.org/officeDocument/2006/relationships/image" Target="../media/image37.png"/></Relationships>
</file>

<file path=ppt/slides/_rels/slide2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0.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25.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notesSlide" Target="../notesSlides/notesSlide13.xml"/><Relationship Id="rId7" Type="http://schemas.openxmlformats.org/officeDocument/2006/relationships/image" Target="../media/image44.jpeg"/><Relationship Id="rId2" Type="http://schemas.openxmlformats.org/officeDocument/2006/relationships/slideLayout" Target="../slideLayouts/slideLayout24.xml"/><Relationship Id="rId1" Type="http://schemas.openxmlformats.org/officeDocument/2006/relationships/vmlDrawing" Target="../drawings/vmlDrawing6.vml"/><Relationship Id="rId6" Type="http://schemas.openxmlformats.org/officeDocument/2006/relationships/image" Target="../media/image43.jpeg"/><Relationship Id="rId5" Type="http://schemas.openxmlformats.org/officeDocument/2006/relationships/image" Target="../media/image42.jpeg"/><Relationship Id="rId4" Type="http://schemas.openxmlformats.org/officeDocument/2006/relationships/image" Target="../media/image41.jpeg"/><Relationship Id="rId9" Type="http://schemas.openxmlformats.org/officeDocument/2006/relationships/image" Target="../media/image35.wmf"/></Relationships>
</file>

<file path=ppt/slides/_rels/slide26.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14.xml"/><Relationship Id="rId1" Type="http://schemas.openxmlformats.org/officeDocument/2006/relationships/slideLayout" Target="../slideLayouts/slideLayout5.xml"/><Relationship Id="rId4" Type="http://schemas.openxmlformats.org/officeDocument/2006/relationships/image" Target="../media/image46.jpeg"/></Relationships>
</file>

<file path=ppt/slides/_rels/slide27.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notesSlide" Target="../notesSlides/notesSlide18.xml"/><Relationship Id="rId1" Type="http://schemas.openxmlformats.org/officeDocument/2006/relationships/slideLayout" Target="../slideLayouts/slideLayout5.xml"/><Relationship Id="rId4" Type="http://schemas.openxmlformats.org/officeDocument/2006/relationships/image" Target="../media/image50.emf"/></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video" Target="../media/media1.mov"/><Relationship Id="rId1" Type="http://schemas.microsoft.com/office/2007/relationships/media" Target="../media/media1.mov"/><Relationship Id="rId6" Type="http://schemas.openxmlformats.org/officeDocument/2006/relationships/image" Target="../media/image52.png"/><Relationship Id="rId5" Type="http://schemas.openxmlformats.org/officeDocument/2006/relationships/image" Target="../media/image51.jpg"/><Relationship Id="rId4" Type="http://schemas.openxmlformats.org/officeDocument/2006/relationships/notesSlide" Target="../notesSlides/notesSlide19.xml"/></Relationships>
</file>

<file path=ppt/slides/_rels/slide32.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22.xml"/><Relationship Id="rId1" Type="http://schemas.openxmlformats.org/officeDocument/2006/relationships/slideLayout" Target="../slideLayouts/slideLayout4.xml"/><Relationship Id="rId4" Type="http://schemas.openxmlformats.org/officeDocument/2006/relationships/image" Target="../media/image55.jpeg"/></Relationships>
</file>

<file path=ppt/slides/_rels/slide35.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3.xml"/><Relationship Id="rId1" Type="http://schemas.openxmlformats.org/officeDocument/2006/relationships/slideLayout" Target="../slideLayouts/slideLayout32.xml"/></Relationships>
</file>

<file path=ppt/slides/_rels/slide3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4.xml"/><Relationship Id="rId1" Type="http://schemas.openxmlformats.org/officeDocument/2006/relationships/slideLayout" Target="../slideLayouts/slideLayout50.xml"/><Relationship Id="rId4" Type="http://schemas.microsoft.com/office/2007/relationships/hdphoto" Target="../media/hdphoto4.wdp"/></Relationships>
</file>

<file path=ppt/slides/_rels/slide3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5.xml"/><Relationship Id="rId1" Type="http://schemas.openxmlformats.org/officeDocument/2006/relationships/slideLayout" Target="../slideLayouts/slideLayout32.xml"/></Relationships>
</file>

<file path=ppt/slides/_rels/slide39.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59.jpg"/><Relationship Id="rId7" Type="http://schemas.openxmlformats.org/officeDocument/2006/relationships/image" Target="../media/image63.png"/><Relationship Id="rId2" Type="http://schemas.openxmlformats.org/officeDocument/2006/relationships/notesSlide" Target="../notesSlides/notesSlide26.xml"/><Relationship Id="rId1" Type="http://schemas.openxmlformats.org/officeDocument/2006/relationships/slideLayout" Target="../slideLayouts/slideLayout73.xml"/><Relationship Id="rId6" Type="http://schemas.openxmlformats.org/officeDocument/2006/relationships/image" Target="../media/image62.jpeg"/><Relationship Id="rId5" Type="http://schemas.openxmlformats.org/officeDocument/2006/relationships/image" Target="../media/image61.jpeg"/><Relationship Id="rId4" Type="http://schemas.openxmlformats.org/officeDocument/2006/relationships/image" Target="../media/image60.jpeg"/></Relationships>
</file>

<file path=ppt/slides/_rels/slide4.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7.xml"/><Relationship Id="rId1" Type="http://schemas.openxmlformats.org/officeDocument/2006/relationships/slideLayout" Target="../slideLayouts/slideLayout32.xml"/></Relationships>
</file>

<file path=ppt/slides/_rels/slide4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8.xml"/><Relationship Id="rId1" Type="http://schemas.openxmlformats.org/officeDocument/2006/relationships/slideLayout" Target="../slideLayouts/slideLayout32.xml"/></Relationships>
</file>

<file path=ppt/slides/_rels/slide4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9.xml"/><Relationship Id="rId1" Type="http://schemas.openxmlformats.org/officeDocument/2006/relationships/slideLayout" Target="../slideLayouts/slideLayout32.xml"/></Relationships>
</file>

<file path=ppt/slides/_rels/slide4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0.xml"/><Relationship Id="rId1" Type="http://schemas.openxmlformats.org/officeDocument/2006/relationships/slideLayout" Target="../slideLayouts/slideLayout32.xml"/></Relationships>
</file>

<file path=ppt/slides/_rels/slide44.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notesSlide" Target="../notesSlides/notesSlide31.xml"/><Relationship Id="rId1" Type="http://schemas.openxmlformats.org/officeDocument/2006/relationships/slideLayout" Target="../slideLayouts/slideLayout90.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72.emf"/><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20.png"/></Relationships>
</file>

<file path=ppt/slides/_rels/slide50.xml.rels><?xml version="1.0" encoding="UTF-8" standalone="yes"?>
<Relationships xmlns="http://schemas.openxmlformats.org/package/2006/relationships"><Relationship Id="rId3" Type="http://schemas.openxmlformats.org/officeDocument/2006/relationships/image" Target="../media/image73.emf"/><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3" Type="http://schemas.openxmlformats.org/officeDocument/2006/relationships/image" Target="../media/image75.wmf"/><Relationship Id="rId2" Type="http://schemas.openxmlformats.org/officeDocument/2006/relationships/image" Target="../media/image74.wmf"/><Relationship Id="rId1" Type="http://schemas.openxmlformats.org/officeDocument/2006/relationships/slideLayout" Target="../slideLayouts/slideLayout6.xml"/><Relationship Id="rId4" Type="http://schemas.openxmlformats.org/officeDocument/2006/relationships/image" Target="../media/image76.png"/></Relationships>
</file>

<file path=ppt/slides/_rels/slide52.xml.rels><?xml version="1.0" encoding="UTF-8" standalone="yes"?>
<Relationships xmlns="http://schemas.openxmlformats.org/package/2006/relationships"><Relationship Id="rId3" Type="http://schemas.openxmlformats.org/officeDocument/2006/relationships/image" Target="../media/image77.emf"/><Relationship Id="rId2" Type="http://schemas.openxmlformats.org/officeDocument/2006/relationships/image" Target="../media/image75.wmf"/><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hyperlink" Target="https://elifesciences.org/content/5/e18659" TargetMode="Externa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78.jp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80.jp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104.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81.png"/></Relationships>
</file>

<file path=ppt/slides/_rels/slide6.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Bi/BE 177: Principles of Modern Microscopy</a:t>
            </a:r>
          </a:p>
        </p:txBody>
      </p:sp>
      <p:sp>
        <p:nvSpPr>
          <p:cNvPr id="3" name="Subtitle 2"/>
          <p:cNvSpPr>
            <a:spLocks noGrp="1"/>
          </p:cNvSpPr>
          <p:nvPr>
            <p:ph type="subTitle" idx="1"/>
          </p:nvPr>
        </p:nvSpPr>
        <p:spPr/>
        <p:txBody>
          <a:bodyPr>
            <a:normAutofit/>
          </a:bodyPr>
          <a:lstStyle/>
          <a:p>
            <a:r>
              <a:rPr lang="en-US" dirty="0"/>
              <a:t>Lecture 16: Super-resolution microscopy: Part 2</a:t>
            </a:r>
          </a:p>
          <a:p>
            <a:r>
              <a:rPr lang="en-US" dirty="0"/>
              <a:t>Andres Collazo, Director Biological Imaging Facility</a:t>
            </a:r>
          </a:p>
          <a:p>
            <a:r>
              <a:rPr lang="en-US" dirty="0"/>
              <a:t>Wan-</a:t>
            </a:r>
            <a:r>
              <a:rPr lang="en-US" dirty="0" err="1"/>
              <a:t>Rong</a:t>
            </a:r>
            <a:r>
              <a:rPr lang="en-US" dirty="0"/>
              <a:t> (Sandy) Wong, Graduate Student, TA</a:t>
            </a:r>
          </a:p>
          <a:p>
            <a:endParaRPr lang="en-US" dirty="0"/>
          </a:p>
        </p:txBody>
      </p:sp>
    </p:spTree>
    <p:extLst>
      <p:ext uri="{BB962C8B-B14F-4D97-AF65-F5344CB8AC3E}">
        <p14:creationId xmlns:p14="http://schemas.microsoft.com/office/powerpoint/2010/main" val="28996813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t>STED: STimulated Emission Depletion</a:t>
            </a:r>
          </a:p>
        </p:txBody>
      </p:sp>
      <p:sp>
        <p:nvSpPr>
          <p:cNvPr id="4" name="Text Box 5"/>
          <p:cNvSpPr txBox="1">
            <a:spLocks noChangeArrowheads="1"/>
          </p:cNvSpPr>
          <p:nvPr/>
        </p:nvSpPr>
        <p:spPr bwMode="auto">
          <a:xfrm>
            <a:off x="3542110" y="6147956"/>
            <a:ext cx="2146742"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fontAlgn="base" hangingPunct="0">
              <a:spcBef>
                <a:spcPct val="0"/>
              </a:spcBef>
              <a:spcAft>
                <a:spcPct val="0"/>
              </a:spcAft>
            </a:pPr>
            <a:r>
              <a:rPr lang="en-US" altLang="en-US" sz="900" b="1">
                <a:solidFill>
                  <a:srgbClr val="000000"/>
                </a:solidFill>
              </a:rPr>
              <a:t>http://zeiss-campus.magnet.fsu.edu</a:t>
            </a:r>
          </a:p>
        </p:txBody>
      </p:sp>
      <p:pic>
        <p:nvPicPr>
          <p:cNvPr id="5" name="Picture 7" descr="superresolutionfigure6_STE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5182" y="1282830"/>
            <a:ext cx="7387936" cy="4659245"/>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5933209" y="5673436"/>
            <a:ext cx="904009" cy="2686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563930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3200" dirty="0"/>
              <a:t>STED Microscopy means scanning a smaller focal spot across the sample</a:t>
            </a:r>
          </a:p>
        </p:txBody>
      </p:sp>
      <p:graphicFrame>
        <p:nvGraphicFramePr>
          <p:cNvPr id="5" name="Object 2"/>
          <p:cNvGraphicFramePr>
            <a:graphicFrameLocks noChangeAspect="1"/>
          </p:cNvGraphicFramePr>
          <p:nvPr>
            <p:extLst>
              <p:ext uri="{D42A27DB-BD31-4B8C-83A1-F6EECF244321}">
                <p14:modId xmlns:p14="http://schemas.microsoft.com/office/powerpoint/2010/main" val="2799048229"/>
              </p:ext>
            </p:extLst>
          </p:nvPr>
        </p:nvGraphicFramePr>
        <p:xfrm>
          <a:off x="713075" y="3686464"/>
          <a:ext cx="2562225" cy="2076450"/>
        </p:xfrm>
        <a:graphic>
          <a:graphicData uri="http://schemas.openxmlformats.org/presentationml/2006/ole">
            <mc:AlternateContent xmlns:mc="http://schemas.openxmlformats.org/markup-compatibility/2006">
              <mc:Choice xmlns:v="urn:schemas-microsoft-com:vml" Requires="v">
                <p:oleObj spid="_x0000_s3074" name="Chart" r:id="rId3" imgW="2596237" imgH="2049015" progId="Excel.Chart.8">
                  <p:embed/>
                </p:oleObj>
              </mc:Choice>
              <mc:Fallback>
                <p:oleObj name="Chart" r:id="rId3" imgW="2596237" imgH="2049015" progId="Excel.Chart.8">
                  <p:embed/>
                  <p:pic>
                    <p:nvPicPr>
                      <p:cNvPr id="5" name="Object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3075" y="3686464"/>
                        <a:ext cx="2562225" cy="2076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6" name="Text Box 3"/>
          <p:cNvSpPr txBox="1">
            <a:spLocks noChangeArrowheads="1"/>
          </p:cNvSpPr>
          <p:nvPr/>
        </p:nvSpPr>
        <p:spPr bwMode="auto">
          <a:xfrm>
            <a:off x="640050" y="949614"/>
            <a:ext cx="6259512" cy="885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endParaRPr lang="de-DE" altLang="en-US" sz="2000" dirty="0"/>
          </a:p>
          <a:p>
            <a:pPr algn="l"/>
            <a:r>
              <a:rPr lang="de-DE" altLang="en-US" sz="1600" dirty="0"/>
              <a:t>Point Spread Function:  Confocal vs STED</a:t>
            </a:r>
            <a:endParaRPr lang="de-DE" altLang="en-US" sz="1600" i="1" dirty="0"/>
          </a:p>
          <a:p>
            <a:pPr algn="l"/>
            <a:r>
              <a:rPr lang="de-DE" altLang="en-US" sz="1600" i="1" dirty="0"/>
              <a:t>measured with fluorescent nanoparticles under the same conditions</a:t>
            </a:r>
            <a:endParaRPr lang="en-US" altLang="en-US" sz="1600" i="1" dirty="0"/>
          </a:p>
        </p:txBody>
      </p:sp>
      <p:grpSp>
        <p:nvGrpSpPr>
          <p:cNvPr id="7" name="Group 4"/>
          <p:cNvGrpSpPr>
            <a:grpSpLocks/>
          </p:cNvGrpSpPr>
          <p:nvPr/>
        </p:nvGrpSpPr>
        <p:grpSpPr bwMode="auto">
          <a:xfrm>
            <a:off x="1384587" y="2092614"/>
            <a:ext cx="1219200" cy="1219200"/>
            <a:chOff x="3651" y="1298"/>
            <a:chExt cx="768" cy="768"/>
          </a:xfrm>
        </p:grpSpPr>
        <p:pic>
          <p:nvPicPr>
            <p:cNvPr id="8" name="Picture 5" descr="02 Confocal PSF_cutout"/>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51" y="1298"/>
              <a:ext cx="768" cy="768"/>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6"/>
            <p:cNvGrpSpPr>
              <a:grpSpLocks/>
            </p:cNvGrpSpPr>
            <p:nvPr/>
          </p:nvGrpSpPr>
          <p:grpSpPr bwMode="auto">
            <a:xfrm>
              <a:off x="3669" y="1848"/>
              <a:ext cx="148" cy="201"/>
              <a:chOff x="1816" y="1815"/>
              <a:chExt cx="148" cy="201"/>
            </a:xfrm>
          </p:grpSpPr>
          <p:sp>
            <p:nvSpPr>
              <p:cNvPr id="10" name="Line 7"/>
              <p:cNvSpPr>
                <a:spLocks noChangeShapeType="1"/>
              </p:cNvSpPr>
              <p:nvPr/>
            </p:nvSpPr>
            <p:spPr bwMode="auto">
              <a:xfrm flipV="1">
                <a:off x="1837" y="1888"/>
                <a:ext cx="0" cy="91"/>
              </a:xfrm>
              <a:prstGeom prst="line">
                <a:avLst/>
              </a:prstGeom>
              <a:noFill/>
              <a:ln w="9525">
                <a:solidFill>
                  <a:schemeClr val="bg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 name="Line 8"/>
              <p:cNvSpPr>
                <a:spLocks noChangeShapeType="1"/>
              </p:cNvSpPr>
              <p:nvPr/>
            </p:nvSpPr>
            <p:spPr bwMode="auto">
              <a:xfrm rot="5400000" flipV="1">
                <a:off x="1883" y="1933"/>
                <a:ext cx="0" cy="91"/>
              </a:xfrm>
              <a:prstGeom prst="line">
                <a:avLst/>
              </a:prstGeom>
              <a:noFill/>
              <a:ln w="9525">
                <a:solidFill>
                  <a:schemeClr val="bg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2" name="Text Box 9"/>
              <p:cNvSpPr txBox="1">
                <a:spLocks noChangeArrowheads="1"/>
              </p:cNvSpPr>
              <p:nvPr/>
            </p:nvSpPr>
            <p:spPr bwMode="auto">
              <a:xfrm>
                <a:off x="1816" y="1815"/>
                <a:ext cx="31" cy="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r>
                  <a:rPr lang="de-DE" altLang="en-US" sz="700" b="1" i="1">
                    <a:solidFill>
                      <a:schemeClr val="bg1"/>
                    </a:solidFill>
                  </a:rPr>
                  <a:t>y</a:t>
                </a:r>
                <a:endParaRPr lang="en-US" altLang="en-US" sz="700" b="1" i="1">
                  <a:solidFill>
                    <a:schemeClr val="bg1"/>
                  </a:solidFill>
                </a:endParaRPr>
              </a:p>
            </p:txBody>
          </p:sp>
          <p:sp>
            <p:nvSpPr>
              <p:cNvPr id="13" name="Text Box 10"/>
              <p:cNvSpPr txBox="1">
                <a:spLocks noChangeArrowheads="1"/>
              </p:cNvSpPr>
              <p:nvPr/>
            </p:nvSpPr>
            <p:spPr bwMode="auto">
              <a:xfrm>
                <a:off x="1933" y="1949"/>
                <a:ext cx="31" cy="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r>
                  <a:rPr lang="de-DE" altLang="en-US" sz="700" b="1" i="1">
                    <a:solidFill>
                      <a:schemeClr val="bg1"/>
                    </a:solidFill>
                  </a:rPr>
                  <a:t>x</a:t>
                </a:r>
                <a:endParaRPr lang="en-US" altLang="en-US" sz="700" b="1" i="1">
                  <a:solidFill>
                    <a:schemeClr val="bg1"/>
                  </a:solidFill>
                </a:endParaRPr>
              </a:p>
            </p:txBody>
          </p:sp>
        </p:grpSp>
      </p:grpSp>
      <p:grpSp>
        <p:nvGrpSpPr>
          <p:cNvPr id="14" name="Group 11"/>
          <p:cNvGrpSpPr>
            <a:grpSpLocks/>
          </p:cNvGrpSpPr>
          <p:nvPr/>
        </p:nvGrpSpPr>
        <p:grpSpPr bwMode="auto">
          <a:xfrm>
            <a:off x="757525" y="2791114"/>
            <a:ext cx="2438400" cy="962025"/>
            <a:chOff x="3256" y="1738"/>
            <a:chExt cx="1536" cy="606"/>
          </a:xfrm>
        </p:grpSpPr>
        <p:sp>
          <p:nvSpPr>
            <p:cNvPr id="15" name="Line 12"/>
            <p:cNvSpPr>
              <a:spLocks noChangeShapeType="1"/>
            </p:cNvSpPr>
            <p:nvPr/>
          </p:nvSpPr>
          <p:spPr bwMode="auto">
            <a:xfrm>
              <a:off x="3940" y="1744"/>
              <a:ext cx="0" cy="330"/>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6" name="Line 13"/>
            <p:cNvSpPr>
              <a:spLocks noChangeShapeType="1"/>
            </p:cNvSpPr>
            <p:nvPr/>
          </p:nvSpPr>
          <p:spPr bwMode="auto">
            <a:xfrm flipH="1">
              <a:off x="3256" y="2074"/>
              <a:ext cx="684" cy="270"/>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 name="Line 14"/>
            <p:cNvSpPr>
              <a:spLocks noChangeShapeType="1"/>
            </p:cNvSpPr>
            <p:nvPr/>
          </p:nvSpPr>
          <p:spPr bwMode="auto">
            <a:xfrm>
              <a:off x="4114" y="1738"/>
              <a:ext cx="0" cy="336"/>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8" name="Line 15"/>
            <p:cNvSpPr>
              <a:spLocks noChangeShapeType="1"/>
            </p:cNvSpPr>
            <p:nvPr/>
          </p:nvSpPr>
          <p:spPr bwMode="auto">
            <a:xfrm>
              <a:off x="4108" y="2080"/>
              <a:ext cx="684" cy="258"/>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aphicFrame>
        <p:nvGraphicFramePr>
          <p:cNvPr id="19" name="Object 16"/>
          <p:cNvGraphicFramePr>
            <a:graphicFrameLocks noChangeAspect="1"/>
          </p:cNvGraphicFramePr>
          <p:nvPr>
            <p:extLst>
              <p:ext uri="{D42A27DB-BD31-4B8C-83A1-F6EECF244321}">
                <p14:modId xmlns:p14="http://schemas.microsoft.com/office/powerpoint/2010/main" val="3188013493"/>
              </p:ext>
            </p:extLst>
          </p:nvPr>
        </p:nvGraphicFramePr>
        <p:xfrm>
          <a:off x="3684875" y="3689639"/>
          <a:ext cx="2571750" cy="2085975"/>
        </p:xfrm>
        <a:graphic>
          <a:graphicData uri="http://schemas.openxmlformats.org/presentationml/2006/ole">
            <mc:AlternateContent xmlns:mc="http://schemas.openxmlformats.org/markup-compatibility/2006">
              <mc:Choice xmlns:v="urn:schemas-microsoft-com:vml" Requires="v">
                <p:oleObj spid="_x0000_s3075" name="Chart" r:id="rId6" imgW="2602953" imgH="2062448" progId="Excel.Chart.8">
                  <p:embed/>
                </p:oleObj>
              </mc:Choice>
              <mc:Fallback>
                <p:oleObj name="Chart" r:id="rId6" imgW="2602953" imgH="2062448" progId="Excel.Chart.8">
                  <p:embed/>
                  <p:pic>
                    <p:nvPicPr>
                      <p:cNvPr id="19" name="Object 1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84875" y="3689639"/>
                        <a:ext cx="2571750" cy="2085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nvGrpSpPr>
          <p:cNvPr id="20" name="Group 17"/>
          <p:cNvGrpSpPr>
            <a:grpSpLocks/>
          </p:cNvGrpSpPr>
          <p:nvPr/>
        </p:nvGrpSpPr>
        <p:grpSpPr bwMode="auto">
          <a:xfrm>
            <a:off x="4361150" y="2314864"/>
            <a:ext cx="1219200" cy="939800"/>
            <a:chOff x="1746" y="1298"/>
            <a:chExt cx="768" cy="771"/>
          </a:xfrm>
        </p:grpSpPr>
        <p:pic>
          <p:nvPicPr>
            <p:cNvPr id="21" name="Picture 18" descr="02 STEDxy PSF_cuotout"/>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746" y="1298"/>
              <a:ext cx="768" cy="768"/>
            </a:xfrm>
            <a:prstGeom prst="rect">
              <a:avLst/>
            </a:prstGeom>
            <a:noFill/>
            <a:extLst>
              <a:ext uri="{909E8E84-426E-40DD-AFC4-6F175D3DCCD1}">
                <a14:hiddenFill xmlns:a14="http://schemas.microsoft.com/office/drawing/2010/main">
                  <a:solidFill>
                    <a:srgbClr val="FFFFFF"/>
                  </a:solidFill>
                </a14:hiddenFill>
              </a:ext>
            </a:extLst>
          </p:spPr>
        </p:pic>
        <p:grpSp>
          <p:nvGrpSpPr>
            <p:cNvPr id="22" name="Group 19"/>
            <p:cNvGrpSpPr>
              <a:grpSpLocks/>
            </p:cNvGrpSpPr>
            <p:nvPr/>
          </p:nvGrpSpPr>
          <p:grpSpPr bwMode="auto">
            <a:xfrm>
              <a:off x="1764" y="1848"/>
              <a:ext cx="148" cy="221"/>
              <a:chOff x="1816" y="1815"/>
              <a:chExt cx="148" cy="221"/>
            </a:xfrm>
          </p:grpSpPr>
          <p:sp>
            <p:nvSpPr>
              <p:cNvPr id="23" name="Line 20"/>
              <p:cNvSpPr>
                <a:spLocks noChangeShapeType="1"/>
              </p:cNvSpPr>
              <p:nvPr/>
            </p:nvSpPr>
            <p:spPr bwMode="auto">
              <a:xfrm flipV="1">
                <a:off x="1837" y="1888"/>
                <a:ext cx="0" cy="91"/>
              </a:xfrm>
              <a:prstGeom prst="line">
                <a:avLst/>
              </a:prstGeom>
              <a:noFill/>
              <a:ln w="9525">
                <a:solidFill>
                  <a:schemeClr val="bg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4" name="Line 21"/>
              <p:cNvSpPr>
                <a:spLocks noChangeShapeType="1"/>
              </p:cNvSpPr>
              <p:nvPr/>
            </p:nvSpPr>
            <p:spPr bwMode="auto">
              <a:xfrm rot="5400000" flipV="1">
                <a:off x="1883" y="1933"/>
                <a:ext cx="0" cy="91"/>
              </a:xfrm>
              <a:prstGeom prst="line">
                <a:avLst/>
              </a:prstGeom>
              <a:noFill/>
              <a:ln w="9525">
                <a:solidFill>
                  <a:schemeClr val="bg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5" name="Text Box 22"/>
              <p:cNvSpPr txBox="1">
                <a:spLocks noChangeArrowheads="1"/>
              </p:cNvSpPr>
              <p:nvPr/>
            </p:nvSpPr>
            <p:spPr bwMode="auto">
              <a:xfrm>
                <a:off x="1816" y="1815"/>
                <a:ext cx="31"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r>
                  <a:rPr lang="de-DE" altLang="en-US" sz="700" b="1" i="1">
                    <a:solidFill>
                      <a:schemeClr val="bg1"/>
                    </a:solidFill>
                  </a:rPr>
                  <a:t>y</a:t>
                </a:r>
                <a:endParaRPr lang="en-US" altLang="en-US" sz="700" b="1" i="1">
                  <a:solidFill>
                    <a:schemeClr val="bg1"/>
                  </a:solidFill>
                </a:endParaRPr>
              </a:p>
            </p:txBody>
          </p:sp>
          <p:sp>
            <p:nvSpPr>
              <p:cNvPr id="26" name="Text Box 23"/>
              <p:cNvSpPr txBox="1">
                <a:spLocks noChangeArrowheads="1"/>
              </p:cNvSpPr>
              <p:nvPr/>
            </p:nvSpPr>
            <p:spPr bwMode="auto">
              <a:xfrm>
                <a:off x="1933" y="1949"/>
                <a:ext cx="31"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r>
                  <a:rPr lang="de-DE" altLang="en-US" sz="700" b="1" i="1">
                    <a:solidFill>
                      <a:schemeClr val="bg1"/>
                    </a:solidFill>
                  </a:rPr>
                  <a:t>x</a:t>
                </a:r>
                <a:endParaRPr lang="en-US" altLang="en-US" sz="700" b="1" i="1">
                  <a:solidFill>
                    <a:schemeClr val="bg1"/>
                  </a:solidFill>
                </a:endParaRPr>
              </a:p>
            </p:txBody>
          </p:sp>
        </p:grpSp>
      </p:grpSp>
      <p:grpSp>
        <p:nvGrpSpPr>
          <p:cNvPr id="27" name="Group 24"/>
          <p:cNvGrpSpPr>
            <a:grpSpLocks/>
          </p:cNvGrpSpPr>
          <p:nvPr/>
        </p:nvGrpSpPr>
        <p:grpSpPr bwMode="auto">
          <a:xfrm>
            <a:off x="3742025" y="2784764"/>
            <a:ext cx="2447925" cy="952500"/>
            <a:chOff x="1356" y="1728"/>
            <a:chExt cx="1542" cy="600"/>
          </a:xfrm>
        </p:grpSpPr>
        <p:sp>
          <p:nvSpPr>
            <p:cNvPr id="28" name="Line 25"/>
            <p:cNvSpPr>
              <a:spLocks noChangeShapeType="1"/>
            </p:cNvSpPr>
            <p:nvPr/>
          </p:nvSpPr>
          <p:spPr bwMode="auto">
            <a:xfrm>
              <a:off x="2082" y="1734"/>
              <a:ext cx="0" cy="330"/>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9" name="Line 26"/>
            <p:cNvSpPr>
              <a:spLocks noChangeShapeType="1"/>
            </p:cNvSpPr>
            <p:nvPr/>
          </p:nvSpPr>
          <p:spPr bwMode="auto">
            <a:xfrm flipH="1">
              <a:off x="1356" y="2064"/>
              <a:ext cx="726" cy="264"/>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0" name="Line 27"/>
            <p:cNvSpPr>
              <a:spLocks noChangeShapeType="1"/>
            </p:cNvSpPr>
            <p:nvPr/>
          </p:nvSpPr>
          <p:spPr bwMode="auto">
            <a:xfrm>
              <a:off x="2160" y="1728"/>
              <a:ext cx="0" cy="336"/>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1" name="Line 28"/>
            <p:cNvSpPr>
              <a:spLocks noChangeShapeType="1"/>
            </p:cNvSpPr>
            <p:nvPr/>
          </p:nvSpPr>
          <p:spPr bwMode="auto">
            <a:xfrm>
              <a:off x="2154" y="2070"/>
              <a:ext cx="744" cy="258"/>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
        <p:nvSpPr>
          <p:cNvPr id="32" name="Rectangle 29"/>
          <p:cNvSpPr>
            <a:spLocks noChangeArrowheads="1"/>
          </p:cNvSpPr>
          <p:nvPr/>
        </p:nvSpPr>
        <p:spPr bwMode="auto">
          <a:xfrm>
            <a:off x="497175" y="517814"/>
            <a:ext cx="18415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eaLnBrk="0" hangingPunct="0"/>
            <a:endParaRPr lang="de-DE" altLang="en-US"/>
          </a:p>
        </p:txBody>
      </p:sp>
      <p:sp>
        <p:nvSpPr>
          <p:cNvPr id="33" name="Rectangle 31"/>
          <p:cNvSpPr>
            <a:spLocks noChangeArrowheads="1"/>
          </p:cNvSpPr>
          <p:nvPr/>
        </p:nvSpPr>
        <p:spPr bwMode="auto">
          <a:xfrm>
            <a:off x="6263768" y="2092614"/>
            <a:ext cx="2682875" cy="3988784"/>
          </a:xfrm>
          <a:prstGeom prst="rect">
            <a:avLst/>
          </a:prstGeom>
          <a:noFill/>
          <a:ln>
            <a:noFill/>
          </a:ln>
          <a:effectLst/>
          <a:extLst>
            <a:ext uri="{909E8E84-426E-40DD-AFC4-6F175D3DCCD1}">
              <a14:hiddenFill xmlns:a14="http://schemas.microsoft.com/office/drawing/2010/main">
                <a:gradFill rotWithShape="1">
                  <a:gsLst>
                    <a:gs pos="0">
                      <a:srgbClr val="DDDDDD">
                        <a:alpha val="63000"/>
                      </a:srgbClr>
                    </a:gs>
                    <a:gs pos="100000">
                      <a:srgbClr val="DDDDDD">
                        <a:gamma/>
                        <a:shade val="88627"/>
                        <a:invGamma/>
                      </a:srgbClr>
                    </a:gs>
                  </a:gsLst>
                  <a:path path="rect">
                    <a:fillToRect r="100000" b="100000"/>
                  </a:path>
                </a:gra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gn="l" defTabSz="762000">
              <a:defRPr>
                <a:solidFill>
                  <a:schemeClr val="tx1"/>
                </a:solidFill>
                <a:latin typeface="Arial" panose="020B0604020202020204" pitchFamily="34" charset="0"/>
              </a:defRPr>
            </a:lvl1pPr>
            <a:lvl2pPr algn="l" defTabSz="762000">
              <a:defRPr>
                <a:solidFill>
                  <a:schemeClr val="tx1"/>
                </a:solidFill>
                <a:latin typeface="Arial" panose="020B0604020202020204" pitchFamily="34" charset="0"/>
              </a:defRPr>
            </a:lvl2pPr>
            <a:lvl3pPr algn="l" defTabSz="762000">
              <a:defRPr>
                <a:solidFill>
                  <a:schemeClr val="tx1"/>
                </a:solidFill>
                <a:latin typeface="Arial" panose="020B0604020202020204" pitchFamily="34" charset="0"/>
              </a:defRPr>
            </a:lvl3pPr>
            <a:lvl4pPr algn="l" defTabSz="762000">
              <a:defRPr>
                <a:solidFill>
                  <a:schemeClr val="tx1"/>
                </a:solidFill>
                <a:latin typeface="Arial" panose="020B0604020202020204" pitchFamily="34" charset="0"/>
              </a:defRPr>
            </a:lvl4pPr>
            <a:lvl5pPr algn="l" defTabSz="762000">
              <a:defRPr>
                <a:solidFill>
                  <a:schemeClr val="tx1"/>
                </a:solidFill>
                <a:latin typeface="Arial" panose="020B0604020202020204" pitchFamily="34" charset="0"/>
              </a:defRPr>
            </a:lvl5pPr>
            <a:lvl6pPr defTabSz="762000" fontAlgn="base">
              <a:spcBef>
                <a:spcPct val="0"/>
              </a:spcBef>
              <a:spcAft>
                <a:spcPct val="0"/>
              </a:spcAft>
              <a:defRPr>
                <a:solidFill>
                  <a:schemeClr val="tx1"/>
                </a:solidFill>
                <a:latin typeface="Arial" panose="020B0604020202020204" pitchFamily="34" charset="0"/>
              </a:defRPr>
            </a:lvl6pPr>
            <a:lvl7pPr defTabSz="762000" fontAlgn="base">
              <a:spcBef>
                <a:spcPct val="0"/>
              </a:spcBef>
              <a:spcAft>
                <a:spcPct val="0"/>
              </a:spcAft>
              <a:defRPr>
                <a:solidFill>
                  <a:schemeClr val="tx1"/>
                </a:solidFill>
                <a:latin typeface="Arial" panose="020B0604020202020204" pitchFamily="34" charset="0"/>
              </a:defRPr>
            </a:lvl7pPr>
            <a:lvl8pPr defTabSz="762000" fontAlgn="base">
              <a:spcBef>
                <a:spcPct val="0"/>
              </a:spcBef>
              <a:spcAft>
                <a:spcPct val="0"/>
              </a:spcAft>
              <a:defRPr>
                <a:solidFill>
                  <a:schemeClr val="tx1"/>
                </a:solidFill>
                <a:latin typeface="Arial" panose="020B0604020202020204" pitchFamily="34" charset="0"/>
              </a:defRPr>
            </a:lvl8pPr>
            <a:lvl9pPr defTabSz="762000" fontAlgn="base">
              <a:spcBef>
                <a:spcPct val="0"/>
              </a:spcBef>
              <a:spcAft>
                <a:spcPct val="0"/>
              </a:spcAft>
              <a:defRPr>
                <a:solidFill>
                  <a:schemeClr val="tx1"/>
                </a:solidFill>
                <a:latin typeface="Arial" panose="020B0604020202020204" pitchFamily="34" charset="0"/>
              </a:defRPr>
            </a:lvl9pPr>
          </a:lstStyle>
          <a:p>
            <a:pPr eaLnBrk="0" hangingPunct="0">
              <a:lnSpc>
                <a:spcPct val="90000"/>
              </a:lnSpc>
              <a:buClr>
                <a:srgbClr val="FF0000"/>
              </a:buClr>
              <a:buFont typeface="Wingdings" panose="05000000000000000000" pitchFamily="2" charset="2"/>
              <a:buChar char="§"/>
            </a:pPr>
            <a:r>
              <a:rPr lang="de-DE" altLang="en-US" sz="1400" dirty="0">
                <a:latin typeface="+mn-lt"/>
              </a:rPr>
              <a:t> </a:t>
            </a:r>
            <a:r>
              <a:rPr lang="de-DE" altLang="en-US" sz="1600" dirty="0">
                <a:latin typeface="+mn-lt"/>
              </a:rPr>
              <a:t>Typical lateral (X-Y) </a:t>
            </a:r>
            <a:br>
              <a:rPr lang="de-DE" altLang="en-US" sz="1600" dirty="0">
                <a:latin typeface="+mn-lt"/>
              </a:rPr>
            </a:br>
            <a:r>
              <a:rPr lang="de-DE" altLang="en-US" sz="1600" dirty="0">
                <a:latin typeface="+mn-lt"/>
              </a:rPr>
              <a:t>   resolution in a Confocal: </a:t>
            </a:r>
            <a:br>
              <a:rPr lang="de-DE" altLang="en-US" sz="1600" dirty="0">
                <a:latin typeface="+mn-lt"/>
              </a:rPr>
            </a:br>
            <a:r>
              <a:rPr lang="de-DE" altLang="en-US" sz="1600" dirty="0">
                <a:latin typeface="+mn-lt"/>
              </a:rPr>
              <a:t>    200x200 nm</a:t>
            </a:r>
          </a:p>
          <a:p>
            <a:pPr eaLnBrk="0" hangingPunct="0">
              <a:lnSpc>
                <a:spcPct val="90000"/>
              </a:lnSpc>
              <a:buClr>
                <a:srgbClr val="FF0000"/>
              </a:buClr>
              <a:buFont typeface="Wingdings" panose="05000000000000000000" pitchFamily="2" charset="2"/>
              <a:buChar char="§"/>
            </a:pPr>
            <a:endParaRPr lang="de-DE" altLang="en-US" sz="1600" dirty="0">
              <a:latin typeface="+mn-lt"/>
            </a:endParaRPr>
          </a:p>
          <a:p>
            <a:pPr eaLnBrk="0" hangingPunct="0">
              <a:lnSpc>
                <a:spcPct val="90000"/>
              </a:lnSpc>
              <a:buClr>
                <a:srgbClr val="FF0000"/>
              </a:buClr>
              <a:buFont typeface="Wingdings" panose="05000000000000000000" pitchFamily="2" charset="2"/>
              <a:buChar char="§"/>
            </a:pPr>
            <a:r>
              <a:rPr lang="de-DE" altLang="en-US" sz="1600" dirty="0">
                <a:latin typeface="+mn-lt"/>
              </a:rPr>
              <a:t> Typical lateral (X-Y) FWHM </a:t>
            </a:r>
            <a:br>
              <a:rPr lang="de-DE" altLang="en-US" sz="1600" dirty="0">
                <a:latin typeface="+mn-lt"/>
              </a:rPr>
            </a:br>
            <a:r>
              <a:rPr lang="de-DE" altLang="en-US" sz="1600" dirty="0">
                <a:latin typeface="+mn-lt"/>
              </a:rPr>
              <a:t>   (Full Width Half Maximum)</a:t>
            </a:r>
          </a:p>
          <a:p>
            <a:pPr eaLnBrk="0" hangingPunct="0">
              <a:lnSpc>
                <a:spcPct val="90000"/>
              </a:lnSpc>
              <a:buClr>
                <a:srgbClr val="FF0000"/>
              </a:buClr>
              <a:buFont typeface="Wingdings" panose="05000000000000000000" pitchFamily="2" charset="2"/>
              <a:buNone/>
            </a:pPr>
            <a:r>
              <a:rPr lang="de-DE" altLang="en-US" sz="1600" dirty="0">
                <a:latin typeface="+mn-lt"/>
              </a:rPr>
              <a:t>    in STED is  90x90 nm</a:t>
            </a:r>
          </a:p>
          <a:p>
            <a:pPr eaLnBrk="0" hangingPunct="0">
              <a:lnSpc>
                <a:spcPct val="90000"/>
              </a:lnSpc>
              <a:buClr>
                <a:srgbClr val="FF0000"/>
              </a:buClr>
              <a:buFont typeface="Wingdings" panose="05000000000000000000" pitchFamily="2" charset="2"/>
              <a:buChar char="§"/>
            </a:pPr>
            <a:endParaRPr lang="de-DE" altLang="en-US" sz="1600" dirty="0">
              <a:latin typeface="+mn-lt"/>
            </a:endParaRPr>
          </a:p>
          <a:p>
            <a:pPr eaLnBrk="0" hangingPunct="0">
              <a:lnSpc>
                <a:spcPct val="90000"/>
              </a:lnSpc>
              <a:buClr>
                <a:srgbClr val="FF0000"/>
              </a:buClr>
              <a:buFont typeface="Wingdings" panose="05000000000000000000" pitchFamily="2" charset="2"/>
              <a:buChar char="§"/>
            </a:pPr>
            <a:r>
              <a:rPr lang="de-DE" altLang="en-US" sz="1600" dirty="0">
                <a:latin typeface="+mn-lt"/>
              </a:rPr>
              <a:t>  STED z resolution is </a:t>
            </a:r>
            <a:br>
              <a:rPr lang="de-DE" altLang="en-US" sz="1600" dirty="0">
                <a:latin typeface="+mn-lt"/>
              </a:rPr>
            </a:br>
            <a:r>
              <a:rPr lang="de-DE" altLang="en-US" sz="1600" dirty="0">
                <a:latin typeface="+mn-lt"/>
              </a:rPr>
              <a:t>    confocal (500 nm)</a:t>
            </a:r>
          </a:p>
          <a:p>
            <a:pPr eaLnBrk="0" hangingPunct="0">
              <a:lnSpc>
                <a:spcPct val="90000"/>
              </a:lnSpc>
              <a:buClr>
                <a:srgbClr val="FF0000"/>
              </a:buClr>
              <a:buFont typeface="Wingdings" panose="05000000000000000000" pitchFamily="2" charset="2"/>
              <a:buChar char="§"/>
            </a:pPr>
            <a:endParaRPr lang="de-DE" altLang="en-US" sz="1600" dirty="0">
              <a:latin typeface="+mn-lt"/>
            </a:endParaRPr>
          </a:p>
          <a:p>
            <a:pPr eaLnBrk="0" hangingPunct="0">
              <a:lnSpc>
                <a:spcPct val="90000"/>
              </a:lnSpc>
              <a:buClr>
                <a:srgbClr val="FF0000"/>
              </a:buClr>
              <a:buFont typeface="Wingdings" panose="05000000000000000000" pitchFamily="2" charset="2"/>
              <a:buChar char="§"/>
            </a:pPr>
            <a:r>
              <a:rPr lang="de-DE" altLang="en-US" sz="1600" dirty="0">
                <a:latin typeface="+mn-lt"/>
              </a:rPr>
              <a:t>  STED enables separation </a:t>
            </a:r>
            <a:br>
              <a:rPr lang="de-DE" altLang="en-US" sz="1600" dirty="0">
                <a:latin typeface="+mn-lt"/>
              </a:rPr>
            </a:br>
            <a:r>
              <a:rPr lang="de-DE" altLang="en-US" sz="1600" dirty="0">
                <a:latin typeface="+mn-lt"/>
              </a:rPr>
              <a:t>    of structures even smaller </a:t>
            </a:r>
            <a:br>
              <a:rPr lang="de-DE" altLang="en-US" sz="1600" dirty="0">
                <a:latin typeface="+mn-lt"/>
              </a:rPr>
            </a:br>
            <a:r>
              <a:rPr lang="de-DE" altLang="en-US" sz="1600" dirty="0">
                <a:latin typeface="+mn-lt"/>
              </a:rPr>
              <a:t>    than its FWHM due to the </a:t>
            </a:r>
            <a:br>
              <a:rPr lang="de-DE" altLang="en-US" sz="1600" dirty="0">
                <a:latin typeface="+mn-lt"/>
              </a:rPr>
            </a:br>
            <a:r>
              <a:rPr lang="de-DE" altLang="en-US" sz="1600" dirty="0">
                <a:latin typeface="+mn-lt"/>
              </a:rPr>
              <a:t>    sharp peak. Actual </a:t>
            </a:r>
            <a:br>
              <a:rPr lang="de-DE" altLang="en-US" sz="1600" dirty="0">
                <a:latin typeface="+mn-lt"/>
              </a:rPr>
            </a:br>
            <a:r>
              <a:rPr lang="de-DE" altLang="en-US" sz="1600" dirty="0">
                <a:latin typeface="+mn-lt"/>
              </a:rPr>
              <a:t>    resolution is in the order</a:t>
            </a:r>
            <a:br>
              <a:rPr lang="de-DE" altLang="en-US" sz="1600" dirty="0">
                <a:latin typeface="+mn-lt"/>
              </a:rPr>
            </a:br>
            <a:r>
              <a:rPr lang="de-DE" altLang="en-US" sz="1600" dirty="0">
                <a:latin typeface="+mn-lt"/>
              </a:rPr>
              <a:t>    of 70 nm for raw data</a:t>
            </a:r>
            <a:br>
              <a:rPr lang="de-DE" altLang="en-US" sz="1600" dirty="0">
                <a:latin typeface="+mn-lt"/>
              </a:rPr>
            </a:br>
            <a:r>
              <a:rPr lang="de-DE" altLang="en-US" sz="1600" dirty="0">
                <a:latin typeface="+mn-lt"/>
              </a:rPr>
              <a:t>    (without deconvolution)</a:t>
            </a:r>
            <a:endParaRPr lang="de-DE" altLang="en-US" sz="1600" dirty="0">
              <a:solidFill>
                <a:srgbClr val="040610"/>
              </a:solidFill>
              <a:latin typeface="+mn-lt"/>
            </a:endParaRPr>
          </a:p>
        </p:txBody>
      </p:sp>
    </p:spTree>
    <p:extLst>
      <p:ext uri="{BB962C8B-B14F-4D97-AF65-F5344CB8AC3E}">
        <p14:creationId xmlns:p14="http://schemas.microsoft.com/office/powerpoint/2010/main" val="6579919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a:t>Pulse timing:  Stimulated Emission Depletion - Fluorescence is depleted before it is emitted </a:t>
            </a:r>
            <a:br>
              <a:rPr lang="en-US" sz="2800" dirty="0"/>
            </a:br>
            <a:endParaRPr lang="en-US" sz="2800" dirty="0"/>
          </a:p>
        </p:txBody>
      </p:sp>
      <p:sp>
        <p:nvSpPr>
          <p:cNvPr id="3" name="Rectangle 79"/>
          <p:cNvSpPr>
            <a:spLocks noChangeArrowheads="1"/>
          </p:cNvSpPr>
          <p:nvPr/>
        </p:nvSpPr>
        <p:spPr bwMode="auto">
          <a:xfrm>
            <a:off x="971550" y="1412875"/>
            <a:ext cx="5257800" cy="4968875"/>
          </a:xfrm>
          <a:prstGeom prst="rect">
            <a:avLst/>
          </a:prstGeom>
          <a:noFill/>
          <a:ln>
            <a:noFill/>
          </a:ln>
          <a:effectLst/>
          <a:extLst>
            <a:ext uri="{909E8E84-426E-40DD-AFC4-6F175D3DCCD1}">
              <a14:hiddenFill xmlns:a14="http://schemas.microsoft.com/office/drawing/2010/main">
                <a:solidFill>
                  <a:srgbClr val="DDDDDD">
                    <a:alpha val="75999"/>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 name="Text Box 2"/>
          <p:cNvSpPr txBox="1">
            <a:spLocks noChangeArrowheads="1"/>
          </p:cNvSpPr>
          <p:nvPr/>
        </p:nvSpPr>
        <p:spPr bwMode="auto">
          <a:xfrm>
            <a:off x="2520950" y="1531938"/>
            <a:ext cx="184150" cy="581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endParaRPr lang="de-DE" altLang="en-US" sz="1600"/>
          </a:p>
          <a:p>
            <a:pPr algn="l"/>
            <a:endParaRPr lang="de-DE" altLang="en-US" sz="1600"/>
          </a:p>
        </p:txBody>
      </p:sp>
      <p:grpSp>
        <p:nvGrpSpPr>
          <p:cNvPr id="5" name="Group 7"/>
          <p:cNvGrpSpPr>
            <a:grpSpLocks/>
          </p:cNvGrpSpPr>
          <p:nvPr/>
        </p:nvGrpSpPr>
        <p:grpSpPr bwMode="auto">
          <a:xfrm>
            <a:off x="1619250" y="3571875"/>
            <a:ext cx="3194050" cy="2432050"/>
            <a:chOff x="2002" y="2180"/>
            <a:chExt cx="1948" cy="1558"/>
          </a:xfrm>
        </p:grpSpPr>
        <p:grpSp>
          <p:nvGrpSpPr>
            <p:cNvPr id="6" name="Group 8"/>
            <p:cNvGrpSpPr>
              <a:grpSpLocks noChangeAspect="1"/>
            </p:cNvGrpSpPr>
            <p:nvPr/>
          </p:nvGrpSpPr>
          <p:grpSpPr bwMode="auto">
            <a:xfrm>
              <a:off x="2028" y="3431"/>
              <a:ext cx="252" cy="286"/>
              <a:chOff x="2753" y="1862"/>
              <a:chExt cx="296" cy="337"/>
            </a:xfrm>
          </p:grpSpPr>
          <p:sp>
            <p:nvSpPr>
              <p:cNvPr id="24" name="Rectangle 9"/>
              <p:cNvSpPr>
                <a:spLocks noChangeAspect="1" noChangeArrowheads="1"/>
              </p:cNvSpPr>
              <p:nvPr/>
            </p:nvSpPr>
            <p:spPr bwMode="auto">
              <a:xfrm>
                <a:off x="2753" y="1862"/>
                <a:ext cx="229" cy="2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lvl1pPr algn="l" defTabSz="762000">
                  <a:defRPr>
                    <a:solidFill>
                      <a:schemeClr val="tx1"/>
                    </a:solidFill>
                    <a:latin typeface="Arial" panose="020B0604020202020204" pitchFamily="34" charset="0"/>
                  </a:defRPr>
                </a:lvl1pPr>
                <a:lvl2pPr marL="571500" algn="l" defTabSz="762000">
                  <a:defRPr>
                    <a:solidFill>
                      <a:schemeClr val="tx1"/>
                    </a:solidFill>
                    <a:latin typeface="Arial" panose="020B0604020202020204" pitchFamily="34" charset="0"/>
                  </a:defRPr>
                </a:lvl2pPr>
                <a:lvl3pPr marL="1143000" algn="l" defTabSz="762000">
                  <a:defRPr>
                    <a:solidFill>
                      <a:schemeClr val="tx1"/>
                    </a:solidFill>
                    <a:latin typeface="Arial" panose="020B0604020202020204" pitchFamily="34" charset="0"/>
                  </a:defRPr>
                </a:lvl3pPr>
                <a:lvl4pPr marL="1714500" algn="l" defTabSz="762000">
                  <a:defRPr>
                    <a:solidFill>
                      <a:schemeClr val="tx1"/>
                    </a:solidFill>
                    <a:latin typeface="Arial" panose="020B0604020202020204" pitchFamily="34" charset="0"/>
                  </a:defRPr>
                </a:lvl4pPr>
                <a:lvl5pPr marL="2286000" algn="l" defTabSz="762000">
                  <a:defRPr>
                    <a:solidFill>
                      <a:schemeClr val="tx1"/>
                    </a:solidFill>
                    <a:latin typeface="Arial" panose="020B0604020202020204" pitchFamily="34" charset="0"/>
                  </a:defRPr>
                </a:lvl5pPr>
                <a:lvl6pPr marL="2743200" defTabSz="762000" fontAlgn="base">
                  <a:spcBef>
                    <a:spcPct val="0"/>
                  </a:spcBef>
                  <a:spcAft>
                    <a:spcPct val="0"/>
                  </a:spcAft>
                  <a:defRPr>
                    <a:solidFill>
                      <a:schemeClr val="tx1"/>
                    </a:solidFill>
                    <a:latin typeface="Arial" panose="020B0604020202020204" pitchFamily="34" charset="0"/>
                  </a:defRPr>
                </a:lvl6pPr>
                <a:lvl7pPr marL="3200400" defTabSz="762000" fontAlgn="base">
                  <a:spcBef>
                    <a:spcPct val="0"/>
                  </a:spcBef>
                  <a:spcAft>
                    <a:spcPct val="0"/>
                  </a:spcAft>
                  <a:defRPr>
                    <a:solidFill>
                      <a:schemeClr val="tx1"/>
                    </a:solidFill>
                    <a:latin typeface="Arial" panose="020B0604020202020204" pitchFamily="34" charset="0"/>
                  </a:defRPr>
                </a:lvl7pPr>
                <a:lvl8pPr marL="3657600" defTabSz="762000" fontAlgn="base">
                  <a:spcBef>
                    <a:spcPct val="0"/>
                  </a:spcBef>
                  <a:spcAft>
                    <a:spcPct val="0"/>
                  </a:spcAft>
                  <a:defRPr>
                    <a:solidFill>
                      <a:schemeClr val="tx1"/>
                    </a:solidFill>
                    <a:latin typeface="Arial" panose="020B0604020202020204" pitchFamily="34" charset="0"/>
                  </a:defRPr>
                </a:lvl8pPr>
                <a:lvl9pPr marL="4114800" defTabSz="762000" fontAlgn="base">
                  <a:spcBef>
                    <a:spcPct val="0"/>
                  </a:spcBef>
                  <a:spcAft>
                    <a:spcPct val="0"/>
                  </a:spcAft>
                  <a:defRPr>
                    <a:solidFill>
                      <a:schemeClr val="tx1"/>
                    </a:solidFill>
                    <a:latin typeface="Arial" panose="020B0604020202020204" pitchFamily="34" charset="0"/>
                  </a:defRPr>
                </a:lvl9pPr>
              </a:lstStyle>
              <a:p>
                <a:pPr eaLnBrk="0" hangingPunct="0"/>
                <a:r>
                  <a:rPr lang="en-GB" altLang="en-US" sz="1600" i="1"/>
                  <a:t>S</a:t>
                </a:r>
              </a:p>
            </p:txBody>
          </p:sp>
          <p:sp>
            <p:nvSpPr>
              <p:cNvPr id="25" name="Rectangle 10"/>
              <p:cNvSpPr>
                <a:spLocks noChangeAspect="1" noChangeArrowheads="1"/>
              </p:cNvSpPr>
              <p:nvPr/>
            </p:nvSpPr>
            <p:spPr bwMode="auto">
              <a:xfrm>
                <a:off x="2836" y="1945"/>
                <a:ext cx="213" cy="2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lvl1pPr algn="l" defTabSz="762000">
                  <a:defRPr>
                    <a:solidFill>
                      <a:schemeClr val="tx1"/>
                    </a:solidFill>
                    <a:latin typeface="Arial" panose="020B0604020202020204" pitchFamily="34" charset="0"/>
                  </a:defRPr>
                </a:lvl1pPr>
                <a:lvl2pPr marL="571500" algn="l" defTabSz="762000">
                  <a:defRPr>
                    <a:solidFill>
                      <a:schemeClr val="tx1"/>
                    </a:solidFill>
                    <a:latin typeface="Arial" panose="020B0604020202020204" pitchFamily="34" charset="0"/>
                  </a:defRPr>
                </a:lvl2pPr>
                <a:lvl3pPr marL="1143000" algn="l" defTabSz="762000">
                  <a:defRPr>
                    <a:solidFill>
                      <a:schemeClr val="tx1"/>
                    </a:solidFill>
                    <a:latin typeface="Arial" panose="020B0604020202020204" pitchFamily="34" charset="0"/>
                  </a:defRPr>
                </a:lvl3pPr>
                <a:lvl4pPr marL="1714500" algn="l" defTabSz="762000">
                  <a:defRPr>
                    <a:solidFill>
                      <a:schemeClr val="tx1"/>
                    </a:solidFill>
                    <a:latin typeface="Arial" panose="020B0604020202020204" pitchFamily="34" charset="0"/>
                  </a:defRPr>
                </a:lvl4pPr>
                <a:lvl5pPr marL="2286000" algn="l" defTabSz="762000">
                  <a:defRPr>
                    <a:solidFill>
                      <a:schemeClr val="tx1"/>
                    </a:solidFill>
                    <a:latin typeface="Arial" panose="020B0604020202020204" pitchFamily="34" charset="0"/>
                  </a:defRPr>
                </a:lvl5pPr>
                <a:lvl6pPr marL="2743200" defTabSz="762000" fontAlgn="base">
                  <a:spcBef>
                    <a:spcPct val="0"/>
                  </a:spcBef>
                  <a:spcAft>
                    <a:spcPct val="0"/>
                  </a:spcAft>
                  <a:defRPr>
                    <a:solidFill>
                      <a:schemeClr val="tx1"/>
                    </a:solidFill>
                    <a:latin typeface="Arial" panose="020B0604020202020204" pitchFamily="34" charset="0"/>
                  </a:defRPr>
                </a:lvl6pPr>
                <a:lvl7pPr marL="3200400" defTabSz="762000" fontAlgn="base">
                  <a:spcBef>
                    <a:spcPct val="0"/>
                  </a:spcBef>
                  <a:spcAft>
                    <a:spcPct val="0"/>
                  </a:spcAft>
                  <a:defRPr>
                    <a:solidFill>
                      <a:schemeClr val="tx1"/>
                    </a:solidFill>
                    <a:latin typeface="Arial" panose="020B0604020202020204" pitchFamily="34" charset="0"/>
                  </a:defRPr>
                </a:lvl7pPr>
                <a:lvl8pPr marL="3657600" defTabSz="762000" fontAlgn="base">
                  <a:spcBef>
                    <a:spcPct val="0"/>
                  </a:spcBef>
                  <a:spcAft>
                    <a:spcPct val="0"/>
                  </a:spcAft>
                  <a:defRPr>
                    <a:solidFill>
                      <a:schemeClr val="tx1"/>
                    </a:solidFill>
                    <a:latin typeface="Arial" panose="020B0604020202020204" pitchFamily="34" charset="0"/>
                  </a:defRPr>
                </a:lvl8pPr>
                <a:lvl9pPr marL="4114800" defTabSz="762000" fontAlgn="base">
                  <a:spcBef>
                    <a:spcPct val="0"/>
                  </a:spcBef>
                  <a:spcAft>
                    <a:spcPct val="0"/>
                  </a:spcAft>
                  <a:defRPr>
                    <a:solidFill>
                      <a:schemeClr val="tx1"/>
                    </a:solidFill>
                    <a:latin typeface="Arial" panose="020B0604020202020204" pitchFamily="34" charset="0"/>
                  </a:defRPr>
                </a:lvl9pPr>
              </a:lstStyle>
              <a:p>
                <a:pPr eaLnBrk="0" hangingPunct="0"/>
                <a:r>
                  <a:rPr lang="en-GB" altLang="en-US" sz="1600" i="1"/>
                  <a:t>0</a:t>
                </a:r>
              </a:p>
            </p:txBody>
          </p:sp>
        </p:grpSp>
        <p:grpSp>
          <p:nvGrpSpPr>
            <p:cNvPr id="7" name="Group 11"/>
            <p:cNvGrpSpPr>
              <a:grpSpLocks noChangeAspect="1"/>
            </p:cNvGrpSpPr>
            <p:nvPr/>
          </p:nvGrpSpPr>
          <p:grpSpPr bwMode="auto">
            <a:xfrm>
              <a:off x="2002" y="2235"/>
              <a:ext cx="252" cy="286"/>
              <a:chOff x="2714" y="727"/>
              <a:chExt cx="297" cy="337"/>
            </a:xfrm>
          </p:grpSpPr>
          <p:sp>
            <p:nvSpPr>
              <p:cNvPr id="22" name="Rectangle 12"/>
              <p:cNvSpPr>
                <a:spLocks noChangeAspect="1" noChangeArrowheads="1"/>
              </p:cNvSpPr>
              <p:nvPr/>
            </p:nvSpPr>
            <p:spPr bwMode="auto">
              <a:xfrm>
                <a:off x="2714" y="727"/>
                <a:ext cx="230" cy="2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lvl1pPr algn="l" defTabSz="762000">
                  <a:defRPr>
                    <a:solidFill>
                      <a:schemeClr val="tx1"/>
                    </a:solidFill>
                    <a:latin typeface="Arial" panose="020B0604020202020204" pitchFamily="34" charset="0"/>
                  </a:defRPr>
                </a:lvl1pPr>
                <a:lvl2pPr marL="571500" algn="l" defTabSz="762000">
                  <a:defRPr>
                    <a:solidFill>
                      <a:schemeClr val="tx1"/>
                    </a:solidFill>
                    <a:latin typeface="Arial" panose="020B0604020202020204" pitchFamily="34" charset="0"/>
                  </a:defRPr>
                </a:lvl2pPr>
                <a:lvl3pPr marL="1143000" algn="l" defTabSz="762000">
                  <a:defRPr>
                    <a:solidFill>
                      <a:schemeClr val="tx1"/>
                    </a:solidFill>
                    <a:latin typeface="Arial" panose="020B0604020202020204" pitchFamily="34" charset="0"/>
                  </a:defRPr>
                </a:lvl3pPr>
                <a:lvl4pPr marL="1714500" algn="l" defTabSz="762000">
                  <a:defRPr>
                    <a:solidFill>
                      <a:schemeClr val="tx1"/>
                    </a:solidFill>
                    <a:latin typeface="Arial" panose="020B0604020202020204" pitchFamily="34" charset="0"/>
                  </a:defRPr>
                </a:lvl4pPr>
                <a:lvl5pPr marL="2286000" algn="l" defTabSz="762000">
                  <a:defRPr>
                    <a:solidFill>
                      <a:schemeClr val="tx1"/>
                    </a:solidFill>
                    <a:latin typeface="Arial" panose="020B0604020202020204" pitchFamily="34" charset="0"/>
                  </a:defRPr>
                </a:lvl5pPr>
                <a:lvl6pPr marL="2743200" defTabSz="762000" fontAlgn="base">
                  <a:spcBef>
                    <a:spcPct val="0"/>
                  </a:spcBef>
                  <a:spcAft>
                    <a:spcPct val="0"/>
                  </a:spcAft>
                  <a:defRPr>
                    <a:solidFill>
                      <a:schemeClr val="tx1"/>
                    </a:solidFill>
                    <a:latin typeface="Arial" panose="020B0604020202020204" pitchFamily="34" charset="0"/>
                  </a:defRPr>
                </a:lvl6pPr>
                <a:lvl7pPr marL="3200400" defTabSz="762000" fontAlgn="base">
                  <a:spcBef>
                    <a:spcPct val="0"/>
                  </a:spcBef>
                  <a:spcAft>
                    <a:spcPct val="0"/>
                  </a:spcAft>
                  <a:defRPr>
                    <a:solidFill>
                      <a:schemeClr val="tx1"/>
                    </a:solidFill>
                    <a:latin typeface="Arial" panose="020B0604020202020204" pitchFamily="34" charset="0"/>
                  </a:defRPr>
                </a:lvl7pPr>
                <a:lvl8pPr marL="3657600" defTabSz="762000" fontAlgn="base">
                  <a:spcBef>
                    <a:spcPct val="0"/>
                  </a:spcBef>
                  <a:spcAft>
                    <a:spcPct val="0"/>
                  </a:spcAft>
                  <a:defRPr>
                    <a:solidFill>
                      <a:schemeClr val="tx1"/>
                    </a:solidFill>
                    <a:latin typeface="Arial" panose="020B0604020202020204" pitchFamily="34" charset="0"/>
                  </a:defRPr>
                </a:lvl8pPr>
                <a:lvl9pPr marL="4114800" defTabSz="762000" fontAlgn="base">
                  <a:spcBef>
                    <a:spcPct val="0"/>
                  </a:spcBef>
                  <a:spcAft>
                    <a:spcPct val="0"/>
                  </a:spcAft>
                  <a:defRPr>
                    <a:solidFill>
                      <a:schemeClr val="tx1"/>
                    </a:solidFill>
                    <a:latin typeface="Arial" panose="020B0604020202020204" pitchFamily="34" charset="0"/>
                  </a:defRPr>
                </a:lvl9pPr>
              </a:lstStyle>
              <a:p>
                <a:pPr eaLnBrk="0" hangingPunct="0"/>
                <a:r>
                  <a:rPr lang="en-GB" altLang="en-US" sz="1600" i="1"/>
                  <a:t>S</a:t>
                </a:r>
              </a:p>
            </p:txBody>
          </p:sp>
          <p:sp>
            <p:nvSpPr>
              <p:cNvPr id="23" name="Rectangle 13"/>
              <p:cNvSpPr>
                <a:spLocks noChangeAspect="1" noChangeArrowheads="1"/>
              </p:cNvSpPr>
              <p:nvPr/>
            </p:nvSpPr>
            <p:spPr bwMode="auto">
              <a:xfrm>
                <a:off x="2798" y="810"/>
                <a:ext cx="213" cy="2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lvl1pPr algn="l" defTabSz="762000">
                  <a:defRPr>
                    <a:solidFill>
                      <a:schemeClr val="tx1"/>
                    </a:solidFill>
                    <a:latin typeface="Arial" panose="020B0604020202020204" pitchFamily="34" charset="0"/>
                  </a:defRPr>
                </a:lvl1pPr>
                <a:lvl2pPr marL="571500" algn="l" defTabSz="762000">
                  <a:defRPr>
                    <a:solidFill>
                      <a:schemeClr val="tx1"/>
                    </a:solidFill>
                    <a:latin typeface="Arial" panose="020B0604020202020204" pitchFamily="34" charset="0"/>
                  </a:defRPr>
                </a:lvl2pPr>
                <a:lvl3pPr marL="1143000" algn="l" defTabSz="762000">
                  <a:defRPr>
                    <a:solidFill>
                      <a:schemeClr val="tx1"/>
                    </a:solidFill>
                    <a:latin typeface="Arial" panose="020B0604020202020204" pitchFamily="34" charset="0"/>
                  </a:defRPr>
                </a:lvl3pPr>
                <a:lvl4pPr marL="1714500" algn="l" defTabSz="762000">
                  <a:defRPr>
                    <a:solidFill>
                      <a:schemeClr val="tx1"/>
                    </a:solidFill>
                    <a:latin typeface="Arial" panose="020B0604020202020204" pitchFamily="34" charset="0"/>
                  </a:defRPr>
                </a:lvl4pPr>
                <a:lvl5pPr marL="2286000" algn="l" defTabSz="762000">
                  <a:defRPr>
                    <a:solidFill>
                      <a:schemeClr val="tx1"/>
                    </a:solidFill>
                    <a:latin typeface="Arial" panose="020B0604020202020204" pitchFamily="34" charset="0"/>
                  </a:defRPr>
                </a:lvl5pPr>
                <a:lvl6pPr marL="2743200" defTabSz="762000" fontAlgn="base">
                  <a:spcBef>
                    <a:spcPct val="0"/>
                  </a:spcBef>
                  <a:spcAft>
                    <a:spcPct val="0"/>
                  </a:spcAft>
                  <a:defRPr>
                    <a:solidFill>
                      <a:schemeClr val="tx1"/>
                    </a:solidFill>
                    <a:latin typeface="Arial" panose="020B0604020202020204" pitchFamily="34" charset="0"/>
                  </a:defRPr>
                </a:lvl6pPr>
                <a:lvl7pPr marL="3200400" defTabSz="762000" fontAlgn="base">
                  <a:spcBef>
                    <a:spcPct val="0"/>
                  </a:spcBef>
                  <a:spcAft>
                    <a:spcPct val="0"/>
                  </a:spcAft>
                  <a:defRPr>
                    <a:solidFill>
                      <a:schemeClr val="tx1"/>
                    </a:solidFill>
                    <a:latin typeface="Arial" panose="020B0604020202020204" pitchFamily="34" charset="0"/>
                  </a:defRPr>
                </a:lvl7pPr>
                <a:lvl8pPr marL="3657600" defTabSz="762000" fontAlgn="base">
                  <a:spcBef>
                    <a:spcPct val="0"/>
                  </a:spcBef>
                  <a:spcAft>
                    <a:spcPct val="0"/>
                  </a:spcAft>
                  <a:defRPr>
                    <a:solidFill>
                      <a:schemeClr val="tx1"/>
                    </a:solidFill>
                    <a:latin typeface="Arial" panose="020B0604020202020204" pitchFamily="34" charset="0"/>
                  </a:defRPr>
                </a:lvl8pPr>
                <a:lvl9pPr marL="4114800" defTabSz="762000" fontAlgn="base">
                  <a:spcBef>
                    <a:spcPct val="0"/>
                  </a:spcBef>
                  <a:spcAft>
                    <a:spcPct val="0"/>
                  </a:spcAft>
                  <a:defRPr>
                    <a:solidFill>
                      <a:schemeClr val="tx1"/>
                    </a:solidFill>
                    <a:latin typeface="Arial" panose="020B0604020202020204" pitchFamily="34" charset="0"/>
                  </a:defRPr>
                </a:lvl9pPr>
              </a:lstStyle>
              <a:p>
                <a:pPr eaLnBrk="0" hangingPunct="0"/>
                <a:r>
                  <a:rPr lang="en-GB" altLang="en-US" sz="1600" i="1"/>
                  <a:t>1</a:t>
                </a:r>
              </a:p>
            </p:txBody>
          </p:sp>
        </p:grpSp>
        <p:sp>
          <p:nvSpPr>
            <p:cNvPr id="8" name="Line 14"/>
            <p:cNvSpPr>
              <a:spLocks noChangeAspect="1" noChangeShapeType="1"/>
            </p:cNvSpPr>
            <p:nvPr/>
          </p:nvSpPr>
          <p:spPr bwMode="auto">
            <a:xfrm flipH="1">
              <a:off x="2380" y="3616"/>
              <a:ext cx="1558" cy="0"/>
            </a:xfrm>
            <a:prstGeom prst="line">
              <a:avLst/>
            </a:prstGeom>
            <a:noFill/>
            <a:ln w="381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 name="Line 15"/>
            <p:cNvSpPr>
              <a:spLocks noChangeAspect="1" noChangeShapeType="1"/>
            </p:cNvSpPr>
            <p:nvPr/>
          </p:nvSpPr>
          <p:spPr bwMode="auto">
            <a:xfrm>
              <a:off x="2380" y="3505"/>
              <a:ext cx="1570" cy="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 name="Line 16"/>
            <p:cNvSpPr>
              <a:spLocks noChangeAspect="1" noChangeShapeType="1"/>
            </p:cNvSpPr>
            <p:nvPr/>
          </p:nvSpPr>
          <p:spPr bwMode="auto">
            <a:xfrm flipH="1">
              <a:off x="2380" y="3405"/>
              <a:ext cx="1558" cy="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 name="Line 17"/>
            <p:cNvSpPr>
              <a:spLocks noChangeAspect="1" noChangeShapeType="1"/>
            </p:cNvSpPr>
            <p:nvPr/>
          </p:nvSpPr>
          <p:spPr bwMode="auto">
            <a:xfrm flipH="1">
              <a:off x="2380" y="3456"/>
              <a:ext cx="1548" cy="0"/>
            </a:xfrm>
            <a:prstGeom prst="line">
              <a:avLst/>
            </a:prstGeom>
            <a:noFill/>
            <a:ln w="1905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 name="Line 18"/>
            <p:cNvSpPr>
              <a:spLocks noChangeAspect="1" noChangeShapeType="1"/>
            </p:cNvSpPr>
            <p:nvPr/>
          </p:nvSpPr>
          <p:spPr bwMode="auto">
            <a:xfrm>
              <a:off x="2380" y="2435"/>
              <a:ext cx="1502" cy="0"/>
            </a:xfrm>
            <a:prstGeom prst="line">
              <a:avLst/>
            </a:prstGeom>
            <a:noFill/>
            <a:ln w="381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 name="Line 19"/>
            <p:cNvSpPr>
              <a:spLocks noChangeAspect="1" noChangeShapeType="1"/>
            </p:cNvSpPr>
            <p:nvPr/>
          </p:nvSpPr>
          <p:spPr bwMode="auto">
            <a:xfrm flipH="1">
              <a:off x="2380" y="2361"/>
              <a:ext cx="1511" cy="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 name="Line 20"/>
            <p:cNvSpPr>
              <a:spLocks noChangeAspect="1" noChangeShapeType="1"/>
            </p:cNvSpPr>
            <p:nvPr/>
          </p:nvSpPr>
          <p:spPr bwMode="auto">
            <a:xfrm flipH="1">
              <a:off x="2380" y="2312"/>
              <a:ext cx="1511" cy="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 name="Line 21"/>
            <p:cNvSpPr>
              <a:spLocks noChangeAspect="1" noChangeShapeType="1"/>
            </p:cNvSpPr>
            <p:nvPr/>
          </p:nvSpPr>
          <p:spPr bwMode="auto">
            <a:xfrm>
              <a:off x="2380" y="2263"/>
              <a:ext cx="1503" cy="0"/>
            </a:xfrm>
            <a:prstGeom prst="line">
              <a:avLst/>
            </a:prstGeom>
            <a:noFill/>
            <a:ln w="28575">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 name="Line 22"/>
            <p:cNvSpPr>
              <a:spLocks noChangeAspect="1" noChangeShapeType="1"/>
            </p:cNvSpPr>
            <p:nvPr/>
          </p:nvSpPr>
          <p:spPr bwMode="auto">
            <a:xfrm flipH="1">
              <a:off x="2380" y="2225"/>
              <a:ext cx="1511" cy="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 name="Line 23"/>
            <p:cNvSpPr>
              <a:spLocks noChangeAspect="1" noChangeShapeType="1"/>
            </p:cNvSpPr>
            <p:nvPr/>
          </p:nvSpPr>
          <p:spPr bwMode="auto">
            <a:xfrm>
              <a:off x="2380" y="3563"/>
              <a:ext cx="1570" cy="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 name="Text Box 24"/>
            <p:cNvSpPr txBox="1">
              <a:spLocks noChangeAspect="1" noChangeArrowheads="1"/>
            </p:cNvSpPr>
            <p:nvPr/>
          </p:nvSpPr>
          <p:spPr bwMode="auto">
            <a:xfrm>
              <a:off x="2260" y="3522"/>
              <a:ext cx="181" cy="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gn="l" defTabSz="762000">
                <a:defRPr>
                  <a:solidFill>
                    <a:schemeClr val="tx1"/>
                  </a:solidFill>
                  <a:latin typeface="Arial" panose="020B0604020202020204" pitchFamily="34" charset="0"/>
                </a:defRPr>
              </a:lvl1pPr>
              <a:lvl2pPr marL="571500" algn="l" defTabSz="762000">
                <a:defRPr>
                  <a:solidFill>
                    <a:schemeClr val="tx1"/>
                  </a:solidFill>
                  <a:latin typeface="Arial" panose="020B0604020202020204" pitchFamily="34" charset="0"/>
                </a:defRPr>
              </a:lvl2pPr>
              <a:lvl3pPr marL="1143000" algn="l" defTabSz="762000">
                <a:defRPr>
                  <a:solidFill>
                    <a:schemeClr val="tx1"/>
                  </a:solidFill>
                  <a:latin typeface="Arial" panose="020B0604020202020204" pitchFamily="34" charset="0"/>
                </a:defRPr>
              </a:lvl3pPr>
              <a:lvl4pPr marL="1714500" algn="l" defTabSz="762000">
                <a:defRPr>
                  <a:solidFill>
                    <a:schemeClr val="tx1"/>
                  </a:solidFill>
                  <a:latin typeface="Arial" panose="020B0604020202020204" pitchFamily="34" charset="0"/>
                </a:defRPr>
              </a:lvl4pPr>
              <a:lvl5pPr marL="2286000" algn="l" defTabSz="762000">
                <a:defRPr>
                  <a:solidFill>
                    <a:schemeClr val="tx1"/>
                  </a:solidFill>
                  <a:latin typeface="Arial" panose="020B0604020202020204" pitchFamily="34" charset="0"/>
                </a:defRPr>
              </a:lvl5pPr>
              <a:lvl6pPr marL="2743200" defTabSz="762000" fontAlgn="base">
                <a:spcBef>
                  <a:spcPct val="0"/>
                </a:spcBef>
                <a:spcAft>
                  <a:spcPct val="0"/>
                </a:spcAft>
                <a:defRPr>
                  <a:solidFill>
                    <a:schemeClr val="tx1"/>
                  </a:solidFill>
                  <a:latin typeface="Arial" panose="020B0604020202020204" pitchFamily="34" charset="0"/>
                </a:defRPr>
              </a:lvl6pPr>
              <a:lvl7pPr marL="3200400" defTabSz="762000" fontAlgn="base">
                <a:spcBef>
                  <a:spcPct val="0"/>
                </a:spcBef>
                <a:spcAft>
                  <a:spcPct val="0"/>
                </a:spcAft>
                <a:defRPr>
                  <a:solidFill>
                    <a:schemeClr val="tx1"/>
                  </a:solidFill>
                  <a:latin typeface="Arial" panose="020B0604020202020204" pitchFamily="34" charset="0"/>
                </a:defRPr>
              </a:lvl7pPr>
              <a:lvl8pPr marL="3657600" defTabSz="762000" fontAlgn="base">
                <a:spcBef>
                  <a:spcPct val="0"/>
                </a:spcBef>
                <a:spcAft>
                  <a:spcPct val="0"/>
                </a:spcAft>
                <a:defRPr>
                  <a:solidFill>
                    <a:schemeClr val="tx1"/>
                  </a:solidFill>
                  <a:latin typeface="Arial" panose="020B0604020202020204" pitchFamily="34" charset="0"/>
                </a:defRPr>
              </a:lvl8pPr>
              <a:lvl9pPr marL="4114800" defTabSz="762000" fontAlgn="base">
                <a:spcBef>
                  <a:spcPct val="0"/>
                </a:spcBef>
                <a:spcAft>
                  <a:spcPct val="0"/>
                </a:spcAft>
                <a:defRPr>
                  <a:solidFill>
                    <a:schemeClr val="tx1"/>
                  </a:solidFill>
                  <a:latin typeface="Arial" panose="020B0604020202020204" pitchFamily="34" charset="0"/>
                </a:defRPr>
              </a:lvl9pPr>
            </a:lstStyle>
            <a:p>
              <a:pPr eaLnBrk="0" hangingPunct="0"/>
              <a:r>
                <a:rPr lang="en-GB" altLang="en-US" sz="1600"/>
                <a:t>1</a:t>
              </a:r>
            </a:p>
          </p:txBody>
        </p:sp>
        <p:sp>
          <p:nvSpPr>
            <p:cNvPr id="19" name="Text Box 25"/>
            <p:cNvSpPr txBox="1">
              <a:spLocks noChangeAspect="1" noChangeArrowheads="1"/>
            </p:cNvSpPr>
            <p:nvPr/>
          </p:nvSpPr>
          <p:spPr bwMode="auto">
            <a:xfrm>
              <a:off x="2259" y="3367"/>
              <a:ext cx="181" cy="2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gn="l" defTabSz="762000">
                <a:defRPr>
                  <a:solidFill>
                    <a:schemeClr val="tx1"/>
                  </a:solidFill>
                  <a:latin typeface="Arial" panose="020B0604020202020204" pitchFamily="34" charset="0"/>
                </a:defRPr>
              </a:lvl1pPr>
              <a:lvl2pPr marL="571500" algn="l" defTabSz="762000">
                <a:defRPr>
                  <a:solidFill>
                    <a:schemeClr val="tx1"/>
                  </a:solidFill>
                  <a:latin typeface="Arial" panose="020B0604020202020204" pitchFamily="34" charset="0"/>
                </a:defRPr>
              </a:lvl2pPr>
              <a:lvl3pPr marL="1143000" algn="l" defTabSz="762000">
                <a:defRPr>
                  <a:solidFill>
                    <a:schemeClr val="tx1"/>
                  </a:solidFill>
                  <a:latin typeface="Arial" panose="020B0604020202020204" pitchFamily="34" charset="0"/>
                </a:defRPr>
              </a:lvl3pPr>
              <a:lvl4pPr marL="1714500" algn="l" defTabSz="762000">
                <a:defRPr>
                  <a:solidFill>
                    <a:schemeClr val="tx1"/>
                  </a:solidFill>
                  <a:latin typeface="Arial" panose="020B0604020202020204" pitchFamily="34" charset="0"/>
                </a:defRPr>
              </a:lvl4pPr>
              <a:lvl5pPr marL="2286000" algn="l" defTabSz="762000">
                <a:defRPr>
                  <a:solidFill>
                    <a:schemeClr val="tx1"/>
                  </a:solidFill>
                  <a:latin typeface="Arial" panose="020B0604020202020204" pitchFamily="34" charset="0"/>
                </a:defRPr>
              </a:lvl5pPr>
              <a:lvl6pPr marL="2743200" defTabSz="762000" fontAlgn="base">
                <a:spcBef>
                  <a:spcPct val="0"/>
                </a:spcBef>
                <a:spcAft>
                  <a:spcPct val="0"/>
                </a:spcAft>
                <a:defRPr>
                  <a:solidFill>
                    <a:schemeClr val="tx1"/>
                  </a:solidFill>
                  <a:latin typeface="Arial" panose="020B0604020202020204" pitchFamily="34" charset="0"/>
                </a:defRPr>
              </a:lvl6pPr>
              <a:lvl7pPr marL="3200400" defTabSz="762000" fontAlgn="base">
                <a:spcBef>
                  <a:spcPct val="0"/>
                </a:spcBef>
                <a:spcAft>
                  <a:spcPct val="0"/>
                </a:spcAft>
                <a:defRPr>
                  <a:solidFill>
                    <a:schemeClr val="tx1"/>
                  </a:solidFill>
                  <a:latin typeface="Arial" panose="020B0604020202020204" pitchFamily="34" charset="0"/>
                </a:defRPr>
              </a:lvl7pPr>
              <a:lvl8pPr marL="3657600" defTabSz="762000" fontAlgn="base">
                <a:spcBef>
                  <a:spcPct val="0"/>
                </a:spcBef>
                <a:spcAft>
                  <a:spcPct val="0"/>
                </a:spcAft>
                <a:defRPr>
                  <a:solidFill>
                    <a:schemeClr val="tx1"/>
                  </a:solidFill>
                  <a:latin typeface="Arial" panose="020B0604020202020204" pitchFamily="34" charset="0"/>
                </a:defRPr>
              </a:lvl8pPr>
              <a:lvl9pPr marL="4114800" defTabSz="762000" fontAlgn="base">
                <a:spcBef>
                  <a:spcPct val="0"/>
                </a:spcBef>
                <a:spcAft>
                  <a:spcPct val="0"/>
                </a:spcAft>
                <a:defRPr>
                  <a:solidFill>
                    <a:schemeClr val="tx1"/>
                  </a:solidFill>
                  <a:latin typeface="Arial" panose="020B0604020202020204" pitchFamily="34" charset="0"/>
                </a:defRPr>
              </a:lvl9pPr>
            </a:lstStyle>
            <a:p>
              <a:pPr eaLnBrk="0" hangingPunct="0"/>
              <a:r>
                <a:rPr lang="en-GB" altLang="en-US" sz="1600"/>
                <a:t>2</a:t>
              </a:r>
            </a:p>
          </p:txBody>
        </p:sp>
        <p:sp>
          <p:nvSpPr>
            <p:cNvPr id="20" name="Text Box 26"/>
            <p:cNvSpPr txBox="1">
              <a:spLocks noChangeAspect="1" noChangeArrowheads="1"/>
            </p:cNvSpPr>
            <p:nvPr/>
          </p:nvSpPr>
          <p:spPr bwMode="auto">
            <a:xfrm>
              <a:off x="2235" y="2342"/>
              <a:ext cx="181" cy="2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gn="l" defTabSz="762000">
                <a:defRPr>
                  <a:solidFill>
                    <a:schemeClr val="tx1"/>
                  </a:solidFill>
                  <a:latin typeface="Arial" panose="020B0604020202020204" pitchFamily="34" charset="0"/>
                </a:defRPr>
              </a:lvl1pPr>
              <a:lvl2pPr marL="571500" algn="l" defTabSz="762000">
                <a:defRPr>
                  <a:solidFill>
                    <a:schemeClr val="tx1"/>
                  </a:solidFill>
                  <a:latin typeface="Arial" panose="020B0604020202020204" pitchFamily="34" charset="0"/>
                </a:defRPr>
              </a:lvl2pPr>
              <a:lvl3pPr marL="1143000" algn="l" defTabSz="762000">
                <a:defRPr>
                  <a:solidFill>
                    <a:schemeClr val="tx1"/>
                  </a:solidFill>
                  <a:latin typeface="Arial" panose="020B0604020202020204" pitchFamily="34" charset="0"/>
                </a:defRPr>
              </a:lvl3pPr>
              <a:lvl4pPr marL="1714500" algn="l" defTabSz="762000">
                <a:defRPr>
                  <a:solidFill>
                    <a:schemeClr val="tx1"/>
                  </a:solidFill>
                  <a:latin typeface="Arial" panose="020B0604020202020204" pitchFamily="34" charset="0"/>
                </a:defRPr>
              </a:lvl4pPr>
              <a:lvl5pPr marL="2286000" algn="l" defTabSz="762000">
                <a:defRPr>
                  <a:solidFill>
                    <a:schemeClr val="tx1"/>
                  </a:solidFill>
                  <a:latin typeface="Arial" panose="020B0604020202020204" pitchFamily="34" charset="0"/>
                </a:defRPr>
              </a:lvl5pPr>
              <a:lvl6pPr marL="2743200" defTabSz="762000" fontAlgn="base">
                <a:spcBef>
                  <a:spcPct val="0"/>
                </a:spcBef>
                <a:spcAft>
                  <a:spcPct val="0"/>
                </a:spcAft>
                <a:defRPr>
                  <a:solidFill>
                    <a:schemeClr val="tx1"/>
                  </a:solidFill>
                  <a:latin typeface="Arial" panose="020B0604020202020204" pitchFamily="34" charset="0"/>
                </a:defRPr>
              </a:lvl6pPr>
              <a:lvl7pPr marL="3200400" defTabSz="762000" fontAlgn="base">
                <a:spcBef>
                  <a:spcPct val="0"/>
                </a:spcBef>
                <a:spcAft>
                  <a:spcPct val="0"/>
                </a:spcAft>
                <a:defRPr>
                  <a:solidFill>
                    <a:schemeClr val="tx1"/>
                  </a:solidFill>
                  <a:latin typeface="Arial" panose="020B0604020202020204" pitchFamily="34" charset="0"/>
                </a:defRPr>
              </a:lvl7pPr>
              <a:lvl8pPr marL="3657600" defTabSz="762000" fontAlgn="base">
                <a:spcBef>
                  <a:spcPct val="0"/>
                </a:spcBef>
                <a:spcAft>
                  <a:spcPct val="0"/>
                </a:spcAft>
                <a:defRPr>
                  <a:solidFill>
                    <a:schemeClr val="tx1"/>
                  </a:solidFill>
                  <a:latin typeface="Arial" panose="020B0604020202020204" pitchFamily="34" charset="0"/>
                </a:defRPr>
              </a:lvl8pPr>
              <a:lvl9pPr marL="4114800" defTabSz="762000" fontAlgn="base">
                <a:spcBef>
                  <a:spcPct val="0"/>
                </a:spcBef>
                <a:spcAft>
                  <a:spcPct val="0"/>
                </a:spcAft>
                <a:defRPr>
                  <a:solidFill>
                    <a:schemeClr val="tx1"/>
                  </a:solidFill>
                  <a:latin typeface="Arial" panose="020B0604020202020204" pitchFamily="34" charset="0"/>
                </a:defRPr>
              </a:lvl9pPr>
            </a:lstStyle>
            <a:p>
              <a:pPr eaLnBrk="0" hangingPunct="0"/>
              <a:r>
                <a:rPr lang="en-GB" altLang="en-US" sz="1600"/>
                <a:t>3</a:t>
              </a:r>
            </a:p>
          </p:txBody>
        </p:sp>
        <p:sp>
          <p:nvSpPr>
            <p:cNvPr id="21" name="Text Box 27"/>
            <p:cNvSpPr txBox="1">
              <a:spLocks noChangeAspect="1" noChangeArrowheads="1"/>
            </p:cNvSpPr>
            <p:nvPr/>
          </p:nvSpPr>
          <p:spPr bwMode="auto">
            <a:xfrm>
              <a:off x="2242" y="2180"/>
              <a:ext cx="187" cy="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l" defTabSz="762000">
                <a:defRPr>
                  <a:solidFill>
                    <a:schemeClr val="tx1"/>
                  </a:solidFill>
                  <a:latin typeface="Arial" panose="020B0604020202020204" pitchFamily="34" charset="0"/>
                </a:defRPr>
              </a:lvl1pPr>
              <a:lvl2pPr marL="571500" algn="l" defTabSz="762000">
                <a:defRPr>
                  <a:solidFill>
                    <a:schemeClr val="tx1"/>
                  </a:solidFill>
                  <a:latin typeface="Arial" panose="020B0604020202020204" pitchFamily="34" charset="0"/>
                </a:defRPr>
              </a:lvl2pPr>
              <a:lvl3pPr marL="1143000" algn="l" defTabSz="762000">
                <a:defRPr>
                  <a:solidFill>
                    <a:schemeClr val="tx1"/>
                  </a:solidFill>
                  <a:latin typeface="Arial" panose="020B0604020202020204" pitchFamily="34" charset="0"/>
                </a:defRPr>
              </a:lvl3pPr>
              <a:lvl4pPr marL="1714500" algn="l" defTabSz="762000">
                <a:defRPr>
                  <a:solidFill>
                    <a:schemeClr val="tx1"/>
                  </a:solidFill>
                  <a:latin typeface="Arial" panose="020B0604020202020204" pitchFamily="34" charset="0"/>
                </a:defRPr>
              </a:lvl4pPr>
              <a:lvl5pPr marL="2286000" algn="l" defTabSz="762000">
                <a:defRPr>
                  <a:solidFill>
                    <a:schemeClr val="tx1"/>
                  </a:solidFill>
                  <a:latin typeface="Arial" panose="020B0604020202020204" pitchFamily="34" charset="0"/>
                </a:defRPr>
              </a:lvl5pPr>
              <a:lvl6pPr marL="2743200" defTabSz="762000" fontAlgn="base">
                <a:spcBef>
                  <a:spcPct val="0"/>
                </a:spcBef>
                <a:spcAft>
                  <a:spcPct val="0"/>
                </a:spcAft>
                <a:defRPr>
                  <a:solidFill>
                    <a:schemeClr val="tx1"/>
                  </a:solidFill>
                  <a:latin typeface="Arial" panose="020B0604020202020204" pitchFamily="34" charset="0"/>
                </a:defRPr>
              </a:lvl6pPr>
              <a:lvl7pPr marL="3200400" defTabSz="762000" fontAlgn="base">
                <a:spcBef>
                  <a:spcPct val="0"/>
                </a:spcBef>
                <a:spcAft>
                  <a:spcPct val="0"/>
                </a:spcAft>
                <a:defRPr>
                  <a:solidFill>
                    <a:schemeClr val="tx1"/>
                  </a:solidFill>
                  <a:latin typeface="Arial" panose="020B0604020202020204" pitchFamily="34" charset="0"/>
                </a:defRPr>
              </a:lvl7pPr>
              <a:lvl8pPr marL="3657600" defTabSz="762000" fontAlgn="base">
                <a:spcBef>
                  <a:spcPct val="0"/>
                </a:spcBef>
                <a:spcAft>
                  <a:spcPct val="0"/>
                </a:spcAft>
                <a:defRPr>
                  <a:solidFill>
                    <a:schemeClr val="tx1"/>
                  </a:solidFill>
                  <a:latin typeface="Arial" panose="020B0604020202020204" pitchFamily="34" charset="0"/>
                </a:defRPr>
              </a:lvl8pPr>
              <a:lvl9pPr marL="4114800" defTabSz="762000" fontAlgn="base">
                <a:spcBef>
                  <a:spcPct val="0"/>
                </a:spcBef>
                <a:spcAft>
                  <a:spcPct val="0"/>
                </a:spcAft>
                <a:defRPr>
                  <a:solidFill>
                    <a:schemeClr val="tx1"/>
                  </a:solidFill>
                  <a:latin typeface="Arial" panose="020B0604020202020204" pitchFamily="34" charset="0"/>
                </a:defRPr>
              </a:lvl9pPr>
            </a:lstStyle>
            <a:p>
              <a:pPr eaLnBrk="0" hangingPunct="0"/>
              <a:r>
                <a:rPr lang="en-GB" altLang="en-US" sz="1600"/>
                <a:t>4</a:t>
              </a:r>
            </a:p>
          </p:txBody>
        </p:sp>
      </p:grpSp>
      <p:sp>
        <p:nvSpPr>
          <p:cNvPr id="26" name="Freeform 31"/>
          <p:cNvSpPr>
            <a:spLocks/>
          </p:cNvSpPr>
          <p:nvPr/>
        </p:nvSpPr>
        <p:spPr bwMode="auto">
          <a:xfrm>
            <a:off x="2636838" y="1900238"/>
            <a:ext cx="1935162" cy="914400"/>
          </a:xfrm>
          <a:custGeom>
            <a:avLst/>
            <a:gdLst>
              <a:gd name="T0" fmla="*/ 0 w 1824"/>
              <a:gd name="T1" fmla="*/ 576 h 576"/>
              <a:gd name="T2" fmla="*/ 0 w 1824"/>
              <a:gd name="T3" fmla="*/ 0 h 576"/>
              <a:gd name="T4" fmla="*/ 1824 w 1824"/>
              <a:gd name="T5" fmla="*/ 144 h 576"/>
              <a:gd name="T6" fmla="*/ 1824 w 1824"/>
              <a:gd name="T7" fmla="*/ 576 h 576"/>
              <a:gd name="T8" fmla="*/ 0 w 1824"/>
              <a:gd name="T9" fmla="*/ 576 h 576"/>
            </a:gdLst>
            <a:ahLst/>
            <a:cxnLst>
              <a:cxn ang="0">
                <a:pos x="T0" y="T1"/>
              </a:cxn>
              <a:cxn ang="0">
                <a:pos x="T2" y="T3"/>
              </a:cxn>
              <a:cxn ang="0">
                <a:pos x="T4" y="T5"/>
              </a:cxn>
              <a:cxn ang="0">
                <a:pos x="T6" y="T7"/>
              </a:cxn>
              <a:cxn ang="0">
                <a:pos x="T8" y="T9"/>
              </a:cxn>
            </a:cxnLst>
            <a:rect l="0" t="0" r="r" b="b"/>
            <a:pathLst>
              <a:path w="1824" h="576">
                <a:moveTo>
                  <a:pt x="0" y="576"/>
                </a:moveTo>
                <a:lnTo>
                  <a:pt x="0" y="0"/>
                </a:lnTo>
                <a:lnTo>
                  <a:pt x="1824" y="144"/>
                </a:lnTo>
                <a:lnTo>
                  <a:pt x="1824" y="576"/>
                </a:lnTo>
                <a:lnTo>
                  <a:pt x="0" y="576"/>
                </a:lnTo>
                <a:close/>
              </a:path>
            </a:pathLst>
          </a:custGeom>
          <a:solidFill>
            <a:srgbClr val="99FF99"/>
          </a:solidFill>
          <a:ln>
            <a:noFill/>
          </a:ln>
          <a:effectLst/>
          <a:extLst>
            <a:ext uri="{91240B29-F687-4F45-9708-019B960494DF}">
              <a14:hiddenLine xmlns:a14="http://schemas.microsoft.com/office/drawing/2010/main" w="9525" cap="flat" cmpd="sng">
                <a:solidFill>
                  <a:schemeClr val="tx1"/>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7" name="Text Box 34"/>
          <p:cNvSpPr txBox="1">
            <a:spLocks noChangeArrowheads="1"/>
          </p:cNvSpPr>
          <p:nvPr/>
        </p:nvSpPr>
        <p:spPr bwMode="auto">
          <a:xfrm>
            <a:off x="4140200" y="1700213"/>
            <a:ext cx="1835150" cy="581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r>
              <a:rPr lang="de-DE" altLang="en-US" sz="1600">
                <a:solidFill>
                  <a:srgbClr val="669900"/>
                </a:solidFill>
              </a:rPr>
              <a:t>Fluorescence </a:t>
            </a:r>
          </a:p>
          <a:p>
            <a:pPr eaLnBrk="0" hangingPunct="0"/>
            <a:r>
              <a:rPr lang="de-DE" altLang="en-US" sz="1600">
                <a:solidFill>
                  <a:srgbClr val="669900"/>
                </a:solidFill>
              </a:rPr>
              <a:t>~ns</a:t>
            </a:r>
            <a:endParaRPr lang="en-GB" altLang="en-US" sz="1600">
              <a:solidFill>
                <a:srgbClr val="669900"/>
              </a:solidFill>
            </a:endParaRPr>
          </a:p>
        </p:txBody>
      </p:sp>
      <p:sp>
        <p:nvSpPr>
          <p:cNvPr id="28" name="Freeform 36"/>
          <p:cNvSpPr>
            <a:spLocks noChangeAspect="1"/>
          </p:cNvSpPr>
          <p:nvPr/>
        </p:nvSpPr>
        <p:spPr bwMode="auto">
          <a:xfrm>
            <a:off x="4411663" y="5641975"/>
            <a:ext cx="46037" cy="196850"/>
          </a:xfrm>
          <a:custGeom>
            <a:avLst/>
            <a:gdLst>
              <a:gd name="T0" fmla="*/ 0 w 25"/>
              <a:gd name="T1" fmla="*/ 0 h 146"/>
              <a:gd name="T2" fmla="*/ 16 w 25"/>
              <a:gd name="T3" fmla="*/ 0 h 146"/>
              <a:gd name="T4" fmla="*/ 24 w 25"/>
              <a:gd name="T5" fmla="*/ 8 h 146"/>
              <a:gd name="T6" fmla="*/ 24 w 25"/>
              <a:gd name="T7" fmla="*/ 16 h 146"/>
              <a:gd name="T8" fmla="*/ 16 w 25"/>
              <a:gd name="T9" fmla="*/ 24 h 146"/>
              <a:gd name="T10" fmla="*/ 8 w 25"/>
              <a:gd name="T11" fmla="*/ 24 h 146"/>
              <a:gd name="T12" fmla="*/ 0 w 25"/>
              <a:gd name="T13" fmla="*/ 32 h 146"/>
              <a:gd name="T14" fmla="*/ 8 w 25"/>
              <a:gd name="T15" fmla="*/ 40 h 146"/>
              <a:gd name="T16" fmla="*/ 8 w 25"/>
              <a:gd name="T17" fmla="*/ 48 h 146"/>
              <a:gd name="T18" fmla="*/ 16 w 25"/>
              <a:gd name="T19" fmla="*/ 48 h 146"/>
              <a:gd name="T20" fmla="*/ 24 w 25"/>
              <a:gd name="T21" fmla="*/ 56 h 146"/>
              <a:gd name="T22" fmla="*/ 24 w 25"/>
              <a:gd name="T23" fmla="*/ 64 h 146"/>
              <a:gd name="T24" fmla="*/ 16 w 25"/>
              <a:gd name="T25" fmla="*/ 64 h 146"/>
              <a:gd name="T26" fmla="*/ 16 w 25"/>
              <a:gd name="T27" fmla="*/ 72 h 146"/>
              <a:gd name="T28" fmla="*/ 8 w 25"/>
              <a:gd name="T29" fmla="*/ 80 h 146"/>
              <a:gd name="T30" fmla="*/ 8 w 25"/>
              <a:gd name="T31" fmla="*/ 88 h 146"/>
              <a:gd name="T32" fmla="*/ 16 w 25"/>
              <a:gd name="T33" fmla="*/ 96 h 146"/>
              <a:gd name="T34" fmla="*/ 24 w 25"/>
              <a:gd name="T35" fmla="*/ 104 h 146"/>
              <a:gd name="T36" fmla="*/ 24 w 25"/>
              <a:gd name="T37" fmla="*/ 112 h 146"/>
              <a:gd name="T38" fmla="*/ 24 w 25"/>
              <a:gd name="T39" fmla="*/ 120 h 146"/>
              <a:gd name="T40" fmla="*/ 24 w 25"/>
              <a:gd name="T41" fmla="*/ 128 h 146"/>
              <a:gd name="T42" fmla="*/ 24 w 25"/>
              <a:gd name="T43" fmla="*/ 136 h 146"/>
              <a:gd name="T44" fmla="*/ 24 w 25"/>
              <a:gd name="T45" fmla="*/ 145 h 146"/>
              <a:gd name="T46" fmla="*/ 16 w 25"/>
              <a:gd name="T47" fmla="*/ 145 h 146"/>
              <a:gd name="T48" fmla="*/ 16 w 25"/>
              <a:gd name="T49" fmla="*/ 136 h 146"/>
              <a:gd name="T50" fmla="*/ 24 w 25"/>
              <a:gd name="T51" fmla="*/ 136 h 146"/>
              <a:gd name="T52" fmla="*/ 24 w 25"/>
              <a:gd name="T53" fmla="*/ 145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146">
                <a:moveTo>
                  <a:pt x="0" y="0"/>
                </a:moveTo>
                <a:lnTo>
                  <a:pt x="16" y="0"/>
                </a:lnTo>
                <a:lnTo>
                  <a:pt x="24" y="8"/>
                </a:lnTo>
                <a:lnTo>
                  <a:pt x="24" y="16"/>
                </a:lnTo>
                <a:lnTo>
                  <a:pt x="16" y="24"/>
                </a:lnTo>
                <a:lnTo>
                  <a:pt x="8" y="24"/>
                </a:lnTo>
                <a:lnTo>
                  <a:pt x="0" y="32"/>
                </a:lnTo>
                <a:lnTo>
                  <a:pt x="8" y="40"/>
                </a:lnTo>
                <a:lnTo>
                  <a:pt x="8" y="48"/>
                </a:lnTo>
                <a:lnTo>
                  <a:pt x="16" y="48"/>
                </a:lnTo>
                <a:lnTo>
                  <a:pt x="24" y="56"/>
                </a:lnTo>
                <a:lnTo>
                  <a:pt x="24" y="64"/>
                </a:lnTo>
                <a:lnTo>
                  <a:pt x="16" y="64"/>
                </a:lnTo>
                <a:lnTo>
                  <a:pt x="16" y="72"/>
                </a:lnTo>
                <a:lnTo>
                  <a:pt x="8" y="80"/>
                </a:lnTo>
                <a:lnTo>
                  <a:pt x="8" y="88"/>
                </a:lnTo>
                <a:lnTo>
                  <a:pt x="16" y="96"/>
                </a:lnTo>
                <a:lnTo>
                  <a:pt x="24" y="104"/>
                </a:lnTo>
                <a:lnTo>
                  <a:pt x="24" y="112"/>
                </a:lnTo>
                <a:lnTo>
                  <a:pt x="24" y="120"/>
                </a:lnTo>
                <a:lnTo>
                  <a:pt x="24" y="128"/>
                </a:lnTo>
                <a:lnTo>
                  <a:pt x="24" y="136"/>
                </a:lnTo>
                <a:lnTo>
                  <a:pt x="24" y="145"/>
                </a:lnTo>
                <a:lnTo>
                  <a:pt x="16" y="145"/>
                </a:lnTo>
                <a:lnTo>
                  <a:pt x="16" y="136"/>
                </a:lnTo>
                <a:lnTo>
                  <a:pt x="24" y="136"/>
                </a:lnTo>
                <a:lnTo>
                  <a:pt x="24" y="145"/>
                </a:lnTo>
              </a:path>
            </a:pathLst>
          </a:custGeom>
          <a:noFill/>
          <a:ln w="12700" cap="rnd" cmpd="sng">
            <a:solidFill>
              <a:schemeClr val="bg1"/>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9" name="Rectangle 37"/>
          <p:cNvSpPr>
            <a:spLocks noChangeAspect="1" noChangeArrowheads="1"/>
          </p:cNvSpPr>
          <p:nvPr/>
        </p:nvSpPr>
        <p:spPr bwMode="auto">
          <a:xfrm>
            <a:off x="4683125" y="4435475"/>
            <a:ext cx="1401763"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FF66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lvl1pPr algn="l" defTabSz="762000">
              <a:defRPr>
                <a:solidFill>
                  <a:schemeClr val="tx1"/>
                </a:solidFill>
                <a:latin typeface="Arial" panose="020B0604020202020204" pitchFamily="34" charset="0"/>
              </a:defRPr>
            </a:lvl1pPr>
            <a:lvl2pPr marL="571500" algn="l" defTabSz="762000">
              <a:defRPr>
                <a:solidFill>
                  <a:schemeClr val="tx1"/>
                </a:solidFill>
                <a:latin typeface="Arial" panose="020B0604020202020204" pitchFamily="34" charset="0"/>
              </a:defRPr>
            </a:lvl2pPr>
            <a:lvl3pPr marL="1143000" algn="l" defTabSz="762000">
              <a:defRPr>
                <a:solidFill>
                  <a:schemeClr val="tx1"/>
                </a:solidFill>
                <a:latin typeface="Arial" panose="020B0604020202020204" pitchFamily="34" charset="0"/>
              </a:defRPr>
            </a:lvl3pPr>
            <a:lvl4pPr marL="1714500" algn="l" defTabSz="762000">
              <a:defRPr>
                <a:solidFill>
                  <a:schemeClr val="tx1"/>
                </a:solidFill>
                <a:latin typeface="Arial" panose="020B0604020202020204" pitchFamily="34" charset="0"/>
              </a:defRPr>
            </a:lvl4pPr>
            <a:lvl5pPr marL="2286000" algn="l" defTabSz="762000">
              <a:defRPr>
                <a:solidFill>
                  <a:schemeClr val="tx1"/>
                </a:solidFill>
                <a:latin typeface="Arial" panose="020B0604020202020204" pitchFamily="34" charset="0"/>
              </a:defRPr>
            </a:lvl5pPr>
            <a:lvl6pPr marL="2743200" defTabSz="762000" fontAlgn="base">
              <a:spcBef>
                <a:spcPct val="0"/>
              </a:spcBef>
              <a:spcAft>
                <a:spcPct val="0"/>
              </a:spcAft>
              <a:defRPr>
                <a:solidFill>
                  <a:schemeClr val="tx1"/>
                </a:solidFill>
                <a:latin typeface="Arial" panose="020B0604020202020204" pitchFamily="34" charset="0"/>
              </a:defRPr>
            </a:lvl6pPr>
            <a:lvl7pPr marL="3200400" defTabSz="762000" fontAlgn="base">
              <a:spcBef>
                <a:spcPct val="0"/>
              </a:spcBef>
              <a:spcAft>
                <a:spcPct val="0"/>
              </a:spcAft>
              <a:defRPr>
                <a:solidFill>
                  <a:schemeClr val="tx1"/>
                </a:solidFill>
                <a:latin typeface="Arial" panose="020B0604020202020204" pitchFamily="34" charset="0"/>
              </a:defRPr>
            </a:lvl7pPr>
            <a:lvl8pPr marL="3657600" defTabSz="762000" fontAlgn="base">
              <a:spcBef>
                <a:spcPct val="0"/>
              </a:spcBef>
              <a:spcAft>
                <a:spcPct val="0"/>
              </a:spcAft>
              <a:defRPr>
                <a:solidFill>
                  <a:schemeClr val="tx1"/>
                </a:solidFill>
                <a:latin typeface="Arial" panose="020B0604020202020204" pitchFamily="34" charset="0"/>
              </a:defRPr>
            </a:lvl8pPr>
            <a:lvl9pPr marL="4114800" defTabSz="762000" fontAlgn="base">
              <a:spcBef>
                <a:spcPct val="0"/>
              </a:spcBef>
              <a:spcAft>
                <a:spcPct val="0"/>
              </a:spcAft>
              <a:defRPr>
                <a:solidFill>
                  <a:schemeClr val="tx1"/>
                </a:solidFill>
                <a:latin typeface="Arial" panose="020B0604020202020204" pitchFamily="34" charset="0"/>
              </a:defRPr>
            </a:lvl9pPr>
          </a:lstStyle>
          <a:p>
            <a:pPr eaLnBrk="0" hangingPunct="0"/>
            <a:r>
              <a:rPr lang="en-GB" altLang="en-US" sz="1600">
                <a:solidFill>
                  <a:srgbClr val="669900"/>
                </a:solidFill>
              </a:rPr>
              <a:t>Fluorescence</a:t>
            </a:r>
          </a:p>
        </p:txBody>
      </p:sp>
      <p:sp>
        <p:nvSpPr>
          <p:cNvPr id="30" name="Freeform 38"/>
          <p:cNvSpPr>
            <a:spLocks noChangeAspect="1"/>
          </p:cNvSpPr>
          <p:nvPr/>
        </p:nvSpPr>
        <p:spPr bwMode="auto">
          <a:xfrm>
            <a:off x="4364038" y="3713163"/>
            <a:ext cx="55562" cy="234950"/>
          </a:xfrm>
          <a:custGeom>
            <a:avLst/>
            <a:gdLst>
              <a:gd name="T0" fmla="*/ 0 w 25"/>
              <a:gd name="T1" fmla="*/ 0 h 146"/>
              <a:gd name="T2" fmla="*/ 16 w 25"/>
              <a:gd name="T3" fmla="*/ 0 h 146"/>
              <a:gd name="T4" fmla="*/ 24 w 25"/>
              <a:gd name="T5" fmla="*/ 8 h 146"/>
              <a:gd name="T6" fmla="*/ 24 w 25"/>
              <a:gd name="T7" fmla="*/ 16 h 146"/>
              <a:gd name="T8" fmla="*/ 16 w 25"/>
              <a:gd name="T9" fmla="*/ 24 h 146"/>
              <a:gd name="T10" fmla="*/ 8 w 25"/>
              <a:gd name="T11" fmla="*/ 24 h 146"/>
              <a:gd name="T12" fmla="*/ 0 w 25"/>
              <a:gd name="T13" fmla="*/ 32 h 146"/>
              <a:gd name="T14" fmla="*/ 8 w 25"/>
              <a:gd name="T15" fmla="*/ 40 h 146"/>
              <a:gd name="T16" fmla="*/ 8 w 25"/>
              <a:gd name="T17" fmla="*/ 48 h 146"/>
              <a:gd name="T18" fmla="*/ 16 w 25"/>
              <a:gd name="T19" fmla="*/ 48 h 146"/>
              <a:gd name="T20" fmla="*/ 24 w 25"/>
              <a:gd name="T21" fmla="*/ 56 h 146"/>
              <a:gd name="T22" fmla="*/ 24 w 25"/>
              <a:gd name="T23" fmla="*/ 64 h 146"/>
              <a:gd name="T24" fmla="*/ 16 w 25"/>
              <a:gd name="T25" fmla="*/ 64 h 146"/>
              <a:gd name="T26" fmla="*/ 16 w 25"/>
              <a:gd name="T27" fmla="*/ 72 h 146"/>
              <a:gd name="T28" fmla="*/ 8 w 25"/>
              <a:gd name="T29" fmla="*/ 80 h 146"/>
              <a:gd name="T30" fmla="*/ 8 w 25"/>
              <a:gd name="T31" fmla="*/ 88 h 146"/>
              <a:gd name="T32" fmla="*/ 16 w 25"/>
              <a:gd name="T33" fmla="*/ 96 h 146"/>
              <a:gd name="T34" fmla="*/ 24 w 25"/>
              <a:gd name="T35" fmla="*/ 104 h 146"/>
              <a:gd name="T36" fmla="*/ 24 w 25"/>
              <a:gd name="T37" fmla="*/ 112 h 146"/>
              <a:gd name="T38" fmla="*/ 24 w 25"/>
              <a:gd name="T39" fmla="*/ 120 h 146"/>
              <a:gd name="T40" fmla="*/ 24 w 25"/>
              <a:gd name="T41" fmla="*/ 128 h 146"/>
              <a:gd name="T42" fmla="*/ 24 w 25"/>
              <a:gd name="T43" fmla="*/ 136 h 146"/>
              <a:gd name="T44" fmla="*/ 24 w 25"/>
              <a:gd name="T45" fmla="*/ 145 h 146"/>
              <a:gd name="T46" fmla="*/ 16 w 25"/>
              <a:gd name="T47" fmla="*/ 145 h 146"/>
              <a:gd name="T48" fmla="*/ 16 w 25"/>
              <a:gd name="T49" fmla="*/ 136 h 146"/>
              <a:gd name="T50" fmla="*/ 24 w 25"/>
              <a:gd name="T51" fmla="*/ 136 h 146"/>
              <a:gd name="T52" fmla="*/ 24 w 25"/>
              <a:gd name="T53" fmla="*/ 145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146">
                <a:moveTo>
                  <a:pt x="0" y="0"/>
                </a:moveTo>
                <a:lnTo>
                  <a:pt x="16" y="0"/>
                </a:lnTo>
                <a:lnTo>
                  <a:pt x="24" y="8"/>
                </a:lnTo>
                <a:lnTo>
                  <a:pt x="24" y="16"/>
                </a:lnTo>
                <a:lnTo>
                  <a:pt x="16" y="24"/>
                </a:lnTo>
                <a:lnTo>
                  <a:pt x="8" y="24"/>
                </a:lnTo>
                <a:lnTo>
                  <a:pt x="0" y="32"/>
                </a:lnTo>
                <a:lnTo>
                  <a:pt x="8" y="40"/>
                </a:lnTo>
                <a:lnTo>
                  <a:pt x="8" y="48"/>
                </a:lnTo>
                <a:lnTo>
                  <a:pt x="16" y="48"/>
                </a:lnTo>
                <a:lnTo>
                  <a:pt x="24" y="56"/>
                </a:lnTo>
                <a:lnTo>
                  <a:pt x="24" y="64"/>
                </a:lnTo>
                <a:lnTo>
                  <a:pt x="16" y="64"/>
                </a:lnTo>
                <a:lnTo>
                  <a:pt x="16" y="72"/>
                </a:lnTo>
                <a:lnTo>
                  <a:pt x="8" y="80"/>
                </a:lnTo>
                <a:lnTo>
                  <a:pt x="8" y="88"/>
                </a:lnTo>
                <a:lnTo>
                  <a:pt x="16" y="96"/>
                </a:lnTo>
                <a:lnTo>
                  <a:pt x="24" y="104"/>
                </a:lnTo>
                <a:lnTo>
                  <a:pt x="24" y="112"/>
                </a:lnTo>
                <a:lnTo>
                  <a:pt x="24" y="120"/>
                </a:lnTo>
                <a:lnTo>
                  <a:pt x="24" y="128"/>
                </a:lnTo>
                <a:lnTo>
                  <a:pt x="24" y="136"/>
                </a:lnTo>
                <a:lnTo>
                  <a:pt x="24" y="145"/>
                </a:lnTo>
                <a:lnTo>
                  <a:pt x="16" y="145"/>
                </a:lnTo>
                <a:lnTo>
                  <a:pt x="16" y="136"/>
                </a:lnTo>
                <a:lnTo>
                  <a:pt x="24" y="136"/>
                </a:lnTo>
                <a:lnTo>
                  <a:pt x="24" y="145"/>
                </a:lnTo>
              </a:path>
            </a:pathLst>
          </a:custGeom>
          <a:noFill/>
          <a:ln w="12700" cap="rnd" cmpd="sng">
            <a:solidFill>
              <a:schemeClr val="tx1"/>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1" name="Line 39"/>
          <p:cNvSpPr>
            <a:spLocks noChangeAspect="1" noChangeShapeType="1"/>
          </p:cNvSpPr>
          <p:nvPr/>
        </p:nvSpPr>
        <p:spPr bwMode="auto">
          <a:xfrm>
            <a:off x="4572000" y="3930650"/>
            <a:ext cx="0" cy="1741488"/>
          </a:xfrm>
          <a:prstGeom prst="line">
            <a:avLst/>
          </a:prstGeom>
          <a:noFill/>
          <a:ln w="38100">
            <a:solidFill>
              <a:srgbClr val="008000"/>
            </a:solidFill>
            <a:round/>
            <a:headEnd type="none" w="sm" len="sm"/>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aphicFrame>
        <p:nvGraphicFramePr>
          <p:cNvPr id="32" name="Object 40"/>
          <p:cNvGraphicFramePr>
            <a:graphicFrameLocks noChangeAspect="1"/>
          </p:cNvGraphicFramePr>
          <p:nvPr/>
        </p:nvGraphicFramePr>
        <p:xfrm>
          <a:off x="4887913" y="5538788"/>
          <a:ext cx="679450" cy="236537"/>
        </p:xfrm>
        <a:graphic>
          <a:graphicData uri="http://schemas.openxmlformats.org/presentationml/2006/ole">
            <mc:AlternateContent xmlns:mc="http://schemas.openxmlformats.org/markup-compatibility/2006">
              <mc:Choice xmlns:v="urn:schemas-microsoft-com:vml" Requires="v">
                <p:oleObj spid="_x0000_s4098" name="Equation" r:id="rId3" imgW="799920" imgH="279360" progId="Equation.DSMT4">
                  <p:embed/>
                </p:oleObj>
              </mc:Choice>
              <mc:Fallback>
                <p:oleObj name="Equation" r:id="rId3" imgW="799920" imgH="279360" progId="Equation.DSMT4">
                  <p:embed/>
                  <p:pic>
                    <p:nvPicPr>
                      <p:cNvPr id="32" name="Object 4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87913" y="5538788"/>
                        <a:ext cx="679450" cy="236537"/>
                      </a:xfrm>
                      <a:prstGeom prst="rect">
                        <a:avLst/>
                      </a:prstGeom>
                      <a:noFill/>
                      <a:ln>
                        <a:noFill/>
                      </a:ln>
                      <a:effectLst/>
                      <a:extLst>
                        <a:ext uri="{909E8E84-426E-40DD-AFC4-6F175D3DCCD1}">
                          <a14:hiddenFill xmlns:a14="http://schemas.microsoft.com/office/drawing/2010/main">
                            <a:solidFill>
                              <a:srgbClr val="FFCC00"/>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33" name="Object 41"/>
          <p:cNvGraphicFramePr>
            <a:graphicFrameLocks noChangeAspect="1"/>
          </p:cNvGraphicFramePr>
          <p:nvPr/>
        </p:nvGraphicFramePr>
        <p:xfrm>
          <a:off x="4806950" y="3670300"/>
          <a:ext cx="638175" cy="246063"/>
        </p:xfrm>
        <a:graphic>
          <a:graphicData uri="http://schemas.openxmlformats.org/presentationml/2006/ole">
            <mc:AlternateContent xmlns:mc="http://schemas.openxmlformats.org/markup-compatibility/2006">
              <mc:Choice xmlns:v="urn:schemas-microsoft-com:vml" Requires="v">
                <p:oleObj spid="_x0000_s4099" name="Equation" r:id="rId5" imgW="749160" imgH="291960" progId="Equation.DSMT4">
                  <p:embed/>
                </p:oleObj>
              </mc:Choice>
              <mc:Fallback>
                <p:oleObj name="Equation" r:id="rId5" imgW="749160" imgH="291960" progId="Equation.DSMT4">
                  <p:embed/>
                  <p:pic>
                    <p:nvPicPr>
                      <p:cNvPr id="33" name="Object 4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06950" y="3670300"/>
                        <a:ext cx="638175" cy="246063"/>
                      </a:xfrm>
                      <a:prstGeom prst="rect">
                        <a:avLst/>
                      </a:prstGeom>
                      <a:noFill/>
                      <a:ln>
                        <a:noFill/>
                      </a:ln>
                      <a:effectLst/>
                      <a:extLst>
                        <a:ext uri="{909E8E84-426E-40DD-AFC4-6F175D3DCCD1}">
                          <a14:hiddenFill xmlns:a14="http://schemas.microsoft.com/office/drawing/2010/main">
                            <a:solidFill>
                              <a:srgbClr val="FFCC00"/>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nvGrpSpPr>
          <p:cNvPr id="34" name="Group 44"/>
          <p:cNvGrpSpPr>
            <a:grpSpLocks/>
          </p:cNvGrpSpPr>
          <p:nvPr/>
        </p:nvGrpSpPr>
        <p:grpSpPr bwMode="auto">
          <a:xfrm>
            <a:off x="1514475" y="3656013"/>
            <a:ext cx="1154113" cy="2166937"/>
            <a:chOff x="1872" y="2259"/>
            <a:chExt cx="727" cy="1365"/>
          </a:xfrm>
        </p:grpSpPr>
        <p:sp>
          <p:nvSpPr>
            <p:cNvPr id="35" name="Rectangle 45"/>
            <p:cNvSpPr>
              <a:spLocks noChangeAspect="1" noChangeArrowheads="1"/>
            </p:cNvSpPr>
            <p:nvPr/>
          </p:nvSpPr>
          <p:spPr bwMode="auto">
            <a:xfrm>
              <a:off x="1872" y="2868"/>
              <a:ext cx="727"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lvl1pPr algn="l" defTabSz="762000">
                <a:defRPr>
                  <a:solidFill>
                    <a:schemeClr val="tx1"/>
                  </a:solidFill>
                  <a:latin typeface="Arial" panose="020B0604020202020204" pitchFamily="34" charset="0"/>
                </a:defRPr>
              </a:lvl1pPr>
              <a:lvl2pPr marL="571500" algn="l" defTabSz="762000">
                <a:defRPr>
                  <a:solidFill>
                    <a:schemeClr val="tx1"/>
                  </a:solidFill>
                  <a:latin typeface="Arial" panose="020B0604020202020204" pitchFamily="34" charset="0"/>
                </a:defRPr>
              </a:lvl2pPr>
              <a:lvl3pPr marL="1143000" algn="l" defTabSz="762000">
                <a:defRPr>
                  <a:solidFill>
                    <a:schemeClr val="tx1"/>
                  </a:solidFill>
                  <a:latin typeface="Arial" panose="020B0604020202020204" pitchFamily="34" charset="0"/>
                </a:defRPr>
              </a:lvl3pPr>
              <a:lvl4pPr marL="1714500" algn="l" defTabSz="762000">
                <a:defRPr>
                  <a:solidFill>
                    <a:schemeClr val="tx1"/>
                  </a:solidFill>
                  <a:latin typeface="Arial" panose="020B0604020202020204" pitchFamily="34" charset="0"/>
                </a:defRPr>
              </a:lvl4pPr>
              <a:lvl5pPr marL="2286000" algn="l" defTabSz="762000">
                <a:defRPr>
                  <a:solidFill>
                    <a:schemeClr val="tx1"/>
                  </a:solidFill>
                  <a:latin typeface="Arial" panose="020B0604020202020204" pitchFamily="34" charset="0"/>
                </a:defRPr>
              </a:lvl5pPr>
              <a:lvl6pPr marL="2743200" defTabSz="762000" fontAlgn="base">
                <a:spcBef>
                  <a:spcPct val="0"/>
                </a:spcBef>
                <a:spcAft>
                  <a:spcPct val="0"/>
                </a:spcAft>
                <a:defRPr>
                  <a:solidFill>
                    <a:schemeClr val="tx1"/>
                  </a:solidFill>
                  <a:latin typeface="Arial" panose="020B0604020202020204" pitchFamily="34" charset="0"/>
                </a:defRPr>
              </a:lvl6pPr>
              <a:lvl7pPr marL="3200400" defTabSz="762000" fontAlgn="base">
                <a:spcBef>
                  <a:spcPct val="0"/>
                </a:spcBef>
                <a:spcAft>
                  <a:spcPct val="0"/>
                </a:spcAft>
                <a:defRPr>
                  <a:solidFill>
                    <a:schemeClr val="tx1"/>
                  </a:solidFill>
                  <a:latin typeface="Arial" panose="020B0604020202020204" pitchFamily="34" charset="0"/>
                </a:defRPr>
              </a:lvl7pPr>
              <a:lvl8pPr marL="3657600" defTabSz="762000" fontAlgn="base">
                <a:spcBef>
                  <a:spcPct val="0"/>
                </a:spcBef>
                <a:spcAft>
                  <a:spcPct val="0"/>
                </a:spcAft>
                <a:defRPr>
                  <a:solidFill>
                    <a:schemeClr val="tx1"/>
                  </a:solidFill>
                  <a:latin typeface="Arial" panose="020B0604020202020204" pitchFamily="34" charset="0"/>
                </a:defRPr>
              </a:lvl8pPr>
              <a:lvl9pPr marL="4114800" defTabSz="762000" fontAlgn="base">
                <a:spcBef>
                  <a:spcPct val="0"/>
                </a:spcBef>
                <a:spcAft>
                  <a:spcPct val="0"/>
                </a:spcAft>
                <a:defRPr>
                  <a:solidFill>
                    <a:schemeClr val="tx1"/>
                  </a:solidFill>
                  <a:latin typeface="Arial" panose="020B0604020202020204" pitchFamily="34" charset="0"/>
                </a:defRPr>
              </a:lvl9pPr>
            </a:lstStyle>
            <a:p>
              <a:pPr eaLnBrk="0" hangingPunct="0"/>
              <a:r>
                <a:rPr lang="en-GB" altLang="en-US" sz="1600">
                  <a:solidFill>
                    <a:srgbClr val="0099FF"/>
                  </a:solidFill>
                </a:rPr>
                <a:t>Absorption</a:t>
              </a:r>
            </a:p>
          </p:txBody>
        </p:sp>
        <p:sp>
          <p:nvSpPr>
            <p:cNvPr id="36" name="Line 46"/>
            <p:cNvSpPr>
              <a:spLocks noChangeAspect="1" noChangeShapeType="1"/>
            </p:cNvSpPr>
            <p:nvPr/>
          </p:nvSpPr>
          <p:spPr bwMode="auto">
            <a:xfrm>
              <a:off x="2590" y="2259"/>
              <a:ext cx="0" cy="1365"/>
            </a:xfrm>
            <a:prstGeom prst="line">
              <a:avLst/>
            </a:prstGeom>
            <a:noFill/>
            <a:ln w="19050">
              <a:solidFill>
                <a:srgbClr val="00CCFF"/>
              </a:solidFill>
              <a:round/>
              <a:headEnd type="triangle" w="lg" len="lg"/>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37" name="Group 48"/>
          <p:cNvGrpSpPr>
            <a:grpSpLocks noChangeAspect="1"/>
          </p:cNvGrpSpPr>
          <p:nvPr/>
        </p:nvGrpSpPr>
        <p:grpSpPr bwMode="auto">
          <a:xfrm>
            <a:off x="2501900" y="2203450"/>
            <a:ext cx="254000" cy="592138"/>
            <a:chOff x="2108" y="2705"/>
            <a:chExt cx="101" cy="222"/>
          </a:xfrm>
        </p:grpSpPr>
        <p:sp>
          <p:nvSpPr>
            <p:cNvPr id="38" name="Arc 49"/>
            <p:cNvSpPr>
              <a:spLocks noChangeAspect="1"/>
            </p:cNvSpPr>
            <p:nvPr/>
          </p:nvSpPr>
          <p:spPr bwMode="auto">
            <a:xfrm>
              <a:off x="2136" y="2705"/>
              <a:ext cx="24" cy="132"/>
            </a:xfrm>
            <a:custGeom>
              <a:avLst/>
              <a:gdLst>
                <a:gd name="G0" fmla="+- 21600 0 0"/>
                <a:gd name="G1" fmla="+- 21580 0 0"/>
                <a:gd name="G2" fmla="+- 21600 0 0"/>
                <a:gd name="T0" fmla="*/ 0 w 21600"/>
                <a:gd name="T1" fmla="*/ 21580 h 21580"/>
                <a:gd name="T2" fmla="*/ 20682 w 21600"/>
                <a:gd name="T3" fmla="*/ 0 h 21580"/>
                <a:gd name="T4" fmla="*/ 21600 w 21600"/>
                <a:gd name="T5" fmla="*/ 21580 h 21580"/>
              </a:gdLst>
              <a:ahLst/>
              <a:cxnLst>
                <a:cxn ang="0">
                  <a:pos x="T0" y="T1"/>
                </a:cxn>
                <a:cxn ang="0">
                  <a:pos x="T2" y="T3"/>
                </a:cxn>
                <a:cxn ang="0">
                  <a:pos x="T4" y="T5"/>
                </a:cxn>
              </a:cxnLst>
              <a:rect l="0" t="0" r="r" b="b"/>
              <a:pathLst>
                <a:path w="21600" h="21580" fill="none" extrusionOk="0">
                  <a:moveTo>
                    <a:pt x="0" y="21580"/>
                  </a:moveTo>
                  <a:cubicBezTo>
                    <a:pt x="0" y="10007"/>
                    <a:pt x="9120" y="491"/>
                    <a:pt x="20681" y="-1"/>
                  </a:cubicBezTo>
                </a:path>
                <a:path w="21600" h="21580" stroke="0" extrusionOk="0">
                  <a:moveTo>
                    <a:pt x="0" y="21580"/>
                  </a:moveTo>
                  <a:cubicBezTo>
                    <a:pt x="0" y="10007"/>
                    <a:pt x="9120" y="491"/>
                    <a:pt x="20681" y="-1"/>
                  </a:cubicBezTo>
                  <a:lnTo>
                    <a:pt x="21600" y="21580"/>
                  </a:lnTo>
                  <a:close/>
                </a:path>
              </a:pathLst>
            </a:custGeom>
            <a:noFill/>
            <a:ln w="19050" cap="rnd">
              <a:solidFill>
                <a:srgbClr val="0099FF"/>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 name="Arc 50"/>
            <p:cNvSpPr>
              <a:spLocks noChangeAspect="1"/>
            </p:cNvSpPr>
            <p:nvPr/>
          </p:nvSpPr>
          <p:spPr bwMode="auto">
            <a:xfrm>
              <a:off x="2157" y="2705"/>
              <a:ext cx="24" cy="132"/>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19050" cap="rnd">
              <a:solidFill>
                <a:srgbClr val="0099FF"/>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 name="Arc 51"/>
            <p:cNvSpPr>
              <a:spLocks noChangeAspect="1"/>
            </p:cNvSpPr>
            <p:nvPr/>
          </p:nvSpPr>
          <p:spPr bwMode="auto">
            <a:xfrm>
              <a:off x="2108" y="2832"/>
              <a:ext cx="29" cy="94"/>
            </a:xfrm>
            <a:custGeom>
              <a:avLst/>
              <a:gdLst>
                <a:gd name="G0" fmla="+- 0 0 0"/>
                <a:gd name="G1" fmla="+- 231 0 0"/>
                <a:gd name="G2" fmla="+- 21600 0 0"/>
                <a:gd name="T0" fmla="*/ 21599 w 21600"/>
                <a:gd name="T1" fmla="*/ 0 h 21831"/>
                <a:gd name="T2" fmla="*/ 0 w 21600"/>
                <a:gd name="T3" fmla="*/ 21831 h 21831"/>
                <a:gd name="T4" fmla="*/ 0 w 21600"/>
                <a:gd name="T5" fmla="*/ 231 h 21831"/>
              </a:gdLst>
              <a:ahLst/>
              <a:cxnLst>
                <a:cxn ang="0">
                  <a:pos x="T0" y="T1"/>
                </a:cxn>
                <a:cxn ang="0">
                  <a:pos x="T2" y="T3"/>
                </a:cxn>
                <a:cxn ang="0">
                  <a:pos x="T4" y="T5"/>
                </a:cxn>
              </a:cxnLst>
              <a:rect l="0" t="0" r="r" b="b"/>
              <a:pathLst>
                <a:path w="21600" h="21831" fill="none" extrusionOk="0">
                  <a:moveTo>
                    <a:pt x="21598" y="0"/>
                  </a:moveTo>
                  <a:cubicBezTo>
                    <a:pt x="21599" y="76"/>
                    <a:pt x="21600" y="153"/>
                    <a:pt x="21600" y="231"/>
                  </a:cubicBezTo>
                  <a:cubicBezTo>
                    <a:pt x="21600" y="12160"/>
                    <a:pt x="11929" y="21831"/>
                    <a:pt x="0" y="21831"/>
                  </a:cubicBezTo>
                </a:path>
                <a:path w="21600" h="21831" stroke="0" extrusionOk="0">
                  <a:moveTo>
                    <a:pt x="21598" y="0"/>
                  </a:moveTo>
                  <a:cubicBezTo>
                    <a:pt x="21599" y="76"/>
                    <a:pt x="21600" y="153"/>
                    <a:pt x="21600" y="231"/>
                  </a:cubicBezTo>
                  <a:cubicBezTo>
                    <a:pt x="21600" y="12160"/>
                    <a:pt x="11929" y="21831"/>
                    <a:pt x="0" y="21831"/>
                  </a:cubicBezTo>
                  <a:lnTo>
                    <a:pt x="0" y="231"/>
                  </a:lnTo>
                  <a:close/>
                </a:path>
              </a:pathLst>
            </a:custGeom>
            <a:noFill/>
            <a:ln w="19050" cap="rnd">
              <a:solidFill>
                <a:srgbClr val="0099FF"/>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 name="Arc 52"/>
            <p:cNvSpPr>
              <a:spLocks noChangeAspect="1"/>
            </p:cNvSpPr>
            <p:nvPr/>
          </p:nvSpPr>
          <p:spPr bwMode="auto">
            <a:xfrm>
              <a:off x="2180" y="2835"/>
              <a:ext cx="29" cy="92"/>
            </a:xfrm>
            <a:custGeom>
              <a:avLst/>
              <a:gdLst>
                <a:gd name="G0" fmla="+- 21600 0 0"/>
                <a:gd name="G1" fmla="+- 0 0 0"/>
                <a:gd name="G2" fmla="+- 21600 0 0"/>
                <a:gd name="T0" fmla="*/ 21600 w 21600"/>
                <a:gd name="T1" fmla="*/ 21600 h 21600"/>
                <a:gd name="T2" fmla="*/ 0 w 21600"/>
                <a:gd name="T3" fmla="*/ 0 h 21600"/>
                <a:gd name="T4" fmla="*/ 21600 w 21600"/>
                <a:gd name="T5" fmla="*/ 0 h 21600"/>
              </a:gdLst>
              <a:ahLst/>
              <a:cxnLst>
                <a:cxn ang="0">
                  <a:pos x="T0" y="T1"/>
                </a:cxn>
                <a:cxn ang="0">
                  <a:pos x="T2" y="T3"/>
                </a:cxn>
                <a:cxn ang="0">
                  <a:pos x="T4" y="T5"/>
                </a:cxn>
              </a:cxnLst>
              <a:rect l="0" t="0" r="r" b="b"/>
              <a:pathLst>
                <a:path w="21600" h="21600" fill="none" extrusionOk="0">
                  <a:moveTo>
                    <a:pt x="21600" y="21600"/>
                  </a:moveTo>
                  <a:cubicBezTo>
                    <a:pt x="9670" y="21600"/>
                    <a:pt x="0" y="11929"/>
                    <a:pt x="0" y="0"/>
                  </a:cubicBezTo>
                </a:path>
                <a:path w="21600" h="21600" stroke="0" extrusionOk="0">
                  <a:moveTo>
                    <a:pt x="21600" y="21600"/>
                  </a:moveTo>
                  <a:cubicBezTo>
                    <a:pt x="9670" y="21600"/>
                    <a:pt x="0" y="11929"/>
                    <a:pt x="0" y="0"/>
                  </a:cubicBezTo>
                  <a:lnTo>
                    <a:pt x="21600" y="0"/>
                  </a:lnTo>
                  <a:close/>
                </a:path>
              </a:pathLst>
            </a:custGeom>
            <a:noFill/>
            <a:ln w="19050" cap="rnd">
              <a:solidFill>
                <a:srgbClr val="0099FF"/>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42" name="Rectangle 53"/>
          <p:cNvSpPr>
            <a:spLocks noChangeAspect="1" noChangeArrowheads="1"/>
          </p:cNvSpPr>
          <p:nvPr/>
        </p:nvSpPr>
        <p:spPr bwMode="auto">
          <a:xfrm>
            <a:off x="1547813" y="1931988"/>
            <a:ext cx="1063625"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lvl1pPr algn="l" defTabSz="762000">
              <a:defRPr>
                <a:solidFill>
                  <a:schemeClr val="tx1"/>
                </a:solidFill>
                <a:latin typeface="Arial" panose="020B0604020202020204" pitchFamily="34" charset="0"/>
              </a:defRPr>
            </a:lvl1pPr>
            <a:lvl2pPr marL="571500" algn="l" defTabSz="762000">
              <a:defRPr>
                <a:solidFill>
                  <a:schemeClr val="tx1"/>
                </a:solidFill>
                <a:latin typeface="Arial" panose="020B0604020202020204" pitchFamily="34" charset="0"/>
              </a:defRPr>
            </a:lvl2pPr>
            <a:lvl3pPr marL="1143000" algn="l" defTabSz="762000">
              <a:defRPr>
                <a:solidFill>
                  <a:schemeClr val="tx1"/>
                </a:solidFill>
                <a:latin typeface="Arial" panose="020B0604020202020204" pitchFamily="34" charset="0"/>
              </a:defRPr>
            </a:lvl3pPr>
            <a:lvl4pPr marL="1714500" algn="l" defTabSz="762000">
              <a:defRPr>
                <a:solidFill>
                  <a:schemeClr val="tx1"/>
                </a:solidFill>
                <a:latin typeface="Arial" panose="020B0604020202020204" pitchFamily="34" charset="0"/>
              </a:defRPr>
            </a:lvl4pPr>
            <a:lvl5pPr marL="2286000" algn="l" defTabSz="762000">
              <a:defRPr>
                <a:solidFill>
                  <a:schemeClr val="tx1"/>
                </a:solidFill>
                <a:latin typeface="Arial" panose="020B0604020202020204" pitchFamily="34" charset="0"/>
              </a:defRPr>
            </a:lvl5pPr>
            <a:lvl6pPr marL="2743200" defTabSz="762000" fontAlgn="base">
              <a:spcBef>
                <a:spcPct val="0"/>
              </a:spcBef>
              <a:spcAft>
                <a:spcPct val="0"/>
              </a:spcAft>
              <a:defRPr>
                <a:solidFill>
                  <a:schemeClr val="tx1"/>
                </a:solidFill>
                <a:latin typeface="Arial" panose="020B0604020202020204" pitchFamily="34" charset="0"/>
              </a:defRPr>
            </a:lvl6pPr>
            <a:lvl7pPr marL="3200400" defTabSz="762000" fontAlgn="base">
              <a:spcBef>
                <a:spcPct val="0"/>
              </a:spcBef>
              <a:spcAft>
                <a:spcPct val="0"/>
              </a:spcAft>
              <a:defRPr>
                <a:solidFill>
                  <a:schemeClr val="tx1"/>
                </a:solidFill>
                <a:latin typeface="Arial" panose="020B0604020202020204" pitchFamily="34" charset="0"/>
              </a:defRPr>
            </a:lvl7pPr>
            <a:lvl8pPr marL="3657600" defTabSz="762000" fontAlgn="base">
              <a:spcBef>
                <a:spcPct val="0"/>
              </a:spcBef>
              <a:spcAft>
                <a:spcPct val="0"/>
              </a:spcAft>
              <a:defRPr>
                <a:solidFill>
                  <a:schemeClr val="tx1"/>
                </a:solidFill>
                <a:latin typeface="Arial" panose="020B0604020202020204" pitchFamily="34" charset="0"/>
              </a:defRPr>
            </a:lvl8pPr>
            <a:lvl9pPr marL="4114800" defTabSz="762000" fontAlgn="base">
              <a:spcBef>
                <a:spcPct val="0"/>
              </a:spcBef>
              <a:spcAft>
                <a:spcPct val="0"/>
              </a:spcAft>
              <a:defRPr>
                <a:solidFill>
                  <a:schemeClr val="tx1"/>
                </a:solidFill>
                <a:latin typeface="Arial" panose="020B0604020202020204" pitchFamily="34" charset="0"/>
              </a:defRPr>
            </a:lvl9pPr>
          </a:lstStyle>
          <a:p>
            <a:pPr eaLnBrk="0" hangingPunct="0"/>
            <a:r>
              <a:rPr lang="en-GB" altLang="en-US" sz="1600">
                <a:solidFill>
                  <a:srgbClr val="0099FF"/>
                </a:solidFill>
              </a:rPr>
              <a:t>Excitation</a:t>
            </a:r>
          </a:p>
        </p:txBody>
      </p:sp>
      <p:sp>
        <p:nvSpPr>
          <p:cNvPr id="43" name="Text Box 54"/>
          <p:cNvSpPr txBox="1">
            <a:spLocks noChangeAspect="1" noChangeArrowheads="1"/>
          </p:cNvSpPr>
          <p:nvPr/>
        </p:nvSpPr>
        <p:spPr bwMode="auto">
          <a:xfrm>
            <a:off x="1946275" y="2274888"/>
            <a:ext cx="630238"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gn="l" defTabSz="762000">
              <a:defRPr>
                <a:solidFill>
                  <a:schemeClr val="tx1"/>
                </a:solidFill>
                <a:latin typeface="Arial" panose="020B0604020202020204" pitchFamily="34" charset="0"/>
              </a:defRPr>
            </a:lvl1pPr>
            <a:lvl2pPr marL="571500" algn="l" defTabSz="762000">
              <a:defRPr>
                <a:solidFill>
                  <a:schemeClr val="tx1"/>
                </a:solidFill>
                <a:latin typeface="Arial" panose="020B0604020202020204" pitchFamily="34" charset="0"/>
              </a:defRPr>
            </a:lvl2pPr>
            <a:lvl3pPr marL="1143000" algn="l" defTabSz="762000">
              <a:defRPr>
                <a:solidFill>
                  <a:schemeClr val="tx1"/>
                </a:solidFill>
                <a:latin typeface="Arial" panose="020B0604020202020204" pitchFamily="34" charset="0"/>
              </a:defRPr>
            </a:lvl3pPr>
            <a:lvl4pPr marL="1714500" algn="l" defTabSz="762000">
              <a:defRPr>
                <a:solidFill>
                  <a:schemeClr val="tx1"/>
                </a:solidFill>
                <a:latin typeface="Arial" panose="020B0604020202020204" pitchFamily="34" charset="0"/>
              </a:defRPr>
            </a:lvl4pPr>
            <a:lvl5pPr marL="2286000" algn="l" defTabSz="762000">
              <a:defRPr>
                <a:solidFill>
                  <a:schemeClr val="tx1"/>
                </a:solidFill>
                <a:latin typeface="Arial" panose="020B0604020202020204" pitchFamily="34" charset="0"/>
              </a:defRPr>
            </a:lvl5pPr>
            <a:lvl6pPr marL="2743200" defTabSz="762000" fontAlgn="base">
              <a:spcBef>
                <a:spcPct val="0"/>
              </a:spcBef>
              <a:spcAft>
                <a:spcPct val="0"/>
              </a:spcAft>
              <a:defRPr>
                <a:solidFill>
                  <a:schemeClr val="tx1"/>
                </a:solidFill>
                <a:latin typeface="Arial" panose="020B0604020202020204" pitchFamily="34" charset="0"/>
              </a:defRPr>
            </a:lvl6pPr>
            <a:lvl7pPr marL="3200400" defTabSz="762000" fontAlgn="base">
              <a:spcBef>
                <a:spcPct val="0"/>
              </a:spcBef>
              <a:spcAft>
                <a:spcPct val="0"/>
              </a:spcAft>
              <a:defRPr>
                <a:solidFill>
                  <a:schemeClr val="tx1"/>
                </a:solidFill>
                <a:latin typeface="Arial" panose="020B0604020202020204" pitchFamily="34" charset="0"/>
              </a:defRPr>
            </a:lvl7pPr>
            <a:lvl8pPr marL="3657600" defTabSz="762000" fontAlgn="base">
              <a:spcBef>
                <a:spcPct val="0"/>
              </a:spcBef>
              <a:spcAft>
                <a:spcPct val="0"/>
              </a:spcAft>
              <a:defRPr>
                <a:solidFill>
                  <a:schemeClr val="tx1"/>
                </a:solidFill>
                <a:latin typeface="Arial" panose="020B0604020202020204" pitchFamily="34" charset="0"/>
              </a:defRPr>
            </a:lvl8pPr>
            <a:lvl9pPr marL="4114800" defTabSz="762000" fontAlgn="base">
              <a:spcBef>
                <a:spcPct val="0"/>
              </a:spcBef>
              <a:spcAft>
                <a:spcPct val="0"/>
              </a:spcAft>
              <a:defRPr>
                <a:solidFill>
                  <a:schemeClr val="tx1"/>
                </a:solidFill>
                <a:latin typeface="Arial" panose="020B0604020202020204" pitchFamily="34" charset="0"/>
              </a:defRPr>
            </a:lvl9pPr>
          </a:lstStyle>
          <a:p>
            <a:pPr eaLnBrk="0" hangingPunct="0"/>
            <a:r>
              <a:rPr lang="en-GB" altLang="en-US" sz="1600">
                <a:solidFill>
                  <a:srgbClr val="0099FF"/>
                </a:solidFill>
              </a:rPr>
              <a:t>&lt;1ps</a:t>
            </a:r>
          </a:p>
        </p:txBody>
      </p:sp>
      <p:sp>
        <p:nvSpPr>
          <p:cNvPr id="44" name="Line 56"/>
          <p:cNvSpPr>
            <a:spLocks noChangeAspect="1" noChangeShapeType="1"/>
          </p:cNvSpPr>
          <p:nvPr/>
        </p:nvSpPr>
        <p:spPr bwMode="auto">
          <a:xfrm>
            <a:off x="2378075" y="2852738"/>
            <a:ext cx="3024188" cy="0"/>
          </a:xfrm>
          <a:prstGeom prst="line">
            <a:avLst/>
          </a:prstGeom>
          <a:noFill/>
          <a:ln w="12700">
            <a:solidFill>
              <a:schemeClr val="tx1"/>
            </a:solidFill>
            <a:round/>
            <a:headEnd type="none" w="sm" len="sm"/>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 name="Text Box 57"/>
          <p:cNvSpPr txBox="1">
            <a:spLocks noChangeArrowheads="1"/>
          </p:cNvSpPr>
          <p:nvPr/>
        </p:nvSpPr>
        <p:spPr bwMode="auto">
          <a:xfrm>
            <a:off x="5473700" y="2419350"/>
            <a:ext cx="635000" cy="581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br>
              <a:rPr lang="de-DE" altLang="en-US" sz="1600"/>
            </a:br>
            <a:r>
              <a:rPr lang="de-DE" altLang="en-US" sz="1600"/>
              <a:t>Time</a:t>
            </a:r>
            <a:endParaRPr lang="en-GB" altLang="en-US" sz="1600"/>
          </a:p>
        </p:txBody>
      </p:sp>
      <p:sp>
        <p:nvSpPr>
          <p:cNvPr id="46" name="Freeform 66"/>
          <p:cNvSpPr>
            <a:spLocks noChangeAspect="1"/>
          </p:cNvSpPr>
          <p:nvPr/>
        </p:nvSpPr>
        <p:spPr bwMode="auto">
          <a:xfrm>
            <a:off x="2981325" y="5554663"/>
            <a:ext cx="55563" cy="234950"/>
          </a:xfrm>
          <a:custGeom>
            <a:avLst/>
            <a:gdLst>
              <a:gd name="T0" fmla="*/ 0 w 25"/>
              <a:gd name="T1" fmla="*/ 0 h 146"/>
              <a:gd name="T2" fmla="*/ 16 w 25"/>
              <a:gd name="T3" fmla="*/ 0 h 146"/>
              <a:gd name="T4" fmla="*/ 24 w 25"/>
              <a:gd name="T5" fmla="*/ 8 h 146"/>
              <a:gd name="T6" fmla="*/ 24 w 25"/>
              <a:gd name="T7" fmla="*/ 16 h 146"/>
              <a:gd name="T8" fmla="*/ 16 w 25"/>
              <a:gd name="T9" fmla="*/ 24 h 146"/>
              <a:gd name="T10" fmla="*/ 8 w 25"/>
              <a:gd name="T11" fmla="*/ 24 h 146"/>
              <a:gd name="T12" fmla="*/ 0 w 25"/>
              <a:gd name="T13" fmla="*/ 32 h 146"/>
              <a:gd name="T14" fmla="*/ 8 w 25"/>
              <a:gd name="T15" fmla="*/ 40 h 146"/>
              <a:gd name="T16" fmla="*/ 8 w 25"/>
              <a:gd name="T17" fmla="*/ 48 h 146"/>
              <a:gd name="T18" fmla="*/ 16 w 25"/>
              <a:gd name="T19" fmla="*/ 48 h 146"/>
              <a:gd name="T20" fmla="*/ 24 w 25"/>
              <a:gd name="T21" fmla="*/ 56 h 146"/>
              <a:gd name="T22" fmla="*/ 24 w 25"/>
              <a:gd name="T23" fmla="*/ 64 h 146"/>
              <a:gd name="T24" fmla="*/ 16 w 25"/>
              <a:gd name="T25" fmla="*/ 64 h 146"/>
              <a:gd name="T26" fmla="*/ 16 w 25"/>
              <a:gd name="T27" fmla="*/ 72 h 146"/>
              <a:gd name="T28" fmla="*/ 8 w 25"/>
              <a:gd name="T29" fmla="*/ 80 h 146"/>
              <a:gd name="T30" fmla="*/ 8 w 25"/>
              <a:gd name="T31" fmla="*/ 88 h 146"/>
              <a:gd name="T32" fmla="*/ 16 w 25"/>
              <a:gd name="T33" fmla="*/ 96 h 146"/>
              <a:gd name="T34" fmla="*/ 24 w 25"/>
              <a:gd name="T35" fmla="*/ 104 h 146"/>
              <a:gd name="T36" fmla="*/ 24 w 25"/>
              <a:gd name="T37" fmla="*/ 112 h 146"/>
              <a:gd name="T38" fmla="*/ 24 w 25"/>
              <a:gd name="T39" fmla="*/ 120 h 146"/>
              <a:gd name="T40" fmla="*/ 24 w 25"/>
              <a:gd name="T41" fmla="*/ 128 h 146"/>
              <a:gd name="T42" fmla="*/ 24 w 25"/>
              <a:gd name="T43" fmla="*/ 136 h 146"/>
              <a:gd name="T44" fmla="*/ 24 w 25"/>
              <a:gd name="T45" fmla="*/ 145 h 146"/>
              <a:gd name="T46" fmla="*/ 16 w 25"/>
              <a:gd name="T47" fmla="*/ 145 h 146"/>
              <a:gd name="T48" fmla="*/ 16 w 25"/>
              <a:gd name="T49" fmla="*/ 136 h 146"/>
              <a:gd name="T50" fmla="*/ 24 w 25"/>
              <a:gd name="T51" fmla="*/ 136 h 146"/>
              <a:gd name="T52" fmla="*/ 24 w 25"/>
              <a:gd name="T53" fmla="*/ 145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146">
                <a:moveTo>
                  <a:pt x="0" y="0"/>
                </a:moveTo>
                <a:lnTo>
                  <a:pt x="16" y="0"/>
                </a:lnTo>
                <a:lnTo>
                  <a:pt x="24" y="8"/>
                </a:lnTo>
                <a:lnTo>
                  <a:pt x="24" y="16"/>
                </a:lnTo>
                <a:lnTo>
                  <a:pt x="16" y="24"/>
                </a:lnTo>
                <a:lnTo>
                  <a:pt x="8" y="24"/>
                </a:lnTo>
                <a:lnTo>
                  <a:pt x="0" y="32"/>
                </a:lnTo>
                <a:lnTo>
                  <a:pt x="8" y="40"/>
                </a:lnTo>
                <a:lnTo>
                  <a:pt x="8" y="48"/>
                </a:lnTo>
                <a:lnTo>
                  <a:pt x="16" y="48"/>
                </a:lnTo>
                <a:lnTo>
                  <a:pt x="24" y="56"/>
                </a:lnTo>
                <a:lnTo>
                  <a:pt x="24" y="64"/>
                </a:lnTo>
                <a:lnTo>
                  <a:pt x="16" y="64"/>
                </a:lnTo>
                <a:lnTo>
                  <a:pt x="16" y="72"/>
                </a:lnTo>
                <a:lnTo>
                  <a:pt x="8" y="80"/>
                </a:lnTo>
                <a:lnTo>
                  <a:pt x="8" y="88"/>
                </a:lnTo>
                <a:lnTo>
                  <a:pt x="16" y="96"/>
                </a:lnTo>
                <a:lnTo>
                  <a:pt x="24" y="104"/>
                </a:lnTo>
                <a:lnTo>
                  <a:pt x="24" y="112"/>
                </a:lnTo>
                <a:lnTo>
                  <a:pt x="24" y="120"/>
                </a:lnTo>
                <a:lnTo>
                  <a:pt x="24" y="128"/>
                </a:lnTo>
                <a:lnTo>
                  <a:pt x="24" y="136"/>
                </a:lnTo>
                <a:lnTo>
                  <a:pt x="24" y="145"/>
                </a:lnTo>
                <a:lnTo>
                  <a:pt x="16" y="145"/>
                </a:lnTo>
                <a:lnTo>
                  <a:pt x="16" y="136"/>
                </a:lnTo>
                <a:lnTo>
                  <a:pt x="24" y="136"/>
                </a:lnTo>
                <a:lnTo>
                  <a:pt x="24" y="145"/>
                </a:lnTo>
              </a:path>
            </a:pathLst>
          </a:custGeom>
          <a:noFill/>
          <a:ln w="12700" cap="rnd" cmpd="sng">
            <a:solidFill>
              <a:schemeClr val="tx1"/>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7" name="Freeform 67"/>
          <p:cNvSpPr>
            <a:spLocks noChangeAspect="1"/>
          </p:cNvSpPr>
          <p:nvPr/>
        </p:nvSpPr>
        <p:spPr bwMode="auto">
          <a:xfrm>
            <a:off x="2951163" y="3692525"/>
            <a:ext cx="57150" cy="234950"/>
          </a:xfrm>
          <a:custGeom>
            <a:avLst/>
            <a:gdLst>
              <a:gd name="T0" fmla="*/ 0 w 25"/>
              <a:gd name="T1" fmla="*/ 0 h 146"/>
              <a:gd name="T2" fmla="*/ 16 w 25"/>
              <a:gd name="T3" fmla="*/ 0 h 146"/>
              <a:gd name="T4" fmla="*/ 24 w 25"/>
              <a:gd name="T5" fmla="*/ 8 h 146"/>
              <a:gd name="T6" fmla="*/ 24 w 25"/>
              <a:gd name="T7" fmla="*/ 16 h 146"/>
              <a:gd name="T8" fmla="*/ 16 w 25"/>
              <a:gd name="T9" fmla="*/ 24 h 146"/>
              <a:gd name="T10" fmla="*/ 8 w 25"/>
              <a:gd name="T11" fmla="*/ 24 h 146"/>
              <a:gd name="T12" fmla="*/ 0 w 25"/>
              <a:gd name="T13" fmla="*/ 32 h 146"/>
              <a:gd name="T14" fmla="*/ 8 w 25"/>
              <a:gd name="T15" fmla="*/ 40 h 146"/>
              <a:gd name="T16" fmla="*/ 8 w 25"/>
              <a:gd name="T17" fmla="*/ 48 h 146"/>
              <a:gd name="T18" fmla="*/ 16 w 25"/>
              <a:gd name="T19" fmla="*/ 48 h 146"/>
              <a:gd name="T20" fmla="*/ 24 w 25"/>
              <a:gd name="T21" fmla="*/ 56 h 146"/>
              <a:gd name="T22" fmla="*/ 24 w 25"/>
              <a:gd name="T23" fmla="*/ 64 h 146"/>
              <a:gd name="T24" fmla="*/ 16 w 25"/>
              <a:gd name="T25" fmla="*/ 64 h 146"/>
              <a:gd name="T26" fmla="*/ 16 w 25"/>
              <a:gd name="T27" fmla="*/ 72 h 146"/>
              <a:gd name="T28" fmla="*/ 8 w 25"/>
              <a:gd name="T29" fmla="*/ 80 h 146"/>
              <a:gd name="T30" fmla="*/ 8 w 25"/>
              <a:gd name="T31" fmla="*/ 88 h 146"/>
              <a:gd name="T32" fmla="*/ 16 w 25"/>
              <a:gd name="T33" fmla="*/ 96 h 146"/>
              <a:gd name="T34" fmla="*/ 24 w 25"/>
              <a:gd name="T35" fmla="*/ 104 h 146"/>
              <a:gd name="T36" fmla="*/ 24 w 25"/>
              <a:gd name="T37" fmla="*/ 112 h 146"/>
              <a:gd name="T38" fmla="*/ 24 w 25"/>
              <a:gd name="T39" fmla="*/ 120 h 146"/>
              <a:gd name="T40" fmla="*/ 24 w 25"/>
              <a:gd name="T41" fmla="*/ 128 h 146"/>
              <a:gd name="T42" fmla="*/ 24 w 25"/>
              <a:gd name="T43" fmla="*/ 136 h 146"/>
              <a:gd name="T44" fmla="*/ 24 w 25"/>
              <a:gd name="T45" fmla="*/ 145 h 146"/>
              <a:gd name="T46" fmla="*/ 16 w 25"/>
              <a:gd name="T47" fmla="*/ 145 h 146"/>
              <a:gd name="T48" fmla="*/ 16 w 25"/>
              <a:gd name="T49" fmla="*/ 136 h 146"/>
              <a:gd name="T50" fmla="*/ 24 w 25"/>
              <a:gd name="T51" fmla="*/ 136 h 146"/>
              <a:gd name="T52" fmla="*/ 24 w 25"/>
              <a:gd name="T53" fmla="*/ 145 h 146"/>
              <a:gd name="T54" fmla="*/ 0 w 25"/>
              <a:gd name="T5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 h="146">
                <a:moveTo>
                  <a:pt x="0" y="0"/>
                </a:moveTo>
                <a:lnTo>
                  <a:pt x="16" y="0"/>
                </a:lnTo>
                <a:lnTo>
                  <a:pt x="24" y="8"/>
                </a:lnTo>
                <a:lnTo>
                  <a:pt x="24" y="16"/>
                </a:lnTo>
                <a:lnTo>
                  <a:pt x="16" y="24"/>
                </a:lnTo>
                <a:lnTo>
                  <a:pt x="8" y="24"/>
                </a:lnTo>
                <a:lnTo>
                  <a:pt x="0" y="32"/>
                </a:lnTo>
                <a:lnTo>
                  <a:pt x="8" y="40"/>
                </a:lnTo>
                <a:lnTo>
                  <a:pt x="8" y="48"/>
                </a:lnTo>
                <a:lnTo>
                  <a:pt x="16" y="48"/>
                </a:lnTo>
                <a:lnTo>
                  <a:pt x="24" y="56"/>
                </a:lnTo>
                <a:lnTo>
                  <a:pt x="24" y="64"/>
                </a:lnTo>
                <a:lnTo>
                  <a:pt x="16" y="64"/>
                </a:lnTo>
                <a:lnTo>
                  <a:pt x="16" y="72"/>
                </a:lnTo>
                <a:lnTo>
                  <a:pt x="8" y="80"/>
                </a:lnTo>
                <a:lnTo>
                  <a:pt x="8" y="88"/>
                </a:lnTo>
                <a:lnTo>
                  <a:pt x="16" y="96"/>
                </a:lnTo>
                <a:lnTo>
                  <a:pt x="24" y="104"/>
                </a:lnTo>
                <a:lnTo>
                  <a:pt x="24" y="112"/>
                </a:lnTo>
                <a:lnTo>
                  <a:pt x="24" y="120"/>
                </a:lnTo>
                <a:lnTo>
                  <a:pt x="24" y="128"/>
                </a:lnTo>
                <a:lnTo>
                  <a:pt x="24" y="136"/>
                </a:lnTo>
                <a:lnTo>
                  <a:pt x="24" y="145"/>
                </a:lnTo>
                <a:lnTo>
                  <a:pt x="16" y="145"/>
                </a:lnTo>
                <a:lnTo>
                  <a:pt x="16" y="136"/>
                </a:lnTo>
                <a:lnTo>
                  <a:pt x="24" y="136"/>
                </a:lnTo>
                <a:lnTo>
                  <a:pt x="24" y="145"/>
                </a:lnTo>
                <a:lnTo>
                  <a:pt x="0" y="0"/>
                </a:lnTo>
              </a:path>
            </a:pathLst>
          </a:custGeom>
          <a:solidFill>
            <a:schemeClr val="tx1"/>
          </a:solidFill>
          <a:ln w="9525" cap="rnd">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8" name="Rectangle 69"/>
          <p:cNvSpPr>
            <a:spLocks noChangeAspect="1" noChangeArrowheads="1"/>
          </p:cNvSpPr>
          <p:nvPr/>
        </p:nvSpPr>
        <p:spPr bwMode="auto">
          <a:xfrm>
            <a:off x="3059112" y="4292600"/>
            <a:ext cx="1304925" cy="581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lvl1pPr algn="l" defTabSz="762000">
              <a:defRPr>
                <a:solidFill>
                  <a:schemeClr val="tx1"/>
                </a:solidFill>
                <a:latin typeface="Arial" panose="020B0604020202020204" pitchFamily="34" charset="0"/>
              </a:defRPr>
            </a:lvl1pPr>
            <a:lvl2pPr marL="571500" algn="l" defTabSz="762000">
              <a:defRPr>
                <a:solidFill>
                  <a:schemeClr val="tx1"/>
                </a:solidFill>
                <a:latin typeface="Arial" panose="020B0604020202020204" pitchFamily="34" charset="0"/>
              </a:defRPr>
            </a:lvl2pPr>
            <a:lvl3pPr marL="1143000" algn="l" defTabSz="762000">
              <a:defRPr>
                <a:solidFill>
                  <a:schemeClr val="tx1"/>
                </a:solidFill>
                <a:latin typeface="Arial" panose="020B0604020202020204" pitchFamily="34" charset="0"/>
              </a:defRPr>
            </a:lvl3pPr>
            <a:lvl4pPr marL="1714500" algn="l" defTabSz="762000">
              <a:defRPr>
                <a:solidFill>
                  <a:schemeClr val="tx1"/>
                </a:solidFill>
                <a:latin typeface="Arial" panose="020B0604020202020204" pitchFamily="34" charset="0"/>
              </a:defRPr>
            </a:lvl4pPr>
            <a:lvl5pPr marL="2286000" algn="l" defTabSz="762000">
              <a:defRPr>
                <a:solidFill>
                  <a:schemeClr val="tx1"/>
                </a:solidFill>
                <a:latin typeface="Arial" panose="020B0604020202020204" pitchFamily="34" charset="0"/>
              </a:defRPr>
            </a:lvl5pPr>
            <a:lvl6pPr marL="2743200" defTabSz="762000" fontAlgn="base">
              <a:spcBef>
                <a:spcPct val="0"/>
              </a:spcBef>
              <a:spcAft>
                <a:spcPct val="0"/>
              </a:spcAft>
              <a:defRPr>
                <a:solidFill>
                  <a:schemeClr val="tx1"/>
                </a:solidFill>
                <a:latin typeface="Arial" panose="020B0604020202020204" pitchFamily="34" charset="0"/>
              </a:defRPr>
            </a:lvl6pPr>
            <a:lvl7pPr marL="3200400" defTabSz="762000" fontAlgn="base">
              <a:spcBef>
                <a:spcPct val="0"/>
              </a:spcBef>
              <a:spcAft>
                <a:spcPct val="0"/>
              </a:spcAft>
              <a:defRPr>
                <a:solidFill>
                  <a:schemeClr val="tx1"/>
                </a:solidFill>
                <a:latin typeface="Arial" panose="020B0604020202020204" pitchFamily="34" charset="0"/>
              </a:defRPr>
            </a:lvl7pPr>
            <a:lvl8pPr marL="3657600" defTabSz="762000" fontAlgn="base">
              <a:spcBef>
                <a:spcPct val="0"/>
              </a:spcBef>
              <a:spcAft>
                <a:spcPct val="0"/>
              </a:spcAft>
              <a:defRPr>
                <a:solidFill>
                  <a:schemeClr val="tx1"/>
                </a:solidFill>
                <a:latin typeface="Arial" panose="020B0604020202020204" pitchFamily="34" charset="0"/>
              </a:defRPr>
            </a:lvl8pPr>
            <a:lvl9pPr marL="4114800" defTabSz="762000" fontAlgn="base">
              <a:spcBef>
                <a:spcPct val="0"/>
              </a:spcBef>
              <a:spcAft>
                <a:spcPct val="0"/>
              </a:spcAft>
              <a:defRPr>
                <a:solidFill>
                  <a:schemeClr val="tx1"/>
                </a:solidFill>
                <a:latin typeface="Arial" panose="020B0604020202020204" pitchFamily="34" charset="0"/>
              </a:defRPr>
            </a:lvl9pPr>
          </a:lstStyle>
          <a:p>
            <a:pPr eaLnBrk="0" hangingPunct="0"/>
            <a:r>
              <a:rPr lang="en-GB" altLang="en-US" sz="1600" b="1" u="sng" dirty="0">
                <a:solidFill>
                  <a:srgbClr val="FF9900"/>
                </a:solidFill>
              </a:rPr>
              <a:t>Stimulated</a:t>
            </a:r>
            <a:endParaRPr lang="de-DE" altLang="en-US" sz="1600" b="1" u="sng" dirty="0">
              <a:solidFill>
                <a:srgbClr val="FF9900"/>
              </a:solidFill>
            </a:endParaRPr>
          </a:p>
          <a:p>
            <a:pPr eaLnBrk="0" hangingPunct="0"/>
            <a:r>
              <a:rPr lang="en-GB" altLang="en-US" sz="1600" b="1" u="sng" dirty="0">
                <a:solidFill>
                  <a:srgbClr val="FF9900"/>
                </a:solidFill>
              </a:rPr>
              <a:t>Emission</a:t>
            </a:r>
          </a:p>
        </p:txBody>
      </p:sp>
      <p:sp>
        <p:nvSpPr>
          <p:cNvPr id="49" name="Line 70"/>
          <p:cNvSpPr>
            <a:spLocks noChangeAspect="1" noChangeShapeType="1"/>
          </p:cNvSpPr>
          <p:nvPr/>
        </p:nvSpPr>
        <p:spPr bwMode="auto">
          <a:xfrm>
            <a:off x="3132138" y="3951288"/>
            <a:ext cx="0" cy="1584325"/>
          </a:xfrm>
          <a:prstGeom prst="line">
            <a:avLst/>
          </a:prstGeom>
          <a:noFill/>
          <a:ln w="34925">
            <a:solidFill>
              <a:srgbClr val="FF9900"/>
            </a:solidFill>
            <a:round/>
            <a:headEnd type="none" w="sm" len="sm"/>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nvGrpSpPr>
          <p:cNvPr id="50" name="Group 71"/>
          <p:cNvGrpSpPr>
            <a:grpSpLocks/>
          </p:cNvGrpSpPr>
          <p:nvPr/>
        </p:nvGrpSpPr>
        <p:grpSpPr bwMode="auto">
          <a:xfrm>
            <a:off x="2484438" y="1989138"/>
            <a:ext cx="1571625" cy="844550"/>
            <a:chOff x="2264" y="1186"/>
            <a:chExt cx="990" cy="532"/>
          </a:xfrm>
        </p:grpSpPr>
        <p:grpSp>
          <p:nvGrpSpPr>
            <p:cNvPr id="51" name="Group 72"/>
            <p:cNvGrpSpPr>
              <a:grpSpLocks noChangeAspect="1"/>
            </p:cNvGrpSpPr>
            <p:nvPr/>
          </p:nvGrpSpPr>
          <p:grpSpPr bwMode="auto">
            <a:xfrm>
              <a:off x="2264" y="1350"/>
              <a:ext cx="727" cy="368"/>
              <a:chOff x="1124" y="2705"/>
              <a:chExt cx="101" cy="222"/>
            </a:xfrm>
          </p:grpSpPr>
          <p:sp>
            <p:nvSpPr>
              <p:cNvPr id="54" name="Arc 73"/>
              <p:cNvSpPr>
                <a:spLocks noChangeAspect="1"/>
              </p:cNvSpPr>
              <p:nvPr/>
            </p:nvSpPr>
            <p:spPr bwMode="auto">
              <a:xfrm>
                <a:off x="1152" y="2705"/>
                <a:ext cx="24" cy="132"/>
              </a:xfrm>
              <a:custGeom>
                <a:avLst/>
                <a:gdLst>
                  <a:gd name="G0" fmla="+- 21600 0 0"/>
                  <a:gd name="G1" fmla="+- 21580 0 0"/>
                  <a:gd name="G2" fmla="+- 21600 0 0"/>
                  <a:gd name="T0" fmla="*/ 0 w 21600"/>
                  <a:gd name="T1" fmla="*/ 21580 h 21580"/>
                  <a:gd name="T2" fmla="*/ 20682 w 21600"/>
                  <a:gd name="T3" fmla="*/ 0 h 21580"/>
                  <a:gd name="T4" fmla="*/ 21600 w 21600"/>
                  <a:gd name="T5" fmla="*/ 21580 h 21580"/>
                </a:gdLst>
                <a:ahLst/>
                <a:cxnLst>
                  <a:cxn ang="0">
                    <a:pos x="T0" y="T1"/>
                  </a:cxn>
                  <a:cxn ang="0">
                    <a:pos x="T2" y="T3"/>
                  </a:cxn>
                  <a:cxn ang="0">
                    <a:pos x="T4" y="T5"/>
                  </a:cxn>
                </a:cxnLst>
                <a:rect l="0" t="0" r="r" b="b"/>
                <a:pathLst>
                  <a:path w="21600" h="21580" fill="none" extrusionOk="0">
                    <a:moveTo>
                      <a:pt x="0" y="21580"/>
                    </a:moveTo>
                    <a:cubicBezTo>
                      <a:pt x="0" y="10007"/>
                      <a:pt x="9120" y="491"/>
                      <a:pt x="20681" y="-1"/>
                    </a:cubicBezTo>
                  </a:path>
                  <a:path w="21600" h="21580" stroke="0" extrusionOk="0">
                    <a:moveTo>
                      <a:pt x="0" y="21580"/>
                    </a:moveTo>
                    <a:cubicBezTo>
                      <a:pt x="0" y="10007"/>
                      <a:pt x="9120" y="491"/>
                      <a:pt x="20681" y="-1"/>
                    </a:cubicBezTo>
                    <a:lnTo>
                      <a:pt x="21600" y="21580"/>
                    </a:lnTo>
                    <a:close/>
                  </a:path>
                </a:pathLst>
              </a:custGeom>
              <a:noFill/>
              <a:ln w="38100" cap="rnd">
                <a:solidFill>
                  <a:srgbClr val="FF9933"/>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tLang="en-US">
                  <a:solidFill>
                    <a:srgbClr val="FF9933"/>
                  </a:solidFill>
                </a:endParaRPr>
              </a:p>
            </p:txBody>
          </p:sp>
          <p:sp>
            <p:nvSpPr>
              <p:cNvPr id="55" name="Arc 74"/>
              <p:cNvSpPr>
                <a:spLocks noChangeAspect="1"/>
              </p:cNvSpPr>
              <p:nvPr/>
            </p:nvSpPr>
            <p:spPr bwMode="auto">
              <a:xfrm>
                <a:off x="1173" y="2705"/>
                <a:ext cx="24" cy="132"/>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38100" cap="rnd">
                <a:solidFill>
                  <a:srgbClr val="FF9933"/>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 name="Arc 75"/>
              <p:cNvSpPr>
                <a:spLocks noChangeAspect="1"/>
              </p:cNvSpPr>
              <p:nvPr/>
            </p:nvSpPr>
            <p:spPr bwMode="auto">
              <a:xfrm>
                <a:off x="1124" y="2832"/>
                <a:ext cx="29" cy="94"/>
              </a:xfrm>
              <a:custGeom>
                <a:avLst/>
                <a:gdLst>
                  <a:gd name="G0" fmla="+- 0 0 0"/>
                  <a:gd name="G1" fmla="+- 231 0 0"/>
                  <a:gd name="G2" fmla="+- 21600 0 0"/>
                  <a:gd name="T0" fmla="*/ 21599 w 21600"/>
                  <a:gd name="T1" fmla="*/ 0 h 21831"/>
                  <a:gd name="T2" fmla="*/ 0 w 21600"/>
                  <a:gd name="T3" fmla="*/ 21831 h 21831"/>
                  <a:gd name="T4" fmla="*/ 0 w 21600"/>
                  <a:gd name="T5" fmla="*/ 231 h 21831"/>
                </a:gdLst>
                <a:ahLst/>
                <a:cxnLst>
                  <a:cxn ang="0">
                    <a:pos x="T0" y="T1"/>
                  </a:cxn>
                  <a:cxn ang="0">
                    <a:pos x="T2" y="T3"/>
                  </a:cxn>
                  <a:cxn ang="0">
                    <a:pos x="T4" y="T5"/>
                  </a:cxn>
                </a:cxnLst>
                <a:rect l="0" t="0" r="r" b="b"/>
                <a:pathLst>
                  <a:path w="21600" h="21831" fill="none" extrusionOk="0">
                    <a:moveTo>
                      <a:pt x="21598" y="0"/>
                    </a:moveTo>
                    <a:cubicBezTo>
                      <a:pt x="21599" y="76"/>
                      <a:pt x="21600" y="153"/>
                      <a:pt x="21600" y="231"/>
                    </a:cubicBezTo>
                    <a:cubicBezTo>
                      <a:pt x="21600" y="12160"/>
                      <a:pt x="11929" y="21831"/>
                      <a:pt x="0" y="21831"/>
                    </a:cubicBezTo>
                  </a:path>
                  <a:path w="21600" h="21831" stroke="0" extrusionOk="0">
                    <a:moveTo>
                      <a:pt x="21598" y="0"/>
                    </a:moveTo>
                    <a:cubicBezTo>
                      <a:pt x="21599" y="76"/>
                      <a:pt x="21600" y="153"/>
                      <a:pt x="21600" y="231"/>
                    </a:cubicBezTo>
                    <a:cubicBezTo>
                      <a:pt x="21600" y="12160"/>
                      <a:pt x="11929" y="21831"/>
                      <a:pt x="0" y="21831"/>
                    </a:cubicBezTo>
                    <a:lnTo>
                      <a:pt x="0" y="231"/>
                    </a:lnTo>
                    <a:close/>
                  </a:path>
                </a:pathLst>
              </a:custGeom>
              <a:noFill/>
              <a:ln w="38100" cap="rnd">
                <a:solidFill>
                  <a:srgbClr val="FF9933"/>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tLang="en-US">
                  <a:solidFill>
                    <a:srgbClr val="FF9933"/>
                  </a:solidFill>
                </a:endParaRPr>
              </a:p>
            </p:txBody>
          </p:sp>
          <p:sp>
            <p:nvSpPr>
              <p:cNvPr id="57" name="Arc 76"/>
              <p:cNvSpPr>
                <a:spLocks noChangeAspect="1"/>
              </p:cNvSpPr>
              <p:nvPr/>
            </p:nvSpPr>
            <p:spPr bwMode="auto">
              <a:xfrm>
                <a:off x="1196" y="2835"/>
                <a:ext cx="29" cy="92"/>
              </a:xfrm>
              <a:custGeom>
                <a:avLst/>
                <a:gdLst>
                  <a:gd name="G0" fmla="+- 21600 0 0"/>
                  <a:gd name="G1" fmla="+- 0 0 0"/>
                  <a:gd name="G2" fmla="+- 21600 0 0"/>
                  <a:gd name="T0" fmla="*/ 21600 w 21600"/>
                  <a:gd name="T1" fmla="*/ 21600 h 21600"/>
                  <a:gd name="T2" fmla="*/ 0 w 21600"/>
                  <a:gd name="T3" fmla="*/ 0 h 21600"/>
                  <a:gd name="T4" fmla="*/ 21600 w 21600"/>
                  <a:gd name="T5" fmla="*/ 0 h 21600"/>
                </a:gdLst>
                <a:ahLst/>
                <a:cxnLst>
                  <a:cxn ang="0">
                    <a:pos x="T0" y="T1"/>
                  </a:cxn>
                  <a:cxn ang="0">
                    <a:pos x="T2" y="T3"/>
                  </a:cxn>
                  <a:cxn ang="0">
                    <a:pos x="T4" y="T5"/>
                  </a:cxn>
                </a:cxnLst>
                <a:rect l="0" t="0" r="r" b="b"/>
                <a:pathLst>
                  <a:path w="21600" h="21600" fill="none" extrusionOk="0">
                    <a:moveTo>
                      <a:pt x="21600" y="21600"/>
                    </a:moveTo>
                    <a:cubicBezTo>
                      <a:pt x="9670" y="21600"/>
                      <a:pt x="0" y="11929"/>
                      <a:pt x="0" y="0"/>
                    </a:cubicBezTo>
                  </a:path>
                  <a:path w="21600" h="21600" stroke="0" extrusionOk="0">
                    <a:moveTo>
                      <a:pt x="21600" y="21600"/>
                    </a:moveTo>
                    <a:cubicBezTo>
                      <a:pt x="9670" y="21600"/>
                      <a:pt x="0" y="11929"/>
                      <a:pt x="0" y="0"/>
                    </a:cubicBezTo>
                    <a:lnTo>
                      <a:pt x="21600" y="0"/>
                    </a:lnTo>
                    <a:close/>
                  </a:path>
                </a:pathLst>
              </a:custGeom>
              <a:noFill/>
              <a:ln w="38100" cap="rnd">
                <a:solidFill>
                  <a:srgbClr val="FF9933"/>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52" name="Rectangle 77"/>
            <p:cNvSpPr>
              <a:spLocks noChangeAspect="1" noChangeArrowheads="1"/>
            </p:cNvSpPr>
            <p:nvPr/>
          </p:nvSpPr>
          <p:spPr bwMode="auto">
            <a:xfrm>
              <a:off x="2795" y="1186"/>
              <a:ext cx="456"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lvl1pPr algn="l" defTabSz="762000">
                <a:defRPr>
                  <a:solidFill>
                    <a:schemeClr val="tx1"/>
                  </a:solidFill>
                  <a:latin typeface="Arial" panose="020B0604020202020204" pitchFamily="34" charset="0"/>
                </a:defRPr>
              </a:lvl1pPr>
              <a:lvl2pPr marL="571500" algn="l" defTabSz="762000">
                <a:defRPr>
                  <a:solidFill>
                    <a:schemeClr val="tx1"/>
                  </a:solidFill>
                  <a:latin typeface="Arial" panose="020B0604020202020204" pitchFamily="34" charset="0"/>
                </a:defRPr>
              </a:lvl2pPr>
              <a:lvl3pPr marL="1143000" algn="l" defTabSz="762000">
                <a:defRPr>
                  <a:solidFill>
                    <a:schemeClr val="tx1"/>
                  </a:solidFill>
                  <a:latin typeface="Arial" panose="020B0604020202020204" pitchFamily="34" charset="0"/>
                </a:defRPr>
              </a:lvl3pPr>
              <a:lvl4pPr marL="1714500" algn="l" defTabSz="762000">
                <a:defRPr>
                  <a:solidFill>
                    <a:schemeClr val="tx1"/>
                  </a:solidFill>
                  <a:latin typeface="Arial" panose="020B0604020202020204" pitchFamily="34" charset="0"/>
                </a:defRPr>
              </a:lvl4pPr>
              <a:lvl5pPr marL="2286000" algn="l" defTabSz="762000">
                <a:defRPr>
                  <a:solidFill>
                    <a:schemeClr val="tx1"/>
                  </a:solidFill>
                  <a:latin typeface="Arial" panose="020B0604020202020204" pitchFamily="34" charset="0"/>
                </a:defRPr>
              </a:lvl5pPr>
              <a:lvl6pPr marL="2743200" defTabSz="762000" fontAlgn="base">
                <a:spcBef>
                  <a:spcPct val="0"/>
                </a:spcBef>
                <a:spcAft>
                  <a:spcPct val="0"/>
                </a:spcAft>
                <a:defRPr>
                  <a:solidFill>
                    <a:schemeClr val="tx1"/>
                  </a:solidFill>
                  <a:latin typeface="Arial" panose="020B0604020202020204" pitchFamily="34" charset="0"/>
                </a:defRPr>
              </a:lvl6pPr>
              <a:lvl7pPr marL="3200400" defTabSz="762000" fontAlgn="base">
                <a:spcBef>
                  <a:spcPct val="0"/>
                </a:spcBef>
                <a:spcAft>
                  <a:spcPct val="0"/>
                </a:spcAft>
                <a:defRPr>
                  <a:solidFill>
                    <a:schemeClr val="tx1"/>
                  </a:solidFill>
                  <a:latin typeface="Arial" panose="020B0604020202020204" pitchFamily="34" charset="0"/>
                </a:defRPr>
              </a:lvl7pPr>
              <a:lvl8pPr marL="3657600" defTabSz="762000" fontAlgn="base">
                <a:spcBef>
                  <a:spcPct val="0"/>
                </a:spcBef>
                <a:spcAft>
                  <a:spcPct val="0"/>
                </a:spcAft>
                <a:defRPr>
                  <a:solidFill>
                    <a:schemeClr val="tx1"/>
                  </a:solidFill>
                  <a:latin typeface="Arial" panose="020B0604020202020204" pitchFamily="34" charset="0"/>
                </a:defRPr>
              </a:lvl8pPr>
              <a:lvl9pPr marL="4114800" defTabSz="762000" fontAlgn="base">
                <a:spcBef>
                  <a:spcPct val="0"/>
                </a:spcBef>
                <a:spcAft>
                  <a:spcPct val="0"/>
                </a:spcAft>
                <a:defRPr>
                  <a:solidFill>
                    <a:schemeClr val="tx1"/>
                  </a:solidFill>
                  <a:latin typeface="Arial" panose="020B0604020202020204" pitchFamily="34" charset="0"/>
                </a:defRPr>
              </a:lvl9pPr>
            </a:lstStyle>
            <a:p>
              <a:pPr eaLnBrk="0" hangingPunct="0"/>
              <a:r>
                <a:rPr lang="en-GB" altLang="en-US" sz="1600">
                  <a:solidFill>
                    <a:srgbClr val="FF9933"/>
                  </a:solidFill>
                </a:rPr>
                <a:t>STED</a:t>
              </a:r>
            </a:p>
          </p:txBody>
        </p:sp>
        <p:sp>
          <p:nvSpPr>
            <p:cNvPr id="53" name="Text Box 78"/>
            <p:cNvSpPr txBox="1">
              <a:spLocks noChangeAspect="1" noChangeArrowheads="1"/>
            </p:cNvSpPr>
            <p:nvPr/>
          </p:nvSpPr>
          <p:spPr bwMode="auto">
            <a:xfrm>
              <a:off x="2754" y="1303"/>
              <a:ext cx="500" cy="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FF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gn="l" defTabSz="762000">
                <a:defRPr>
                  <a:solidFill>
                    <a:schemeClr val="tx1"/>
                  </a:solidFill>
                  <a:latin typeface="Arial" panose="020B0604020202020204" pitchFamily="34" charset="0"/>
                </a:defRPr>
              </a:lvl1pPr>
              <a:lvl2pPr marL="571500" algn="l" defTabSz="762000">
                <a:defRPr>
                  <a:solidFill>
                    <a:schemeClr val="tx1"/>
                  </a:solidFill>
                  <a:latin typeface="Arial" panose="020B0604020202020204" pitchFamily="34" charset="0"/>
                </a:defRPr>
              </a:lvl2pPr>
              <a:lvl3pPr marL="1143000" algn="l" defTabSz="762000">
                <a:defRPr>
                  <a:solidFill>
                    <a:schemeClr val="tx1"/>
                  </a:solidFill>
                  <a:latin typeface="Arial" panose="020B0604020202020204" pitchFamily="34" charset="0"/>
                </a:defRPr>
              </a:lvl3pPr>
              <a:lvl4pPr marL="1714500" algn="l" defTabSz="762000">
                <a:defRPr>
                  <a:solidFill>
                    <a:schemeClr val="tx1"/>
                  </a:solidFill>
                  <a:latin typeface="Arial" panose="020B0604020202020204" pitchFamily="34" charset="0"/>
                </a:defRPr>
              </a:lvl4pPr>
              <a:lvl5pPr marL="2286000" algn="l" defTabSz="762000">
                <a:defRPr>
                  <a:solidFill>
                    <a:schemeClr val="tx1"/>
                  </a:solidFill>
                  <a:latin typeface="Arial" panose="020B0604020202020204" pitchFamily="34" charset="0"/>
                </a:defRPr>
              </a:lvl5pPr>
              <a:lvl6pPr marL="2743200" defTabSz="762000" fontAlgn="base">
                <a:spcBef>
                  <a:spcPct val="0"/>
                </a:spcBef>
                <a:spcAft>
                  <a:spcPct val="0"/>
                </a:spcAft>
                <a:defRPr>
                  <a:solidFill>
                    <a:schemeClr val="tx1"/>
                  </a:solidFill>
                  <a:latin typeface="Arial" panose="020B0604020202020204" pitchFamily="34" charset="0"/>
                </a:defRPr>
              </a:lvl6pPr>
              <a:lvl7pPr marL="3200400" defTabSz="762000" fontAlgn="base">
                <a:spcBef>
                  <a:spcPct val="0"/>
                </a:spcBef>
                <a:spcAft>
                  <a:spcPct val="0"/>
                </a:spcAft>
                <a:defRPr>
                  <a:solidFill>
                    <a:schemeClr val="tx1"/>
                  </a:solidFill>
                  <a:latin typeface="Arial" panose="020B0604020202020204" pitchFamily="34" charset="0"/>
                </a:defRPr>
              </a:lvl7pPr>
              <a:lvl8pPr marL="3657600" defTabSz="762000" fontAlgn="base">
                <a:spcBef>
                  <a:spcPct val="0"/>
                </a:spcBef>
                <a:spcAft>
                  <a:spcPct val="0"/>
                </a:spcAft>
                <a:defRPr>
                  <a:solidFill>
                    <a:schemeClr val="tx1"/>
                  </a:solidFill>
                  <a:latin typeface="Arial" panose="020B0604020202020204" pitchFamily="34" charset="0"/>
                </a:defRPr>
              </a:lvl8pPr>
              <a:lvl9pPr marL="4114800" defTabSz="762000" fontAlgn="base">
                <a:spcBef>
                  <a:spcPct val="0"/>
                </a:spcBef>
                <a:spcAft>
                  <a:spcPct val="0"/>
                </a:spcAft>
                <a:defRPr>
                  <a:solidFill>
                    <a:schemeClr val="tx1"/>
                  </a:solidFill>
                  <a:latin typeface="Arial" panose="020B0604020202020204" pitchFamily="34" charset="0"/>
                </a:defRPr>
              </a:lvl9pPr>
            </a:lstStyle>
            <a:p>
              <a:pPr eaLnBrk="0" hangingPunct="0"/>
              <a:r>
                <a:rPr lang="en-GB" altLang="en-US" sz="1600">
                  <a:solidFill>
                    <a:srgbClr val="FF9933"/>
                  </a:solidFill>
                </a:rPr>
                <a:t>10-</a:t>
              </a:r>
              <a:br>
                <a:rPr lang="en-GB" altLang="en-US" sz="1600">
                  <a:solidFill>
                    <a:srgbClr val="FF9933"/>
                  </a:solidFill>
                </a:rPr>
              </a:br>
              <a:r>
                <a:rPr lang="en-GB" altLang="en-US" sz="1600">
                  <a:solidFill>
                    <a:srgbClr val="FF9933"/>
                  </a:solidFill>
                </a:rPr>
                <a:t>200</a:t>
              </a:r>
              <a:r>
                <a:rPr lang="en-GB" altLang="en-US" sz="1600">
                  <a:solidFill>
                    <a:srgbClr val="FF0000"/>
                  </a:solidFill>
                </a:rPr>
                <a:t> </a:t>
              </a:r>
              <a:r>
                <a:rPr lang="en-GB" altLang="en-US" sz="1600">
                  <a:solidFill>
                    <a:srgbClr val="FF9933"/>
                  </a:solidFill>
                </a:rPr>
                <a:t>ps</a:t>
              </a:r>
            </a:p>
          </p:txBody>
        </p:sp>
      </p:grpSp>
      <p:sp>
        <p:nvSpPr>
          <p:cNvPr id="58" name="Text Box 80"/>
          <p:cNvSpPr txBox="1">
            <a:spLocks noChangeArrowheads="1"/>
          </p:cNvSpPr>
          <p:nvPr/>
        </p:nvSpPr>
        <p:spPr bwMode="auto">
          <a:xfrm>
            <a:off x="6372225" y="2132013"/>
            <a:ext cx="1870075" cy="3025775"/>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buClr>
                <a:srgbClr val="FF0000"/>
              </a:buClr>
              <a:buFont typeface="Wingdings" panose="05000000000000000000" pitchFamily="2" charset="2"/>
              <a:buChar char="§"/>
            </a:pPr>
            <a:r>
              <a:rPr lang="de-DE" altLang="en-US" sz="1600"/>
              <a:t> </a:t>
            </a:r>
            <a:r>
              <a:rPr lang="de-DE" altLang="en-US" sz="1600" b="1"/>
              <a:t>Timing</a:t>
            </a:r>
          </a:p>
          <a:p>
            <a:pPr algn="l">
              <a:buClr>
                <a:srgbClr val="FF0000"/>
              </a:buClr>
              <a:buFont typeface="Wingdings" panose="05000000000000000000" pitchFamily="2" charset="2"/>
              <a:buChar char="§"/>
            </a:pPr>
            <a:endParaRPr lang="de-DE" altLang="en-US" sz="1600" b="1"/>
          </a:p>
          <a:p>
            <a:pPr algn="l">
              <a:buClr>
                <a:srgbClr val="FF0000"/>
              </a:buClr>
              <a:buFont typeface="Wingdings" panose="05000000000000000000" pitchFamily="2" charset="2"/>
              <a:buChar char="§"/>
            </a:pPr>
            <a:endParaRPr lang="de-DE" altLang="en-US" sz="1600" b="1"/>
          </a:p>
          <a:p>
            <a:pPr algn="l">
              <a:buClr>
                <a:srgbClr val="FF0000"/>
              </a:buClr>
              <a:buFont typeface="Wingdings" panose="05000000000000000000" pitchFamily="2" charset="2"/>
              <a:buChar char="§"/>
            </a:pPr>
            <a:endParaRPr lang="de-DE" altLang="en-US" sz="1600"/>
          </a:p>
          <a:p>
            <a:pPr algn="l">
              <a:buClr>
                <a:srgbClr val="FF0000"/>
              </a:buClr>
              <a:buFont typeface="Wingdings" panose="05000000000000000000" pitchFamily="2" charset="2"/>
              <a:buChar char="§"/>
            </a:pPr>
            <a:endParaRPr lang="de-DE" altLang="en-US" sz="1600"/>
          </a:p>
          <a:p>
            <a:pPr algn="l">
              <a:buClr>
                <a:srgbClr val="FF0000"/>
              </a:buClr>
              <a:buFont typeface="Wingdings" panose="05000000000000000000" pitchFamily="2" charset="2"/>
              <a:buChar char="§"/>
            </a:pPr>
            <a:endParaRPr lang="de-DE" altLang="en-US" sz="1600"/>
          </a:p>
          <a:p>
            <a:pPr algn="l">
              <a:buClr>
                <a:srgbClr val="FF0000"/>
              </a:buClr>
              <a:buFont typeface="Wingdings" panose="05000000000000000000" pitchFamily="2" charset="2"/>
              <a:buChar char="§"/>
            </a:pPr>
            <a:endParaRPr lang="de-DE" altLang="en-US" sz="1600"/>
          </a:p>
          <a:p>
            <a:pPr algn="l">
              <a:buClr>
                <a:srgbClr val="FF0000"/>
              </a:buClr>
              <a:buFont typeface="Wingdings" panose="05000000000000000000" pitchFamily="2" charset="2"/>
              <a:buChar char="§"/>
            </a:pPr>
            <a:endParaRPr lang="de-DE" altLang="en-US" sz="1600"/>
          </a:p>
          <a:p>
            <a:pPr algn="l">
              <a:buClr>
                <a:srgbClr val="FF0000"/>
              </a:buClr>
              <a:buFont typeface="Wingdings" panose="05000000000000000000" pitchFamily="2" charset="2"/>
              <a:buChar char="§"/>
            </a:pPr>
            <a:endParaRPr lang="de-DE" altLang="en-US" sz="1600"/>
          </a:p>
          <a:p>
            <a:pPr algn="l">
              <a:buClr>
                <a:srgbClr val="FF0000"/>
              </a:buClr>
              <a:buFont typeface="Wingdings" panose="05000000000000000000" pitchFamily="2" charset="2"/>
              <a:buChar char="§"/>
            </a:pPr>
            <a:endParaRPr lang="de-DE" altLang="en-US" sz="1600"/>
          </a:p>
          <a:p>
            <a:pPr algn="l">
              <a:buClr>
                <a:srgbClr val="FF0000"/>
              </a:buClr>
              <a:buFont typeface="Wingdings" panose="05000000000000000000" pitchFamily="2" charset="2"/>
              <a:buChar char="§"/>
            </a:pPr>
            <a:endParaRPr lang="de-DE" altLang="en-US" sz="1600"/>
          </a:p>
          <a:p>
            <a:pPr algn="l">
              <a:buClr>
                <a:srgbClr val="FF0000"/>
              </a:buClr>
              <a:buFont typeface="Wingdings" panose="05000000000000000000" pitchFamily="2" charset="2"/>
              <a:buChar char="§"/>
            </a:pPr>
            <a:r>
              <a:rPr lang="de-DE" altLang="en-US" sz="1600" b="1"/>
              <a:t> Energy diagram</a:t>
            </a:r>
            <a:endParaRPr lang="en-US" altLang="en-US" sz="1600" b="1"/>
          </a:p>
        </p:txBody>
      </p:sp>
      <p:sp>
        <p:nvSpPr>
          <p:cNvPr id="59" name="Line 84"/>
          <p:cNvSpPr>
            <a:spLocks noChangeShapeType="1"/>
          </p:cNvSpPr>
          <p:nvPr/>
        </p:nvSpPr>
        <p:spPr bwMode="auto">
          <a:xfrm>
            <a:off x="6232525" y="3862388"/>
            <a:ext cx="623888"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31750">
                <a:solidFill>
                  <a:schemeClr val="tx1"/>
                </a:solidFill>
                <a:round/>
                <a:headEnd/>
                <a:tailEnd type="triangl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 name="Rectangle 87"/>
          <p:cNvSpPr>
            <a:spLocks noChangeArrowheads="1"/>
          </p:cNvSpPr>
          <p:nvPr/>
        </p:nvSpPr>
        <p:spPr bwMode="auto">
          <a:xfrm>
            <a:off x="4211638" y="1700213"/>
            <a:ext cx="2016125" cy="4464050"/>
          </a:xfrm>
          <a:prstGeom prst="rect">
            <a:avLst/>
          </a:prstGeom>
          <a:solidFill>
            <a:schemeClr val="bg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 name="Text Box 85"/>
          <p:cNvSpPr txBox="1">
            <a:spLocks noChangeArrowheads="1"/>
          </p:cNvSpPr>
          <p:nvPr/>
        </p:nvSpPr>
        <p:spPr bwMode="auto">
          <a:xfrm>
            <a:off x="4643438" y="3284538"/>
            <a:ext cx="2233612" cy="825500"/>
          </a:xfrm>
          <a:prstGeom prst="rect">
            <a:avLst/>
          </a:prstGeom>
          <a:solidFill>
            <a:schemeClr val="bg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br>
              <a:rPr lang="de-DE" altLang="en-US" sz="1600" b="1"/>
            </a:br>
            <a:r>
              <a:rPr lang="de-DE" altLang="en-US" sz="1600" b="1" u="sng">
                <a:solidFill>
                  <a:srgbClr val="669900"/>
                </a:solidFill>
              </a:rPr>
              <a:t>No fluorescence </a:t>
            </a:r>
          </a:p>
          <a:p>
            <a:pPr algn="l"/>
            <a:r>
              <a:rPr lang="de-DE" altLang="en-US" sz="1600" b="1" u="sng">
                <a:solidFill>
                  <a:srgbClr val="669900"/>
                </a:solidFill>
              </a:rPr>
              <a:t>emission</a:t>
            </a:r>
            <a:endParaRPr lang="en-US" altLang="en-US" sz="1600" b="1" u="sng">
              <a:solidFill>
                <a:srgbClr val="669900"/>
              </a:solidFill>
            </a:endParaRPr>
          </a:p>
        </p:txBody>
      </p:sp>
    </p:spTree>
    <p:extLst>
      <p:ext uri="{BB962C8B-B14F-4D97-AF65-F5344CB8AC3E}">
        <p14:creationId xmlns:p14="http://schemas.microsoft.com/office/powerpoint/2010/main" val="7171713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dissolve">
                                      <p:cBhvr>
                                        <p:cTn id="7" dur="500"/>
                                        <p:tgtEl>
                                          <p:spTgt spid="60"/>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61"/>
                                        </p:tgtEl>
                                        <p:attrNameLst>
                                          <p:attrName>style.visibility</p:attrName>
                                        </p:attrNameLst>
                                      </p:cBhvr>
                                      <p:to>
                                        <p:strVal val="visible"/>
                                      </p:to>
                                    </p:set>
                                    <p:animEffect transition="in" filter="dissolve">
                                      <p:cBhvr>
                                        <p:cTn id="12"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P spid="61"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a:t>“Functional” super-resolution techniques</a:t>
            </a:r>
          </a:p>
        </p:txBody>
      </p:sp>
      <p:sp>
        <p:nvSpPr>
          <p:cNvPr id="3" name="Content Placeholder 2"/>
          <p:cNvSpPr>
            <a:spLocks noGrp="1"/>
          </p:cNvSpPr>
          <p:nvPr>
            <p:ph idx="1"/>
          </p:nvPr>
        </p:nvSpPr>
        <p:spPr/>
        <p:txBody>
          <a:bodyPr/>
          <a:lstStyle/>
          <a:p>
            <a:pPr marL="514350" indent="-514350">
              <a:buFont typeface="+mj-lt"/>
              <a:buAutoNum type="arabicPeriod"/>
            </a:pPr>
            <a:r>
              <a:rPr lang="en-US" dirty="0">
                <a:solidFill>
                  <a:schemeClr val="bg1">
                    <a:lumMod val="85000"/>
                  </a:schemeClr>
                </a:solidFill>
              </a:rPr>
              <a:t>Deterministic</a:t>
            </a:r>
          </a:p>
          <a:p>
            <a:pPr lvl="1"/>
            <a:r>
              <a:rPr lang="en-US" dirty="0">
                <a:solidFill>
                  <a:schemeClr val="bg1">
                    <a:lumMod val="85000"/>
                  </a:schemeClr>
                </a:solidFill>
              </a:rPr>
              <a:t>Reversible Saturable (or Switchable) OpticaL Fluorescence Transitions (RESOLFT)</a:t>
            </a:r>
          </a:p>
          <a:p>
            <a:pPr lvl="2"/>
            <a:r>
              <a:rPr lang="en-US" dirty="0">
                <a:solidFill>
                  <a:schemeClr val="bg1">
                    <a:lumMod val="85000"/>
                  </a:schemeClr>
                </a:solidFill>
              </a:rPr>
              <a:t>STimulated Emission Depletion (STED)</a:t>
            </a:r>
          </a:p>
          <a:p>
            <a:pPr lvl="2"/>
            <a:r>
              <a:rPr lang="en-US" dirty="0">
                <a:solidFill>
                  <a:schemeClr val="bg1">
                    <a:lumMod val="85000"/>
                  </a:schemeClr>
                </a:solidFill>
              </a:rPr>
              <a:t>Ground State Depletion (GSD)</a:t>
            </a:r>
          </a:p>
          <a:p>
            <a:pPr marL="514350" indent="-514350">
              <a:buFont typeface="+mj-lt"/>
              <a:buAutoNum type="arabicPeriod"/>
            </a:pPr>
            <a:r>
              <a:rPr lang="en-US" dirty="0"/>
              <a:t>Stochastic</a:t>
            </a:r>
          </a:p>
          <a:p>
            <a:pPr lvl="1"/>
            <a:r>
              <a:rPr lang="en-US" dirty="0"/>
              <a:t>STochastic Optical Reconstruction Microscopy (STORM)</a:t>
            </a:r>
          </a:p>
          <a:p>
            <a:pPr lvl="1"/>
            <a:r>
              <a:rPr lang="en-US" dirty="0"/>
              <a:t>Photo Activated Localization Microscopy (PALM)</a:t>
            </a:r>
          </a:p>
          <a:p>
            <a:pPr lvl="1"/>
            <a:r>
              <a:rPr lang="en-US" dirty="0"/>
              <a:t>Fluorescence Photo-Activation Localization Microscopy (FPALM)</a:t>
            </a:r>
          </a:p>
        </p:txBody>
      </p:sp>
    </p:spTree>
    <p:extLst>
      <p:ext uri="{BB962C8B-B14F-4D97-AF65-F5344CB8AC3E}">
        <p14:creationId xmlns:p14="http://schemas.microsoft.com/office/powerpoint/2010/main" val="15038152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3600" dirty="0"/>
              <a:t>Single-molecule localization (SML) microscopy</a:t>
            </a:r>
            <a:br>
              <a:rPr lang="en-US" sz="3600" dirty="0"/>
            </a:br>
            <a:br>
              <a:rPr lang="en-US" sz="3600" dirty="0"/>
            </a:br>
            <a:r>
              <a:rPr lang="en-US" sz="3600" dirty="0"/>
              <a:t>Stochastic functional techniques</a:t>
            </a:r>
          </a:p>
        </p:txBody>
      </p:sp>
      <p:pic>
        <p:nvPicPr>
          <p:cNvPr id="4" name="Content Placeholder 3"/>
          <p:cNvPicPr>
            <a:picLocks noGrp="1" noChangeAspect="1"/>
          </p:cNvPicPr>
          <p:nvPr>
            <p:ph idx="1"/>
          </p:nvPr>
        </p:nvPicPr>
        <p:blipFill rotWithShape="1">
          <a:blip r:embed="rId3">
            <a:extLst>
              <a:ext uri="{28A0092B-C50C-407E-A947-70E740481C1C}">
                <a14:useLocalDpi xmlns:a14="http://schemas.microsoft.com/office/drawing/2010/main" val="0"/>
              </a:ext>
            </a:extLst>
          </a:blip>
          <a:srcRect b="3929"/>
          <a:stretch/>
        </p:blipFill>
        <p:spPr>
          <a:xfrm>
            <a:off x="738553" y="1887647"/>
            <a:ext cx="6576647" cy="4653830"/>
          </a:xfrm>
        </p:spPr>
      </p:pic>
    </p:spTree>
    <p:extLst>
      <p:ext uri="{BB962C8B-B14F-4D97-AF65-F5344CB8AC3E}">
        <p14:creationId xmlns:p14="http://schemas.microsoft.com/office/powerpoint/2010/main" val="23997874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3600" dirty="0">
                <a:solidFill>
                  <a:prstClr val="black"/>
                </a:solidFill>
              </a:rPr>
              <a:t>Single-molecule localization microscopy</a:t>
            </a:r>
            <a:br>
              <a:rPr lang="en-US" sz="3600" dirty="0">
                <a:solidFill>
                  <a:prstClr val="black"/>
                </a:solidFill>
              </a:rPr>
            </a:br>
            <a:br>
              <a:rPr lang="en-US" sz="3600" dirty="0">
                <a:solidFill>
                  <a:prstClr val="black"/>
                </a:solidFill>
              </a:rPr>
            </a:br>
            <a:r>
              <a:rPr lang="en-US" sz="3600" dirty="0">
                <a:solidFill>
                  <a:prstClr val="black"/>
                </a:solidFill>
              </a:rPr>
              <a:t>Stochastic functional techniques</a:t>
            </a:r>
            <a:endParaRPr lang="en-US" dirty="0"/>
          </a:p>
        </p:txBody>
      </p:sp>
      <p:sp>
        <p:nvSpPr>
          <p:cNvPr id="4" name="Content Placeholder 3"/>
          <p:cNvSpPr>
            <a:spLocks noGrp="1"/>
          </p:cNvSpPr>
          <p:nvPr>
            <p:ph sz="half" idx="1"/>
          </p:nvPr>
        </p:nvSpPr>
        <p:spPr/>
        <p:txBody>
          <a:bodyPr/>
          <a:lstStyle/>
          <a:p>
            <a:endParaRPr lang="en-US" dirty="0"/>
          </a:p>
          <a:p>
            <a:endParaRPr lang="en-US" dirty="0"/>
          </a:p>
          <a:p>
            <a:r>
              <a:rPr lang="en-US" dirty="0">
                <a:hlinkClick r:id="rId2"/>
              </a:rPr>
              <a:t>STED vs STORM</a:t>
            </a:r>
            <a:endParaRPr lang="en-US" dirty="0"/>
          </a:p>
        </p:txBody>
      </p:sp>
      <p:sp>
        <p:nvSpPr>
          <p:cNvPr id="5" name="Content Placeholder 4"/>
          <p:cNvSpPr>
            <a:spLocks noGrp="1"/>
          </p:cNvSpPr>
          <p:nvPr>
            <p:ph sz="half" idx="2"/>
          </p:nvPr>
        </p:nvSpPr>
        <p:spPr/>
        <p:txBody>
          <a:bodyPr/>
          <a:lstStyle/>
          <a:p>
            <a:endParaRPr lang="en-US" dirty="0"/>
          </a:p>
          <a:p>
            <a:endParaRPr lang="en-US" dirty="0"/>
          </a:p>
          <a:p>
            <a:r>
              <a:rPr lang="en-US" dirty="0">
                <a:hlinkClick r:id="rId3"/>
              </a:rPr>
              <a:t>How STORM works</a:t>
            </a:r>
            <a:endParaRPr lang="en-US" dirty="0"/>
          </a:p>
        </p:txBody>
      </p:sp>
    </p:spTree>
    <p:extLst>
      <p:ext uri="{BB962C8B-B14F-4D97-AF65-F5344CB8AC3E}">
        <p14:creationId xmlns:p14="http://schemas.microsoft.com/office/powerpoint/2010/main" val="19726125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solidFill>
                  <a:prstClr val="black"/>
                </a:solidFill>
              </a:rPr>
              <a:t>Single-molecule localization microscopy</a:t>
            </a:r>
            <a:endParaRPr lang="en-US" dirty="0"/>
          </a:p>
        </p:txBody>
      </p:sp>
      <p:sp>
        <p:nvSpPr>
          <p:cNvPr id="7" name="Content Placeholder 6"/>
          <p:cNvSpPr>
            <a:spLocks noGrp="1"/>
          </p:cNvSpPr>
          <p:nvPr>
            <p:ph idx="1"/>
          </p:nvPr>
        </p:nvSpPr>
        <p:spPr/>
        <p:txBody>
          <a:bodyPr>
            <a:normAutofit/>
          </a:bodyPr>
          <a:lstStyle/>
          <a:p>
            <a:r>
              <a:rPr lang="en-US" sz="2400" dirty="0"/>
              <a:t>Must have sufficient density of molecules being localized</a:t>
            </a:r>
          </a:p>
          <a:p>
            <a:endParaRPr lang="en-US" sz="2400" dirty="0"/>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t="4316" b="4026"/>
          <a:stretch/>
        </p:blipFill>
        <p:spPr>
          <a:xfrm>
            <a:off x="1446700" y="2449025"/>
            <a:ext cx="5476875" cy="3727938"/>
          </a:xfrm>
          <a:prstGeom prst="rect">
            <a:avLst/>
          </a:prstGeom>
        </p:spPr>
      </p:pic>
    </p:spTree>
    <p:extLst>
      <p:ext uri="{BB962C8B-B14F-4D97-AF65-F5344CB8AC3E}">
        <p14:creationId xmlns:p14="http://schemas.microsoft.com/office/powerpoint/2010/main" val="16812525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2400" dirty="0"/>
              <a:t>Each super-resolution techniques have pluses and minuses but all methods are improving</a:t>
            </a:r>
            <a:br>
              <a:rPr lang="en-US" sz="2400" dirty="0"/>
            </a:br>
            <a:endParaRPr lang="en-US" sz="2400" dirty="0"/>
          </a:p>
        </p:txBody>
      </p:sp>
      <p:pic>
        <p:nvPicPr>
          <p:cNvPr id="7" name="Content Placeholder 6"/>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628650" y="1471233"/>
            <a:ext cx="7129840" cy="4006726"/>
          </a:xfrm>
        </p:spPr>
      </p:pic>
      <p:sp>
        <p:nvSpPr>
          <p:cNvPr id="4" name="TextBox 3"/>
          <p:cNvSpPr txBox="1"/>
          <p:nvPr/>
        </p:nvSpPr>
        <p:spPr>
          <a:xfrm>
            <a:off x="918873" y="5978768"/>
            <a:ext cx="7444840" cy="523220"/>
          </a:xfrm>
          <a:prstGeom prst="rect">
            <a:avLst/>
          </a:prstGeom>
          <a:noFill/>
        </p:spPr>
        <p:txBody>
          <a:bodyPr wrap="square" rtlCol="0">
            <a:spAutoFit/>
          </a:bodyPr>
          <a:lstStyle/>
          <a:p>
            <a:r>
              <a:rPr lang="en-US" sz="1400" dirty="0" err="1"/>
              <a:t>Schermelleh</a:t>
            </a:r>
            <a:r>
              <a:rPr lang="en-US" sz="1400" dirty="0"/>
              <a:t>, L., </a:t>
            </a:r>
            <a:r>
              <a:rPr lang="en-US" sz="1400" dirty="0" err="1"/>
              <a:t>Heintzmann</a:t>
            </a:r>
            <a:r>
              <a:rPr lang="en-US" sz="1400" dirty="0"/>
              <a:t>, R., </a:t>
            </a:r>
            <a:r>
              <a:rPr lang="en-US" sz="1400" dirty="0" err="1"/>
              <a:t>Leonhardt</a:t>
            </a:r>
            <a:r>
              <a:rPr lang="en-US" sz="1400" dirty="0"/>
              <a:t>, H., 2010. A guide to super-resolution fluorescence microscopy. The Journal of Cell Biology 190, 165-175.</a:t>
            </a:r>
          </a:p>
        </p:txBody>
      </p:sp>
    </p:spTree>
    <p:extLst>
      <p:ext uri="{BB962C8B-B14F-4D97-AF65-F5344CB8AC3E}">
        <p14:creationId xmlns:p14="http://schemas.microsoft.com/office/powerpoint/2010/main" val="3436776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t>Super-resolution requirements</a:t>
            </a:r>
          </a:p>
        </p:txBody>
      </p:sp>
      <p:sp>
        <p:nvSpPr>
          <p:cNvPr id="3" name="Content Placeholder 2"/>
          <p:cNvSpPr>
            <a:spLocks noGrp="1"/>
          </p:cNvSpPr>
          <p:nvPr>
            <p:ph idx="1"/>
          </p:nvPr>
        </p:nvSpPr>
        <p:spPr/>
        <p:txBody>
          <a:bodyPr/>
          <a:lstStyle/>
          <a:p>
            <a:r>
              <a:rPr lang="en-US" dirty="0"/>
              <a:t>High power lasers</a:t>
            </a:r>
          </a:p>
          <a:p>
            <a:r>
              <a:rPr lang="en-US" dirty="0"/>
              <a:t>Special fluorophores</a:t>
            </a:r>
          </a:p>
          <a:p>
            <a:r>
              <a:rPr lang="en-US" dirty="0"/>
              <a:t>Concentration of fluorophores</a:t>
            </a:r>
          </a:p>
          <a:p>
            <a:r>
              <a:rPr lang="en-US" dirty="0"/>
              <a:t>Special optics</a:t>
            </a:r>
          </a:p>
          <a:p>
            <a:r>
              <a:rPr lang="en-US" dirty="0"/>
              <a:t>Computational processing</a:t>
            </a:r>
          </a:p>
          <a:p>
            <a:r>
              <a:rPr lang="en-US" dirty="0"/>
              <a:t>Fast detectors</a:t>
            </a:r>
          </a:p>
          <a:p>
            <a:r>
              <a:rPr lang="en-US" dirty="0"/>
              <a:t>Sensitive detectors</a:t>
            </a:r>
          </a:p>
          <a:p>
            <a:r>
              <a:rPr lang="en-US" dirty="0"/>
              <a:t>Precise X,Y,Z positioning</a:t>
            </a:r>
          </a:p>
        </p:txBody>
      </p:sp>
    </p:spTree>
    <p:extLst>
      <p:ext uri="{BB962C8B-B14F-4D97-AF65-F5344CB8AC3E}">
        <p14:creationId xmlns:p14="http://schemas.microsoft.com/office/powerpoint/2010/main" val="163453665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28650" y="353402"/>
            <a:ext cx="7886700" cy="1325563"/>
          </a:xfrm>
        </p:spPr>
        <p:txBody>
          <a:bodyPr>
            <a:normAutofit/>
          </a:bodyPr>
          <a:lstStyle/>
          <a:p>
            <a:r>
              <a:rPr lang="en-US" sz="2800" dirty="0"/>
              <a:t>Comparing different super-resolution (SR) techniques </a:t>
            </a:r>
            <a:br>
              <a:rPr lang="en-US" sz="2800" dirty="0"/>
            </a:br>
            <a:r>
              <a:rPr lang="en-US" sz="2800" dirty="0"/>
              <a:t>(200 nm normal)</a:t>
            </a:r>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2861332299"/>
              </p:ext>
            </p:extLst>
          </p:nvPr>
        </p:nvGraphicFramePr>
        <p:xfrm>
          <a:off x="628650" y="1825625"/>
          <a:ext cx="7886700" cy="1483360"/>
        </p:xfrm>
        <a:graphic>
          <a:graphicData uri="http://schemas.openxmlformats.org/drawingml/2006/table">
            <a:tbl>
              <a:tblPr firstRow="1" bandRow="1">
                <a:tableStyleId>{5C22544A-7EE6-4342-B048-85BDC9FD1C3A}</a:tableStyleId>
              </a:tblPr>
              <a:tblGrid>
                <a:gridCol w="1577340">
                  <a:extLst>
                    <a:ext uri="{9D8B030D-6E8A-4147-A177-3AD203B41FA5}">
                      <a16:colId xmlns:a16="http://schemas.microsoft.com/office/drawing/2014/main" val="20000"/>
                    </a:ext>
                  </a:extLst>
                </a:gridCol>
                <a:gridCol w="1791579">
                  <a:extLst>
                    <a:ext uri="{9D8B030D-6E8A-4147-A177-3AD203B41FA5}">
                      <a16:colId xmlns:a16="http://schemas.microsoft.com/office/drawing/2014/main" val="20001"/>
                    </a:ext>
                  </a:extLst>
                </a:gridCol>
                <a:gridCol w="1363101">
                  <a:extLst>
                    <a:ext uri="{9D8B030D-6E8A-4147-A177-3AD203B41FA5}">
                      <a16:colId xmlns:a16="http://schemas.microsoft.com/office/drawing/2014/main" val="20002"/>
                    </a:ext>
                  </a:extLst>
                </a:gridCol>
                <a:gridCol w="1577340">
                  <a:extLst>
                    <a:ext uri="{9D8B030D-6E8A-4147-A177-3AD203B41FA5}">
                      <a16:colId xmlns:a16="http://schemas.microsoft.com/office/drawing/2014/main" val="20003"/>
                    </a:ext>
                  </a:extLst>
                </a:gridCol>
                <a:gridCol w="1577340">
                  <a:extLst>
                    <a:ext uri="{9D8B030D-6E8A-4147-A177-3AD203B41FA5}">
                      <a16:colId xmlns:a16="http://schemas.microsoft.com/office/drawing/2014/main" val="20004"/>
                    </a:ext>
                  </a:extLst>
                </a:gridCol>
              </a:tblGrid>
              <a:tr h="370840">
                <a:tc>
                  <a:txBody>
                    <a:bodyPr/>
                    <a:lstStyle/>
                    <a:p>
                      <a:r>
                        <a:rPr lang="en-US" dirty="0"/>
                        <a:t>Technique</a:t>
                      </a:r>
                    </a:p>
                  </a:txBody>
                  <a:tcPr/>
                </a:tc>
                <a:tc>
                  <a:txBody>
                    <a:bodyPr/>
                    <a:lstStyle/>
                    <a:p>
                      <a:r>
                        <a:rPr lang="en-US" dirty="0"/>
                        <a:t>Photons needed</a:t>
                      </a:r>
                    </a:p>
                  </a:txBody>
                  <a:tcPr/>
                </a:tc>
                <a:tc>
                  <a:txBody>
                    <a:bodyPr/>
                    <a:lstStyle/>
                    <a:p>
                      <a:r>
                        <a:rPr lang="en-US" dirty="0"/>
                        <a:t>Resolution</a:t>
                      </a:r>
                    </a:p>
                  </a:txBody>
                  <a:tcPr/>
                </a:tc>
                <a:tc>
                  <a:txBody>
                    <a:bodyPr/>
                    <a:lstStyle/>
                    <a:p>
                      <a:r>
                        <a:rPr lang="en-US" dirty="0"/>
                        <a:t>Intensity</a:t>
                      </a:r>
                    </a:p>
                  </a:txBody>
                  <a:tcPr/>
                </a:tc>
                <a:tc>
                  <a:txBody>
                    <a:bodyPr/>
                    <a:lstStyle/>
                    <a:p>
                      <a:r>
                        <a:rPr lang="en-US" dirty="0"/>
                        <a:t>Time (sec)</a:t>
                      </a:r>
                    </a:p>
                  </a:txBody>
                  <a:tcPr/>
                </a:tc>
                <a:extLst>
                  <a:ext uri="{0D108BD9-81ED-4DB2-BD59-A6C34878D82A}">
                    <a16:rowId xmlns:a16="http://schemas.microsoft.com/office/drawing/2014/main" val="10000"/>
                  </a:ext>
                </a:extLst>
              </a:tr>
              <a:tr h="370840">
                <a:tc>
                  <a:txBody>
                    <a:bodyPr/>
                    <a:lstStyle/>
                    <a:p>
                      <a:r>
                        <a:rPr lang="en-US" dirty="0"/>
                        <a:t>STED</a:t>
                      </a:r>
                    </a:p>
                  </a:txBody>
                  <a:tcPr/>
                </a:tc>
                <a:tc>
                  <a:txBody>
                    <a:bodyPr/>
                    <a:lstStyle/>
                    <a:p>
                      <a:pPr algn="ctr"/>
                      <a:r>
                        <a:rPr lang="en-US" dirty="0"/>
                        <a:t>1,000</a:t>
                      </a:r>
                    </a:p>
                  </a:txBody>
                  <a:tcPr/>
                </a:tc>
                <a:tc>
                  <a:txBody>
                    <a:bodyPr/>
                    <a:lstStyle/>
                    <a:p>
                      <a:pPr algn="r"/>
                      <a:r>
                        <a:rPr lang="en-US" dirty="0"/>
                        <a:t>20 nm</a:t>
                      </a:r>
                    </a:p>
                  </a:txBody>
                  <a:tcPr/>
                </a:tc>
                <a:tc>
                  <a:txBody>
                    <a:bodyPr/>
                    <a:lstStyle/>
                    <a:p>
                      <a:pPr algn="ctr"/>
                      <a:r>
                        <a:rPr lang="en-US" dirty="0"/>
                        <a:t>10</a:t>
                      </a:r>
                      <a:r>
                        <a:rPr lang="en-US" baseline="30000" dirty="0"/>
                        <a:t>4 </a:t>
                      </a:r>
                      <a:r>
                        <a:rPr lang="en-US" dirty="0"/>
                        <a:t>- 10</a:t>
                      </a:r>
                      <a:r>
                        <a:rPr lang="en-US" baseline="30000" dirty="0"/>
                        <a:t>9</a:t>
                      </a:r>
                      <a:r>
                        <a:rPr lang="en-US" dirty="0"/>
                        <a:t> </a:t>
                      </a:r>
                    </a:p>
                  </a:txBody>
                  <a:tcPr/>
                </a:tc>
                <a:tc>
                  <a:txBody>
                    <a:bodyPr/>
                    <a:lstStyle/>
                    <a:p>
                      <a:pPr algn="ctr"/>
                      <a:r>
                        <a:rPr lang="en-US" dirty="0"/>
                        <a:t>&gt;60 </a:t>
                      </a:r>
                    </a:p>
                  </a:txBody>
                  <a:tcPr/>
                </a:tc>
                <a:extLst>
                  <a:ext uri="{0D108BD9-81ED-4DB2-BD59-A6C34878D82A}">
                    <a16:rowId xmlns:a16="http://schemas.microsoft.com/office/drawing/2014/main" val="10001"/>
                  </a:ext>
                </a:extLst>
              </a:tr>
              <a:tr h="370840">
                <a:tc>
                  <a:txBody>
                    <a:bodyPr/>
                    <a:lstStyle/>
                    <a:p>
                      <a:r>
                        <a:rPr lang="en-US" dirty="0"/>
                        <a:t>Localization</a:t>
                      </a:r>
                    </a:p>
                  </a:txBody>
                  <a:tcPr/>
                </a:tc>
                <a:tc>
                  <a:txBody>
                    <a:bodyPr/>
                    <a:lstStyle/>
                    <a:p>
                      <a:pPr algn="ctr"/>
                      <a:r>
                        <a:rPr lang="en-US" dirty="0"/>
                        <a:t>14,400</a:t>
                      </a:r>
                    </a:p>
                  </a:txBody>
                  <a:tcPr/>
                </a:tc>
                <a:tc>
                  <a:txBody>
                    <a:bodyPr/>
                    <a:lstStyle/>
                    <a:p>
                      <a:pPr algn="r"/>
                      <a:r>
                        <a:rPr lang="en-US" dirty="0"/>
                        <a:t>20 nm</a:t>
                      </a:r>
                    </a:p>
                  </a:txBody>
                  <a:tcPr/>
                </a:tc>
                <a:tc>
                  <a:txBody>
                    <a:bodyPr/>
                    <a:lstStyle/>
                    <a:p>
                      <a:pPr algn="ctr"/>
                      <a:r>
                        <a:rPr lang="en-US" dirty="0"/>
                        <a:t>10</a:t>
                      </a:r>
                      <a:r>
                        <a:rPr lang="en-US" baseline="30000" dirty="0"/>
                        <a:t>3 </a:t>
                      </a:r>
                      <a:r>
                        <a:rPr lang="en-US" dirty="0"/>
                        <a:t>- 10</a:t>
                      </a:r>
                      <a:r>
                        <a:rPr lang="en-US" baseline="30000" dirty="0"/>
                        <a:t>4</a:t>
                      </a:r>
                      <a:r>
                        <a:rPr lang="en-US" dirty="0"/>
                        <a:t> </a:t>
                      </a:r>
                    </a:p>
                  </a:txBody>
                  <a:tcPr/>
                </a:tc>
                <a:tc>
                  <a:txBody>
                    <a:bodyPr/>
                    <a:lstStyle/>
                    <a:p>
                      <a:pPr algn="ctr"/>
                      <a:r>
                        <a:rPr lang="en-US" dirty="0"/>
                        <a:t>&gt;20</a:t>
                      </a:r>
                    </a:p>
                  </a:txBody>
                  <a:tcPr/>
                </a:tc>
                <a:extLst>
                  <a:ext uri="{0D108BD9-81ED-4DB2-BD59-A6C34878D82A}">
                    <a16:rowId xmlns:a16="http://schemas.microsoft.com/office/drawing/2014/main" val="10002"/>
                  </a:ext>
                </a:extLst>
              </a:tr>
              <a:tr h="370840">
                <a:tc>
                  <a:txBody>
                    <a:bodyPr/>
                    <a:lstStyle/>
                    <a:p>
                      <a:r>
                        <a:rPr lang="en-US" dirty="0"/>
                        <a:t>SR-SIM</a:t>
                      </a:r>
                    </a:p>
                  </a:txBody>
                  <a:tcPr/>
                </a:tc>
                <a:tc>
                  <a:txBody>
                    <a:bodyPr/>
                    <a:lstStyle/>
                    <a:p>
                      <a:pPr algn="ctr"/>
                      <a:r>
                        <a:rPr lang="en-US" dirty="0"/>
                        <a:t>8</a:t>
                      </a:r>
                    </a:p>
                  </a:txBody>
                  <a:tcPr/>
                </a:tc>
                <a:tc>
                  <a:txBody>
                    <a:bodyPr/>
                    <a:lstStyle/>
                    <a:p>
                      <a:pPr algn="r"/>
                      <a:r>
                        <a:rPr lang="en-US" dirty="0"/>
                        <a:t>100</a:t>
                      </a:r>
                      <a:r>
                        <a:rPr lang="en-US" baseline="0" dirty="0"/>
                        <a:t> nm</a:t>
                      </a:r>
                      <a:endParaRPr lang="en-US" dirty="0"/>
                    </a:p>
                  </a:txBody>
                  <a:tcPr/>
                </a:tc>
                <a:tc>
                  <a:txBody>
                    <a:bodyPr/>
                    <a:lstStyle/>
                    <a:p>
                      <a:pPr algn="ctr"/>
                      <a:r>
                        <a:rPr lang="en-US" dirty="0"/>
                        <a:t>10 - 10</a:t>
                      </a:r>
                      <a:r>
                        <a:rPr lang="en-US" baseline="30000" dirty="0"/>
                        <a:t>2</a:t>
                      </a:r>
                      <a:r>
                        <a:rPr lang="en-US" dirty="0"/>
                        <a:t> </a:t>
                      </a:r>
                    </a:p>
                  </a:txBody>
                  <a:tcPr/>
                </a:tc>
                <a:tc>
                  <a:txBody>
                    <a:bodyPr/>
                    <a:lstStyle/>
                    <a:p>
                      <a:pPr algn="ctr"/>
                      <a:r>
                        <a:rPr lang="en-US" dirty="0"/>
                        <a:t>0.1</a:t>
                      </a:r>
                      <a:r>
                        <a:rPr lang="en-US" baseline="0" dirty="0"/>
                        <a:t> – 1.0</a:t>
                      </a:r>
                      <a:endParaRPr lang="en-US" dirty="0"/>
                    </a:p>
                  </a:txBody>
                  <a:tcPr/>
                </a:tc>
                <a:extLst>
                  <a:ext uri="{0D108BD9-81ED-4DB2-BD59-A6C34878D82A}">
                    <a16:rowId xmlns:a16="http://schemas.microsoft.com/office/drawing/2014/main" val="10003"/>
                  </a:ext>
                </a:extLst>
              </a:tr>
            </a:tbl>
          </a:graphicData>
        </a:graphic>
      </p:graphicFrame>
      <p:sp>
        <p:nvSpPr>
          <p:cNvPr id="8" name="TextBox 7"/>
          <p:cNvSpPr txBox="1"/>
          <p:nvPr/>
        </p:nvSpPr>
        <p:spPr>
          <a:xfrm>
            <a:off x="535701" y="3845169"/>
            <a:ext cx="8283614" cy="400110"/>
          </a:xfrm>
          <a:prstGeom prst="rect">
            <a:avLst/>
          </a:prstGeom>
          <a:noFill/>
        </p:spPr>
        <p:txBody>
          <a:bodyPr wrap="none" rtlCol="0">
            <a:spAutoFit/>
          </a:bodyPr>
          <a:lstStyle/>
          <a:p>
            <a:r>
              <a:rPr lang="en-US" sz="2000" dirty="0"/>
              <a:t>What is the difference between super-resolution (SR) SPIM and regular SPIM?</a:t>
            </a:r>
          </a:p>
        </p:txBody>
      </p:sp>
    </p:spTree>
    <p:extLst>
      <p:ext uri="{BB962C8B-B14F-4D97-AF65-F5344CB8AC3E}">
        <p14:creationId xmlns:p14="http://schemas.microsoft.com/office/powerpoint/2010/main" val="9275286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200" dirty="0"/>
              <a:t>Lecture 16: Single molecule imaging technique (TIRFM) and Super-resolution microscopy </a:t>
            </a:r>
            <a:br>
              <a:rPr lang="en-US" sz="3200" dirty="0"/>
            </a:br>
            <a:endParaRPr lang="en-US" sz="3200" dirty="0"/>
          </a:p>
        </p:txBody>
      </p:sp>
      <p:sp>
        <p:nvSpPr>
          <p:cNvPr id="3" name="Content Placeholder 2"/>
          <p:cNvSpPr>
            <a:spLocks noGrp="1"/>
          </p:cNvSpPr>
          <p:nvPr>
            <p:ph idx="1"/>
          </p:nvPr>
        </p:nvSpPr>
        <p:spPr/>
        <p:txBody>
          <a:bodyPr>
            <a:normAutofit/>
          </a:bodyPr>
          <a:lstStyle/>
          <a:p>
            <a:r>
              <a:rPr lang="en-US" dirty="0"/>
              <a:t>Super-resolution techniques </a:t>
            </a:r>
          </a:p>
          <a:p>
            <a:pPr lvl="1"/>
            <a:r>
              <a:rPr lang="en-US" dirty="0"/>
              <a:t>RESOLFT</a:t>
            </a:r>
          </a:p>
          <a:p>
            <a:pPr lvl="2"/>
            <a:r>
              <a:rPr lang="en-US" dirty="0"/>
              <a:t>STED</a:t>
            </a:r>
          </a:p>
          <a:p>
            <a:pPr lvl="1"/>
            <a:r>
              <a:rPr lang="en-US" dirty="0"/>
              <a:t>Stochastic functional techniques</a:t>
            </a:r>
          </a:p>
          <a:p>
            <a:pPr lvl="2"/>
            <a:r>
              <a:rPr lang="en-US" dirty="0"/>
              <a:t>PALM</a:t>
            </a:r>
          </a:p>
          <a:p>
            <a:pPr lvl="2"/>
            <a:r>
              <a:rPr lang="en-US" dirty="0"/>
              <a:t>STORM</a:t>
            </a:r>
          </a:p>
          <a:p>
            <a:r>
              <a:rPr lang="en-US" dirty="0"/>
              <a:t>SIM</a:t>
            </a:r>
          </a:p>
          <a:p>
            <a:r>
              <a:rPr lang="en-US" dirty="0"/>
              <a:t>Zeiss </a:t>
            </a:r>
            <a:r>
              <a:rPr lang="en-US" dirty="0" err="1"/>
              <a:t>Airyscan</a:t>
            </a:r>
            <a:endParaRPr lang="en-US" dirty="0"/>
          </a:p>
          <a:p>
            <a:r>
              <a:rPr lang="en-US" dirty="0"/>
              <a:t>Discuss Homework 5 and reading 2.</a:t>
            </a:r>
          </a:p>
          <a:p>
            <a:endParaRPr lang="en-US" dirty="0"/>
          </a:p>
          <a:p>
            <a:endParaRPr lang="en-US" dirty="0"/>
          </a:p>
        </p:txBody>
      </p:sp>
    </p:spTree>
    <p:extLst>
      <p:ext uri="{BB962C8B-B14F-4D97-AF65-F5344CB8AC3E}">
        <p14:creationId xmlns:p14="http://schemas.microsoft.com/office/powerpoint/2010/main" val="16431244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ormAutofit/>
          </a:bodyPr>
          <a:lstStyle/>
          <a:p>
            <a:r>
              <a:rPr lang="en-US" sz="3200" dirty="0"/>
              <a:t>Super-resolution microscopy</a:t>
            </a:r>
          </a:p>
        </p:txBody>
      </p:sp>
      <p:sp>
        <p:nvSpPr>
          <p:cNvPr id="8" name="Content Placeholder 7"/>
          <p:cNvSpPr>
            <a:spLocks noGrp="1"/>
          </p:cNvSpPr>
          <p:nvPr>
            <p:ph sz="half" idx="1"/>
          </p:nvPr>
        </p:nvSpPr>
        <p:spPr/>
        <p:txBody>
          <a:bodyPr/>
          <a:lstStyle/>
          <a:p>
            <a:r>
              <a:rPr lang="en-US" dirty="0"/>
              <a:t>Functional super-resolution techniques won Nobel</a:t>
            </a:r>
          </a:p>
          <a:p>
            <a:r>
              <a:rPr lang="en-US" dirty="0"/>
              <a:t>SIM did not win</a:t>
            </a:r>
          </a:p>
          <a:p>
            <a:r>
              <a:rPr lang="en-US" dirty="0"/>
              <a:t>SIM not considered to be super-resolution</a:t>
            </a:r>
          </a:p>
        </p:txBody>
      </p:sp>
      <p:pic>
        <p:nvPicPr>
          <p:cNvPr id="9" name="Content Placeholder 8"/>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4716797" y="1825625"/>
            <a:ext cx="3710906" cy="4351338"/>
          </a:xfrm>
        </p:spPr>
      </p:pic>
    </p:spTree>
    <p:extLst>
      <p:ext uri="{BB962C8B-B14F-4D97-AF65-F5344CB8AC3E}">
        <p14:creationId xmlns:p14="http://schemas.microsoft.com/office/powerpoint/2010/main" val="29761011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9154" name="Rectangle 2"/>
          <p:cNvSpPr>
            <a:spLocks noGrp="1" noChangeArrowheads="1"/>
          </p:cNvSpPr>
          <p:nvPr>
            <p:ph type="title"/>
          </p:nvPr>
        </p:nvSpPr>
        <p:spPr>
          <a:xfrm>
            <a:off x="685800" y="448733"/>
            <a:ext cx="7772400" cy="1016000"/>
          </a:xfrm>
        </p:spPr>
        <p:txBody>
          <a:bodyPr anchor="t">
            <a:normAutofit fontScale="90000"/>
          </a:bodyPr>
          <a:lstStyle/>
          <a:p>
            <a:r>
              <a:rPr lang="de-DE" altLang="en-US" sz="3600" dirty="0">
                <a:latin typeface="Calibri Light" panose="020F0302020204030204" pitchFamily="34" charset="0"/>
              </a:rPr>
              <a:t>Remember overview of Optical sectioning Methods?</a:t>
            </a:r>
          </a:p>
        </p:txBody>
      </p:sp>
      <p:sp>
        <p:nvSpPr>
          <p:cNvPr id="2" name="Content Placeholder 1"/>
          <p:cNvSpPr>
            <a:spLocks noGrp="1"/>
          </p:cNvSpPr>
          <p:nvPr>
            <p:ph idx="1"/>
          </p:nvPr>
        </p:nvSpPr>
        <p:spPr/>
        <p:txBody>
          <a:bodyPr>
            <a:normAutofit lnSpcReduction="10000"/>
          </a:bodyPr>
          <a:lstStyle/>
          <a:p>
            <a:pPr marL="541873" indent="-541873">
              <a:lnSpc>
                <a:spcPct val="80000"/>
              </a:lnSpc>
              <a:buFont typeface="+mj-lt"/>
              <a:buAutoNum type="arabicPeriod"/>
            </a:pPr>
            <a:r>
              <a:rPr lang="en-US" altLang="en-US" sz="2489" dirty="0"/>
              <a:t>Deconvolution</a:t>
            </a:r>
          </a:p>
          <a:p>
            <a:pPr marL="880544" lvl="1" indent="-474139">
              <a:lnSpc>
                <a:spcPct val="80000"/>
              </a:lnSpc>
            </a:pPr>
            <a:r>
              <a:rPr lang="en-US" altLang="en-US" sz="2133" dirty="0"/>
              <a:t>Point-Spread function (PSF) information is used to calculate light back to its origin</a:t>
            </a:r>
          </a:p>
          <a:p>
            <a:pPr marL="880544" lvl="1" indent="-474139">
              <a:lnSpc>
                <a:spcPct val="80000"/>
              </a:lnSpc>
            </a:pPr>
            <a:r>
              <a:rPr lang="en-US" altLang="en-US" sz="2133" dirty="0"/>
              <a:t>Post processing of an image stack</a:t>
            </a:r>
          </a:p>
          <a:p>
            <a:pPr marL="541873" indent="-541873">
              <a:lnSpc>
                <a:spcPct val="80000"/>
              </a:lnSpc>
              <a:buFont typeface="+mj-lt"/>
              <a:buAutoNum type="arabicPeriod"/>
            </a:pPr>
            <a:r>
              <a:rPr lang="en-US" altLang="en-US" sz="2489" dirty="0"/>
              <a:t>Confocal and Multi-photon Laser Scanning Microscopy</a:t>
            </a:r>
          </a:p>
          <a:p>
            <a:pPr marL="880544" lvl="1" indent="-474139">
              <a:lnSpc>
                <a:spcPct val="80000"/>
              </a:lnSpc>
            </a:pPr>
            <a:r>
              <a:rPr lang="en-US" altLang="en-US" sz="2133" dirty="0"/>
              <a:t>Pinhole prevents out-of-focus light getting to the sensor(s) (PMT - Photomultiplier) </a:t>
            </a:r>
            <a:endParaRPr lang="en-US" altLang="en-US" sz="1778" dirty="0"/>
          </a:p>
          <a:p>
            <a:pPr marL="880544" lvl="1" indent="-474139">
              <a:lnSpc>
                <a:spcPct val="80000"/>
              </a:lnSpc>
            </a:pPr>
            <a:r>
              <a:rPr lang="en-US" altLang="en-US" sz="2133" dirty="0"/>
              <a:t>Multi Photon does not require pinhole </a:t>
            </a:r>
            <a:endParaRPr lang="en-US" altLang="en-US" sz="1778" dirty="0"/>
          </a:p>
          <a:p>
            <a:pPr marL="541873" indent="-541873">
              <a:lnSpc>
                <a:spcPct val="80000"/>
              </a:lnSpc>
              <a:buFont typeface="+mj-lt"/>
              <a:buAutoNum type="arabicPeriod"/>
            </a:pPr>
            <a:r>
              <a:rPr lang="en-US" altLang="en-US" sz="2489" dirty="0"/>
              <a:t>Spinning disk systems</a:t>
            </a:r>
          </a:p>
          <a:p>
            <a:pPr marL="880544" lvl="1" indent="-474139">
              <a:lnSpc>
                <a:spcPct val="80000"/>
              </a:lnSpc>
            </a:pPr>
            <a:r>
              <a:rPr lang="en-US" altLang="en-US" sz="2133" dirty="0"/>
              <a:t>A large number of pinholes (used for excitation and emission) is used to prevent out-of-focus light getting to the camera</a:t>
            </a:r>
          </a:p>
          <a:p>
            <a:pPr marL="880544" lvl="1" indent="-474139">
              <a:lnSpc>
                <a:spcPct val="80000"/>
              </a:lnSpc>
            </a:pPr>
            <a:r>
              <a:rPr lang="en-US" altLang="en-US" sz="2133" dirty="0"/>
              <a:t>Especially those using Nipkow disk and </a:t>
            </a:r>
            <a:r>
              <a:rPr lang="en-US" altLang="en-US" sz="2133" dirty="0" err="1"/>
              <a:t>microlens</a:t>
            </a:r>
            <a:endParaRPr lang="en-US" altLang="en-US" sz="2133" dirty="0"/>
          </a:p>
          <a:p>
            <a:pPr marL="541873" indent="-541873">
              <a:lnSpc>
                <a:spcPct val="80000"/>
              </a:lnSpc>
              <a:buFont typeface="+mj-lt"/>
              <a:buAutoNum type="arabicPeriod"/>
            </a:pPr>
            <a:r>
              <a:rPr lang="en-US" altLang="en-US" sz="2489" dirty="0"/>
              <a:t> Structured Illumination Microscopy (SIM)</a:t>
            </a:r>
          </a:p>
          <a:p>
            <a:pPr marL="423344" indent="-474139">
              <a:lnSpc>
                <a:spcPct val="80000"/>
              </a:lnSpc>
            </a:pPr>
            <a:endParaRPr lang="en-US" altLang="en-US" sz="2533" dirty="0"/>
          </a:p>
        </p:txBody>
      </p:sp>
    </p:spTree>
    <p:extLst>
      <p:ext uri="{BB962C8B-B14F-4D97-AF65-F5344CB8AC3E}">
        <p14:creationId xmlns:p14="http://schemas.microsoft.com/office/powerpoint/2010/main" val="9181561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ructured Illumination</a:t>
            </a:r>
            <a:br>
              <a:rPr lang="en-US" dirty="0"/>
            </a:br>
            <a:r>
              <a:rPr lang="en-US" b="0" dirty="0"/>
              <a:t>- The Principle</a:t>
            </a:r>
            <a:endParaRPr lang="en-US" dirty="0"/>
          </a:p>
        </p:txBody>
      </p:sp>
      <p:sp>
        <p:nvSpPr>
          <p:cNvPr id="5" name="Footer Placeholder 4"/>
          <p:cNvSpPr>
            <a:spLocks noGrp="1"/>
          </p:cNvSpPr>
          <p:nvPr>
            <p:ph type="ftr" sz="quarter" idx="12"/>
          </p:nvPr>
        </p:nvSpPr>
        <p:spPr/>
        <p:txBody>
          <a:bodyPr/>
          <a:lstStyle/>
          <a:p>
            <a:r>
              <a:rPr lang="en-US" dirty="0">
                <a:solidFill>
                  <a:srgbClr val="000000"/>
                </a:solidFill>
              </a:rPr>
              <a:t>Carl Zeiss Microscopy - ApoTome.2</a:t>
            </a:r>
          </a:p>
        </p:txBody>
      </p:sp>
      <p:sp>
        <p:nvSpPr>
          <p:cNvPr id="13" name="Rectangle 4"/>
          <p:cNvSpPr>
            <a:spLocks noChangeArrowheads="1"/>
          </p:cNvSpPr>
          <p:nvPr/>
        </p:nvSpPr>
        <p:spPr bwMode="auto">
          <a:xfrm>
            <a:off x="267418" y="1495898"/>
            <a:ext cx="3575148" cy="19389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28" tIns="45715" rIns="91428" bIns="45715">
            <a:spAutoFit/>
          </a:bodyPr>
          <a:lstStyle/>
          <a:p>
            <a:pPr eaLnBrk="0" fontAlgn="base" hangingPunct="0">
              <a:lnSpc>
                <a:spcPct val="150000"/>
              </a:lnSpc>
              <a:spcBef>
                <a:spcPct val="0"/>
              </a:spcBef>
              <a:spcAft>
                <a:spcPct val="0"/>
              </a:spcAft>
            </a:pPr>
            <a:r>
              <a:rPr lang="en-US" sz="1600" dirty="0">
                <a:solidFill>
                  <a:srgbClr val="000000"/>
                </a:solidFill>
              </a:rPr>
              <a:t>Grid pattern is projected into the focal plane of the objective </a:t>
            </a:r>
          </a:p>
          <a:p>
            <a:pPr marL="285750" indent="-285750" eaLnBrk="0" fontAlgn="base" hangingPunct="0">
              <a:lnSpc>
                <a:spcPct val="150000"/>
              </a:lnSpc>
              <a:spcBef>
                <a:spcPct val="0"/>
              </a:spcBef>
              <a:spcAft>
                <a:spcPct val="0"/>
              </a:spcAft>
              <a:buFont typeface="Wingdings" pitchFamily="2" charset="2"/>
              <a:buChar char="à"/>
            </a:pPr>
            <a:r>
              <a:rPr lang="en-US" sz="1600" dirty="0">
                <a:solidFill>
                  <a:srgbClr val="000000"/>
                </a:solidFill>
              </a:rPr>
              <a:t>Visible in the eyepiece and the camera</a:t>
            </a:r>
          </a:p>
          <a:p>
            <a:pPr eaLnBrk="0" fontAlgn="base" hangingPunct="0">
              <a:lnSpc>
                <a:spcPct val="150000"/>
              </a:lnSpc>
              <a:spcBef>
                <a:spcPct val="0"/>
              </a:spcBef>
              <a:spcAft>
                <a:spcPct val="0"/>
              </a:spcAft>
            </a:pPr>
            <a:r>
              <a:rPr lang="en-US" sz="1600" dirty="0">
                <a:solidFill>
                  <a:srgbClr val="000000"/>
                </a:solidFill>
              </a:rPr>
              <a:t> </a:t>
            </a:r>
          </a:p>
        </p:txBody>
      </p:sp>
      <p:pic>
        <p:nvPicPr>
          <p:cNvPr id="23" name="Conve"/>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178167" y="1689524"/>
            <a:ext cx="4314539" cy="37084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2"/>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4253" r="123"/>
          <a:stretch/>
        </p:blipFill>
        <p:spPr bwMode="auto">
          <a:xfrm>
            <a:off x="4005337" y="1688824"/>
            <a:ext cx="4487678" cy="370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47456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p:cNvSpPr>
            <a:spLocks noGrp="1"/>
          </p:cNvSpPr>
          <p:nvPr>
            <p:ph type="title"/>
          </p:nvPr>
        </p:nvSpPr>
        <p:spPr/>
        <p:txBody>
          <a:bodyPr/>
          <a:lstStyle/>
          <a:p>
            <a:r>
              <a:rPr lang="en-US" dirty="0"/>
              <a:t>Structured Illumination</a:t>
            </a:r>
            <a:br>
              <a:rPr lang="en-US" dirty="0"/>
            </a:br>
            <a:r>
              <a:rPr lang="en-US" b="0" dirty="0"/>
              <a:t>- The Principle</a:t>
            </a:r>
            <a:endParaRPr lang="en-US" dirty="0"/>
          </a:p>
        </p:txBody>
      </p:sp>
      <p:sp>
        <p:nvSpPr>
          <p:cNvPr id="5" name="Footer Placeholder 4"/>
          <p:cNvSpPr>
            <a:spLocks noGrp="1"/>
          </p:cNvSpPr>
          <p:nvPr>
            <p:ph type="ftr" sz="quarter" idx="12"/>
          </p:nvPr>
        </p:nvSpPr>
        <p:spPr/>
        <p:txBody>
          <a:bodyPr/>
          <a:lstStyle/>
          <a:p>
            <a:r>
              <a:rPr lang="en-US" dirty="0">
                <a:solidFill>
                  <a:srgbClr val="000000"/>
                </a:solidFill>
              </a:rPr>
              <a:t>Carl Zeiss Microscopy - ApoTome.2</a:t>
            </a:r>
          </a:p>
        </p:txBody>
      </p:sp>
      <p:sp>
        <p:nvSpPr>
          <p:cNvPr id="9" name="TextBox 8"/>
          <p:cNvSpPr txBox="1"/>
          <p:nvPr/>
        </p:nvSpPr>
        <p:spPr>
          <a:xfrm>
            <a:off x="267418" y="1495898"/>
            <a:ext cx="3830748" cy="3836396"/>
          </a:xfrm>
          <a:prstGeom prst="rect">
            <a:avLst/>
          </a:prstGeom>
          <a:noFill/>
        </p:spPr>
        <p:txBody>
          <a:bodyPr wrap="square" rtlCol="0">
            <a:noAutofit/>
          </a:bodyPr>
          <a:lstStyle/>
          <a:p>
            <a:pPr eaLnBrk="0" fontAlgn="base" hangingPunct="0">
              <a:lnSpc>
                <a:spcPct val="150000"/>
              </a:lnSpc>
              <a:spcBef>
                <a:spcPct val="0"/>
              </a:spcBef>
              <a:spcAft>
                <a:spcPct val="0"/>
              </a:spcAft>
            </a:pPr>
            <a:r>
              <a:rPr lang="en-US" sz="1600" dirty="0">
                <a:solidFill>
                  <a:srgbClr val="000000"/>
                </a:solidFill>
              </a:rPr>
              <a:t>Grid pattern is projected into the focal plane of the objective </a:t>
            </a:r>
          </a:p>
          <a:p>
            <a:pPr marL="285750" indent="-285750" eaLnBrk="0" fontAlgn="base" hangingPunct="0">
              <a:lnSpc>
                <a:spcPct val="150000"/>
              </a:lnSpc>
              <a:spcBef>
                <a:spcPct val="0"/>
              </a:spcBef>
              <a:spcAft>
                <a:spcPct val="0"/>
              </a:spcAft>
              <a:buFont typeface="Wingdings" pitchFamily="2" charset="2"/>
              <a:buChar char="à"/>
            </a:pPr>
            <a:r>
              <a:rPr lang="en-US" sz="1600" dirty="0">
                <a:solidFill>
                  <a:srgbClr val="000000"/>
                </a:solidFill>
              </a:rPr>
              <a:t>Visible in the eyepiece and the camera </a:t>
            </a:r>
          </a:p>
          <a:p>
            <a:pPr eaLnBrk="0" fontAlgn="base" hangingPunct="0">
              <a:lnSpc>
                <a:spcPct val="150000"/>
              </a:lnSpc>
              <a:spcBef>
                <a:spcPct val="0"/>
              </a:spcBef>
              <a:spcAft>
                <a:spcPct val="0"/>
              </a:spcAft>
            </a:pPr>
            <a:r>
              <a:rPr lang="en-US" sz="1600" dirty="0">
                <a:solidFill>
                  <a:srgbClr val="000000"/>
                </a:solidFill>
              </a:rPr>
              <a:t>The grid pattern is moving in 3-15 different positions (phases)</a:t>
            </a:r>
          </a:p>
          <a:p>
            <a:pPr eaLnBrk="0" fontAlgn="base" hangingPunct="0">
              <a:lnSpc>
                <a:spcPct val="150000"/>
              </a:lnSpc>
              <a:spcBef>
                <a:spcPct val="0"/>
              </a:spcBef>
              <a:spcAft>
                <a:spcPct val="0"/>
              </a:spcAft>
            </a:pPr>
            <a:endParaRPr lang="en-US" sz="1600" dirty="0">
              <a:solidFill>
                <a:srgbClr val="000000"/>
              </a:solidFill>
            </a:endParaRPr>
          </a:p>
          <a:p>
            <a:pPr eaLnBrk="0" fontAlgn="base" hangingPunct="0">
              <a:lnSpc>
                <a:spcPct val="150000"/>
              </a:lnSpc>
              <a:spcBef>
                <a:spcPct val="0"/>
              </a:spcBef>
              <a:spcAft>
                <a:spcPct val="0"/>
              </a:spcAft>
            </a:pPr>
            <a:r>
              <a:rPr lang="en-US" sz="1400" i="1" dirty="0">
                <a:solidFill>
                  <a:srgbClr val="000000"/>
                </a:solidFill>
              </a:rPr>
              <a:t>Example: 3 Phases</a:t>
            </a:r>
          </a:p>
          <a:p>
            <a:pPr eaLnBrk="0" fontAlgn="base" hangingPunct="0">
              <a:lnSpc>
                <a:spcPct val="150000"/>
              </a:lnSpc>
              <a:spcBef>
                <a:spcPct val="0"/>
              </a:spcBef>
              <a:spcAft>
                <a:spcPct val="0"/>
              </a:spcAft>
            </a:pPr>
            <a:r>
              <a:rPr lang="en-US" sz="1400" dirty="0">
                <a:solidFill>
                  <a:srgbClr val="000000"/>
                </a:solidFill>
              </a:rPr>
              <a:t>Each pixel intensity is calculated as:</a:t>
            </a:r>
          </a:p>
          <a:p>
            <a:pPr eaLnBrk="0" fontAlgn="base" hangingPunct="0">
              <a:lnSpc>
                <a:spcPct val="150000"/>
              </a:lnSpc>
              <a:spcBef>
                <a:spcPct val="0"/>
              </a:spcBef>
              <a:spcAft>
                <a:spcPct val="0"/>
              </a:spcAft>
            </a:pPr>
            <a:endParaRPr lang="en-US" sz="1400" dirty="0">
              <a:solidFill>
                <a:srgbClr val="000000"/>
              </a:solidFill>
            </a:endParaRPr>
          </a:p>
          <a:p>
            <a:pPr eaLnBrk="0" fontAlgn="base" hangingPunct="0">
              <a:lnSpc>
                <a:spcPct val="150000"/>
              </a:lnSpc>
              <a:spcBef>
                <a:spcPct val="0"/>
              </a:spcBef>
              <a:spcAft>
                <a:spcPct val="0"/>
              </a:spcAft>
            </a:pPr>
            <a:endParaRPr lang="en-US" sz="1400" dirty="0">
              <a:solidFill>
                <a:srgbClr val="000000"/>
              </a:solidFill>
            </a:endParaRPr>
          </a:p>
          <a:p>
            <a:pPr eaLnBrk="0" fontAlgn="base" hangingPunct="0">
              <a:lnSpc>
                <a:spcPct val="150000"/>
              </a:lnSpc>
              <a:spcBef>
                <a:spcPct val="0"/>
              </a:spcBef>
              <a:spcAft>
                <a:spcPct val="0"/>
              </a:spcAft>
            </a:pPr>
            <a:r>
              <a:rPr lang="en-US" sz="1000" i="1" dirty="0">
                <a:solidFill>
                  <a:srgbClr val="000000"/>
                </a:solidFill>
              </a:rPr>
              <a:t>(simplified equation)</a:t>
            </a:r>
          </a:p>
          <a:p>
            <a:pPr eaLnBrk="0" fontAlgn="base" hangingPunct="0">
              <a:lnSpc>
                <a:spcPct val="150000"/>
              </a:lnSpc>
              <a:spcBef>
                <a:spcPct val="0"/>
              </a:spcBef>
              <a:spcAft>
                <a:spcPct val="0"/>
              </a:spcAft>
            </a:pPr>
            <a:endParaRPr lang="en-US" sz="1600" dirty="0">
              <a:solidFill>
                <a:srgbClr val="000000"/>
              </a:solidFill>
            </a:endParaRPr>
          </a:p>
          <a:p>
            <a:pPr eaLnBrk="0" fontAlgn="base" hangingPunct="0">
              <a:lnSpc>
                <a:spcPct val="150000"/>
              </a:lnSpc>
              <a:spcBef>
                <a:spcPct val="0"/>
              </a:spcBef>
              <a:spcAft>
                <a:spcPct val="0"/>
              </a:spcAft>
            </a:pPr>
            <a:endParaRPr lang="en-US" sz="1600" dirty="0">
              <a:solidFill>
                <a:srgbClr val="000000"/>
              </a:solidFill>
            </a:endParaRPr>
          </a:p>
        </p:txBody>
      </p:sp>
      <p:grpSp>
        <p:nvGrpSpPr>
          <p:cNvPr id="15" name="Group 14"/>
          <p:cNvGrpSpPr/>
          <p:nvPr/>
        </p:nvGrpSpPr>
        <p:grpSpPr>
          <a:xfrm>
            <a:off x="5050292" y="1486607"/>
            <a:ext cx="1113639" cy="4797340"/>
            <a:chOff x="4338167" y="1926547"/>
            <a:chExt cx="842701" cy="3630192"/>
          </a:xfrm>
        </p:grpSpPr>
        <p:pic>
          <p:nvPicPr>
            <p:cNvPr id="2050" name="Picture 2"/>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4338167" y="1926547"/>
              <a:ext cx="842701" cy="36301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Box 9"/>
            <p:cNvSpPr txBox="1"/>
            <p:nvPr/>
          </p:nvSpPr>
          <p:spPr>
            <a:xfrm>
              <a:off x="4338167" y="1926547"/>
              <a:ext cx="342900" cy="342900"/>
            </a:xfrm>
            <a:prstGeom prst="rect">
              <a:avLst/>
            </a:prstGeom>
            <a:noFill/>
          </p:spPr>
          <p:txBody>
            <a:bodyPr wrap="none" rtlCol="0">
              <a:noAutofit/>
            </a:bodyPr>
            <a:lstStyle/>
            <a:p>
              <a:pPr eaLnBrk="0" fontAlgn="base" hangingPunct="0">
                <a:spcBef>
                  <a:spcPct val="0"/>
                </a:spcBef>
                <a:spcAft>
                  <a:spcPct val="0"/>
                </a:spcAft>
              </a:pPr>
              <a:r>
                <a:rPr lang="en-GB" sz="1600" i="1" dirty="0">
                  <a:solidFill>
                    <a:srgbClr val="FFFFFF"/>
                  </a:solidFill>
                </a:rPr>
                <a:t>1</a:t>
              </a:r>
            </a:p>
          </p:txBody>
        </p:sp>
      </p:grpSp>
      <p:grpSp>
        <p:nvGrpSpPr>
          <p:cNvPr id="12" name="Group 11"/>
          <p:cNvGrpSpPr/>
          <p:nvPr/>
        </p:nvGrpSpPr>
        <p:grpSpPr>
          <a:xfrm>
            <a:off x="6144484" y="1486607"/>
            <a:ext cx="1244654" cy="4797342"/>
            <a:chOff x="5173579" y="1926547"/>
            <a:chExt cx="941841" cy="3630192"/>
          </a:xfrm>
        </p:grpSpPr>
        <p:pic>
          <p:nvPicPr>
            <p:cNvPr id="2051" name="Picture 3"/>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5173579" y="1926547"/>
              <a:ext cx="941841" cy="36301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TextBox 15"/>
            <p:cNvSpPr txBox="1"/>
            <p:nvPr/>
          </p:nvSpPr>
          <p:spPr>
            <a:xfrm>
              <a:off x="5173579" y="1926547"/>
              <a:ext cx="342900" cy="342900"/>
            </a:xfrm>
            <a:prstGeom prst="rect">
              <a:avLst/>
            </a:prstGeom>
            <a:noFill/>
          </p:spPr>
          <p:txBody>
            <a:bodyPr wrap="none" rtlCol="0">
              <a:noAutofit/>
            </a:bodyPr>
            <a:lstStyle/>
            <a:p>
              <a:pPr eaLnBrk="0" fontAlgn="base" hangingPunct="0">
                <a:spcBef>
                  <a:spcPct val="0"/>
                </a:spcBef>
                <a:spcAft>
                  <a:spcPct val="0"/>
                </a:spcAft>
              </a:pPr>
              <a:r>
                <a:rPr lang="en-GB" sz="1600" i="1" dirty="0">
                  <a:solidFill>
                    <a:srgbClr val="FFFFFF"/>
                  </a:solidFill>
                </a:rPr>
                <a:t>2</a:t>
              </a:r>
            </a:p>
          </p:txBody>
        </p:sp>
      </p:grpSp>
      <p:grpSp>
        <p:nvGrpSpPr>
          <p:cNvPr id="13" name="Group 12"/>
          <p:cNvGrpSpPr/>
          <p:nvPr/>
        </p:nvGrpSpPr>
        <p:grpSpPr>
          <a:xfrm>
            <a:off x="7341681" y="1486606"/>
            <a:ext cx="1172576" cy="4797341"/>
            <a:chOff x="6042988" y="1926547"/>
            <a:chExt cx="887299" cy="3630192"/>
          </a:xfrm>
        </p:grpSpPr>
        <p:pic>
          <p:nvPicPr>
            <p:cNvPr id="2052" name="Picture 4"/>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6042988" y="1926547"/>
              <a:ext cx="887299" cy="36301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TextBox 16"/>
            <p:cNvSpPr txBox="1"/>
            <p:nvPr/>
          </p:nvSpPr>
          <p:spPr>
            <a:xfrm>
              <a:off x="6042988" y="1926547"/>
              <a:ext cx="342900" cy="342900"/>
            </a:xfrm>
            <a:prstGeom prst="rect">
              <a:avLst/>
            </a:prstGeom>
            <a:noFill/>
          </p:spPr>
          <p:txBody>
            <a:bodyPr wrap="none" rtlCol="0">
              <a:noAutofit/>
            </a:bodyPr>
            <a:lstStyle/>
            <a:p>
              <a:pPr eaLnBrk="0" fontAlgn="base" hangingPunct="0">
                <a:spcBef>
                  <a:spcPct val="0"/>
                </a:spcBef>
                <a:spcAft>
                  <a:spcPct val="0"/>
                </a:spcAft>
              </a:pPr>
              <a:r>
                <a:rPr lang="en-GB" sz="1600" i="1" dirty="0">
                  <a:solidFill>
                    <a:srgbClr val="FFFFFF"/>
                  </a:solidFill>
                </a:rPr>
                <a:t>3</a:t>
              </a:r>
            </a:p>
          </p:txBody>
        </p:sp>
      </p:grpSp>
      <p:graphicFrame>
        <p:nvGraphicFramePr>
          <p:cNvPr id="20" name="Object 19"/>
          <p:cNvGraphicFramePr>
            <a:graphicFrameLocks noChangeAspect="1"/>
          </p:cNvGraphicFramePr>
          <p:nvPr>
            <p:extLst/>
          </p:nvPr>
        </p:nvGraphicFramePr>
        <p:xfrm>
          <a:off x="371835" y="4860282"/>
          <a:ext cx="4275138" cy="420687"/>
        </p:xfrm>
        <a:graphic>
          <a:graphicData uri="http://schemas.openxmlformats.org/presentationml/2006/ole">
            <mc:AlternateContent xmlns:mc="http://schemas.openxmlformats.org/markup-compatibility/2006">
              <mc:Choice xmlns:v="urn:schemas-microsoft-com:vml" Requires="v">
                <p:oleObj spid="_x0000_s5122" name="Formel" r:id="rId6" imgW="2654300" imgH="304800" progId="Equation.3">
                  <p:embed/>
                </p:oleObj>
              </mc:Choice>
              <mc:Fallback>
                <p:oleObj name="Formel" r:id="rId6" imgW="2654300" imgH="304800" progId="Equation.3">
                  <p:embed/>
                  <p:pic>
                    <p:nvPicPr>
                      <p:cNvPr id="20" name="Object 1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71835" y="4860282"/>
                        <a:ext cx="4275138" cy="4206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chemeClr val="tx1"/>
                            </a:solidFill>
                            <a:miter lim="800000"/>
                            <a:headEnd type="none" w="sm" len="sm"/>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30607268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US"/>
              <a:t>Structured Illumination</a:t>
            </a:r>
            <a:br>
              <a:rPr lang="en-US"/>
            </a:br>
            <a:r>
              <a:rPr lang="en-US" b="0"/>
              <a:t>- The Principle</a:t>
            </a:r>
            <a:endParaRPr lang="en-US" dirty="0"/>
          </a:p>
        </p:txBody>
      </p:sp>
      <p:sp>
        <p:nvSpPr>
          <p:cNvPr id="36" name="Content Placeholder 35"/>
          <p:cNvSpPr>
            <a:spLocks noGrp="1"/>
          </p:cNvSpPr>
          <p:nvPr>
            <p:ph idx="1"/>
          </p:nvPr>
        </p:nvSpPr>
        <p:spPr/>
        <p:txBody>
          <a:bodyPr/>
          <a:lstStyle/>
          <a:p>
            <a:endParaRPr lang="en-US"/>
          </a:p>
        </p:txBody>
      </p:sp>
      <p:sp>
        <p:nvSpPr>
          <p:cNvPr id="5" name="Footer Placeholder 4"/>
          <p:cNvSpPr>
            <a:spLocks noGrp="1"/>
          </p:cNvSpPr>
          <p:nvPr>
            <p:ph type="ftr" sz="quarter" idx="12"/>
          </p:nvPr>
        </p:nvSpPr>
        <p:spPr/>
        <p:txBody>
          <a:bodyPr/>
          <a:lstStyle/>
          <a:p>
            <a:r>
              <a:rPr lang="en-US" dirty="0">
                <a:solidFill>
                  <a:srgbClr val="000000"/>
                </a:solidFill>
              </a:rPr>
              <a:t>Carl Zeiss Microscopy - ApoTome.2</a:t>
            </a:r>
          </a:p>
        </p:txBody>
      </p:sp>
      <p:grpSp>
        <p:nvGrpSpPr>
          <p:cNvPr id="32" name="Group 31"/>
          <p:cNvGrpSpPr/>
          <p:nvPr/>
        </p:nvGrpSpPr>
        <p:grpSpPr>
          <a:xfrm>
            <a:off x="2736880" y="1479552"/>
            <a:ext cx="5937639" cy="4798802"/>
            <a:chOff x="2736880" y="1479552"/>
            <a:chExt cx="5937639" cy="4798802"/>
          </a:xfrm>
        </p:grpSpPr>
        <p:pic>
          <p:nvPicPr>
            <p:cNvPr id="9" name="Picture 2"/>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4013589" y="1481012"/>
              <a:ext cx="1113639" cy="4797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Box 9"/>
            <p:cNvSpPr txBox="1"/>
            <p:nvPr/>
          </p:nvSpPr>
          <p:spPr>
            <a:xfrm>
              <a:off x="4013590" y="1481012"/>
              <a:ext cx="1113638" cy="453146"/>
            </a:xfrm>
            <a:prstGeom prst="rect">
              <a:avLst/>
            </a:prstGeom>
            <a:noFill/>
          </p:spPr>
          <p:txBody>
            <a:bodyPr wrap="none" rtlCol="0">
              <a:noAutofit/>
            </a:bodyPr>
            <a:lstStyle/>
            <a:p>
              <a:pPr algn="ctr" eaLnBrk="0" fontAlgn="base" hangingPunct="0">
                <a:spcBef>
                  <a:spcPct val="0"/>
                </a:spcBef>
                <a:spcAft>
                  <a:spcPct val="0"/>
                </a:spcAft>
              </a:pPr>
              <a:r>
                <a:rPr lang="en-GB" sz="1400" i="1" dirty="0">
                  <a:solidFill>
                    <a:srgbClr val="FFFFFF"/>
                  </a:solidFill>
                </a:rPr>
                <a:t>1 phase</a:t>
              </a:r>
            </a:p>
          </p:txBody>
        </p:sp>
        <p:pic>
          <p:nvPicPr>
            <p:cNvPr id="12" name="Picture 3"/>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5127228" y="1481012"/>
              <a:ext cx="1244654" cy="47973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extBox 12"/>
            <p:cNvSpPr txBox="1"/>
            <p:nvPr/>
          </p:nvSpPr>
          <p:spPr>
            <a:xfrm>
              <a:off x="5127228" y="1481012"/>
              <a:ext cx="1244654" cy="453146"/>
            </a:xfrm>
            <a:prstGeom prst="rect">
              <a:avLst/>
            </a:prstGeom>
            <a:noFill/>
          </p:spPr>
          <p:txBody>
            <a:bodyPr wrap="none" rtlCol="0">
              <a:noAutofit/>
            </a:bodyPr>
            <a:lstStyle/>
            <a:p>
              <a:pPr algn="ctr" eaLnBrk="0" fontAlgn="base" hangingPunct="0">
                <a:spcBef>
                  <a:spcPct val="0"/>
                </a:spcBef>
                <a:spcAft>
                  <a:spcPct val="0"/>
                </a:spcAft>
              </a:pPr>
              <a:r>
                <a:rPr lang="en-GB" sz="1400" i="1" dirty="0">
                  <a:solidFill>
                    <a:srgbClr val="FFFFFF"/>
                  </a:solidFill>
                </a:rPr>
                <a:t>2 phase</a:t>
              </a:r>
            </a:p>
          </p:txBody>
        </p:sp>
        <p:pic>
          <p:nvPicPr>
            <p:cNvPr id="15" name="Picture 4"/>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6371882" y="1481013"/>
              <a:ext cx="1172576" cy="47973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TextBox 15"/>
            <p:cNvSpPr txBox="1"/>
            <p:nvPr/>
          </p:nvSpPr>
          <p:spPr>
            <a:xfrm>
              <a:off x="6371881" y="1481012"/>
              <a:ext cx="1194143" cy="453146"/>
            </a:xfrm>
            <a:prstGeom prst="rect">
              <a:avLst/>
            </a:prstGeom>
            <a:noFill/>
          </p:spPr>
          <p:txBody>
            <a:bodyPr wrap="none" rtlCol="0">
              <a:noAutofit/>
            </a:bodyPr>
            <a:lstStyle/>
            <a:p>
              <a:pPr algn="ctr" eaLnBrk="0" fontAlgn="base" hangingPunct="0">
                <a:spcBef>
                  <a:spcPct val="0"/>
                </a:spcBef>
                <a:spcAft>
                  <a:spcPct val="0"/>
                </a:spcAft>
              </a:pPr>
              <a:r>
                <a:rPr lang="en-GB" sz="1400" i="1" dirty="0">
                  <a:solidFill>
                    <a:srgbClr val="FFFFFF"/>
                  </a:solidFill>
                </a:rPr>
                <a:t>3 phase</a:t>
              </a:r>
            </a:p>
          </p:txBody>
        </p:sp>
        <p:pic>
          <p:nvPicPr>
            <p:cNvPr id="26" name="Apotome"/>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7544458" y="1479554"/>
              <a:ext cx="1130061" cy="4798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 name="Conve"/>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2736880" y="1479552"/>
              <a:ext cx="1276709" cy="4798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 name="TextBox 27"/>
            <p:cNvSpPr txBox="1"/>
            <p:nvPr/>
          </p:nvSpPr>
          <p:spPr>
            <a:xfrm>
              <a:off x="2736880" y="1481012"/>
              <a:ext cx="1276709" cy="449014"/>
            </a:xfrm>
            <a:prstGeom prst="rect">
              <a:avLst/>
            </a:prstGeom>
            <a:noFill/>
          </p:spPr>
          <p:txBody>
            <a:bodyPr wrap="none" rtlCol="0">
              <a:noAutofit/>
            </a:bodyPr>
            <a:lstStyle/>
            <a:p>
              <a:pPr algn="ctr" eaLnBrk="0" fontAlgn="base" hangingPunct="0">
                <a:spcBef>
                  <a:spcPct val="0"/>
                </a:spcBef>
                <a:spcAft>
                  <a:spcPct val="0"/>
                </a:spcAft>
              </a:pPr>
              <a:r>
                <a:rPr lang="en-GB" sz="1400" i="1" dirty="0">
                  <a:solidFill>
                    <a:srgbClr val="FFFFFF"/>
                  </a:solidFill>
                </a:rPr>
                <a:t>Conventional</a:t>
              </a:r>
            </a:p>
          </p:txBody>
        </p:sp>
        <p:sp>
          <p:nvSpPr>
            <p:cNvPr id="29" name="TextBox 28"/>
            <p:cNvSpPr txBox="1"/>
            <p:nvPr/>
          </p:nvSpPr>
          <p:spPr>
            <a:xfrm>
              <a:off x="7422326" y="1481012"/>
              <a:ext cx="1252193" cy="449014"/>
            </a:xfrm>
            <a:prstGeom prst="rect">
              <a:avLst/>
            </a:prstGeom>
            <a:noFill/>
          </p:spPr>
          <p:txBody>
            <a:bodyPr wrap="none" rtlCol="0">
              <a:noAutofit/>
            </a:bodyPr>
            <a:lstStyle/>
            <a:p>
              <a:pPr algn="ctr" eaLnBrk="0" fontAlgn="base" hangingPunct="0">
                <a:spcBef>
                  <a:spcPct val="0"/>
                </a:spcBef>
                <a:spcAft>
                  <a:spcPct val="0"/>
                </a:spcAft>
              </a:pPr>
              <a:r>
                <a:rPr lang="en-GB" sz="1400" i="1" dirty="0">
                  <a:solidFill>
                    <a:srgbClr val="FFFFFF"/>
                  </a:solidFill>
                </a:rPr>
                <a:t>Sectioned</a:t>
              </a:r>
            </a:p>
          </p:txBody>
        </p:sp>
        <p:cxnSp>
          <p:nvCxnSpPr>
            <p:cNvPr id="31" name="Straight Arrow Connector 30"/>
            <p:cNvCxnSpPr/>
            <p:nvPr/>
          </p:nvCxnSpPr>
          <p:spPr bwMode="auto">
            <a:xfrm>
              <a:off x="3375234" y="1822020"/>
              <a:ext cx="4767345" cy="0"/>
            </a:xfrm>
            <a:prstGeom prst="straightConnector1">
              <a:avLst/>
            </a:prstGeom>
            <a:solidFill>
              <a:schemeClr val="folHlink"/>
            </a:solidFill>
            <a:ln w="28575" cap="flat" cmpd="sng" algn="ctr">
              <a:solidFill>
                <a:schemeClr val="bg1"/>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33" name="Rectangle 17"/>
          <p:cNvSpPr>
            <a:spLocks noChangeArrowheads="1"/>
          </p:cNvSpPr>
          <p:nvPr/>
        </p:nvSpPr>
        <p:spPr bwMode="auto">
          <a:xfrm>
            <a:off x="267418" y="1495898"/>
            <a:ext cx="2276476" cy="3046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28" tIns="45715" rIns="91428" bIns="45715">
            <a:spAutoFit/>
          </a:bodyPr>
          <a:lstStyle/>
          <a:p>
            <a:pPr marL="180975" indent="-180975" eaLnBrk="0" fontAlgn="base" hangingPunct="0">
              <a:lnSpc>
                <a:spcPct val="150000"/>
              </a:lnSpc>
              <a:spcBef>
                <a:spcPct val="0"/>
              </a:spcBef>
              <a:spcAft>
                <a:spcPct val="0"/>
              </a:spcAft>
              <a:buClr>
                <a:srgbClr val="0000BE"/>
              </a:buClr>
              <a:buFont typeface="Arial" pitchFamily="34" charset="0"/>
              <a:buChar char="•"/>
            </a:pPr>
            <a:r>
              <a:rPr lang="en-US" sz="1600" dirty="0">
                <a:solidFill>
                  <a:srgbClr val="000000"/>
                </a:solidFill>
              </a:rPr>
              <a:t>If the local change in contrast is high, the structure is inside the focal plane</a:t>
            </a:r>
          </a:p>
          <a:p>
            <a:pPr marL="180975" indent="-180975" eaLnBrk="0" fontAlgn="base" hangingPunct="0">
              <a:lnSpc>
                <a:spcPct val="150000"/>
              </a:lnSpc>
              <a:spcBef>
                <a:spcPct val="0"/>
              </a:spcBef>
              <a:spcAft>
                <a:spcPct val="0"/>
              </a:spcAft>
              <a:buClr>
                <a:srgbClr val="0000BE"/>
              </a:buClr>
              <a:buFont typeface="Arial" pitchFamily="34" charset="0"/>
              <a:buChar char="•"/>
            </a:pPr>
            <a:r>
              <a:rPr lang="en-US" sz="1600" dirty="0">
                <a:solidFill>
                  <a:srgbClr val="000000"/>
                </a:solidFill>
              </a:rPr>
              <a:t>If the local change in contrast is zero, the structure is not inside the focal plane </a:t>
            </a:r>
          </a:p>
        </p:txBody>
      </p:sp>
    </p:spTree>
    <p:extLst>
      <p:ext uri="{BB962C8B-B14F-4D97-AF65-F5344CB8AC3E}">
        <p14:creationId xmlns:p14="http://schemas.microsoft.com/office/powerpoint/2010/main" val="29583627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34" name="Rectangle 17"/>
          <p:cNvSpPr>
            <a:spLocks noGrp="1" noChangeArrowheads="1"/>
          </p:cNvSpPr>
          <p:nvPr>
            <p:ph type="title"/>
          </p:nvPr>
        </p:nvSpPr>
        <p:spPr>
          <a:noFill/>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a:lstStyle/>
          <a:p>
            <a:pPr eaLnBrk="1" hangingPunct="1"/>
            <a:r>
              <a:rPr lang="en-US" dirty="0"/>
              <a:t>Structured Illumination</a:t>
            </a:r>
            <a:br>
              <a:rPr lang="en-US" dirty="0"/>
            </a:br>
            <a:r>
              <a:rPr lang="en-US" b="0" dirty="0"/>
              <a:t>- The Contrast is the Key</a:t>
            </a:r>
          </a:p>
        </p:txBody>
      </p:sp>
      <p:sp>
        <p:nvSpPr>
          <p:cNvPr id="3" name="Footer Placeholder 2"/>
          <p:cNvSpPr>
            <a:spLocks noGrp="1"/>
          </p:cNvSpPr>
          <p:nvPr>
            <p:ph type="ftr" sz="quarter" idx="12"/>
          </p:nvPr>
        </p:nvSpPr>
        <p:spPr/>
        <p:txBody>
          <a:bodyPr/>
          <a:lstStyle/>
          <a:p>
            <a:r>
              <a:rPr lang="en-US" dirty="0">
                <a:solidFill>
                  <a:srgbClr val="000000"/>
                </a:solidFill>
              </a:rPr>
              <a:t>Carl Zeiss Microscopy - ApoTome.2</a:t>
            </a:r>
          </a:p>
        </p:txBody>
      </p:sp>
      <p:pic>
        <p:nvPicPr>
          <p:cNvPr id="60419" name="Picture 6" descr="npo00003d"/>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506308" y="2497884"/>
            <a:ext cx="1589942" cy="25241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0420" name="Line 3"/>
          <p:cNvSpPr>
            <a:spLocks noChangeAspect="1" noChangeShapeType="1"/>
          </p:cNvSpPr>
          <p:nvPr/>
        </p:nvSpPr>
        <p:spPr bwMode="auto">
          <a:xfrm flipH="1">
            <a:off x="7765073" y="2521697"/>
            <a:ext cx="148004" cy="369887"/>
          </a:xfrm>
          <a:prstGeom prst="line">
            <a:avLst/>
          </a:prstGeom>
          <a:noFill/>
          <a:ln w="50800">
            <a:solidFill>
              <a:srgbClr val="3399FF"/>
            </a:solidFill>
            <a:round/>
            <a:headEnd/>
            <a:tailEnd type="stealth"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8" tIns="45715" rIns="91428" bIns="45715"/>
          <a:lstStyle/>
          <a:p>
            <a:pPr eaLnBrk="0" fontAlgn="base" hangingPunct="0">
              <a:spcBef>
                <a:spcPct val="0"/>
              </a:spcBef>
              <a:spcAft>
                <a:spcPct val="0"/>
              </a:spcAft>
            </a:pPr>
            <a:endParaRPr lang="en-US" sz="1600">
              <a:solidFill>
                <a:srgbClr val="000000"/>
              </a:solidFill>
            </a:endParaRPr>
          </a:p>
        </p:txBody>
      </p:sp>
      <p:sp>
        <p:nvSpPr>
          <p:cNvPr id="60421" name="Text Box 4"/>
          <p:cNvSpPr txBox="1">
            <a:spLocks noChangeArrowheads="1"/>
          </p:cNvSpPr>
          <p:nvPr/>
        </p:nvSpPr>
        <p:spPr bwMode="auto">
          <a:xfrm>
            <a:off x="1397977" y="2188322"/>
            <a:ext cx="880696" cy="265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9826" tIns="39913" rIns="79826" bIns="39913">
            <a:spAutoFit/>
          </a:bodyPr>
          <a:lstStyle>
            <a:lvl1pPr marL="457200" indent="-457200" defTabSz="798513">
              <a:defRPr sz="1600">
                <a:solidFill>
                  <a:schemeClr val="tx1"/>
                </a:solidFill>
                <a:latin typeface="LTFrutiger Next CondReg" pitchFamily="2" charset="0"/>
              </a:defRPr>
            </a:lvl1pPr>
            <a:lvl2pPr marL="742950" indent="-285750" defTabSz="798513">
              <a:defRPr sz="1600">
                <a:solidFill>
                  <a:schemeClr val="tx1"/>
                </a:solidFill>
                <a:latin typeface="LTFrutiger Next CondReg" pitchFamily="2" charset="0"/>
              </a:defRPr>
            </a:lvl2pPr>
            <a:lvl3pPr marL="1143000" indent="-228600" defTabSz="798513">
              <a:defRPr sz="1600">
                <a:solidFill>
                  <a:schemeClr val="tx1"/>
                </a:solidFill>
                <a:latin typeface="LTFrutiger Next CondReg" pitchFamily="2" charset="0"/>
              </a:defRPr>
            </a:lvl3pPr>
            <a:lvl4pPr marL="1600200" indent="-228600" defTabSz="798513">
              <a:defRPr sz="1600">
                <a:solidFill>
                  <a:schemeClr val="tx1"/>
                </a:solidFill>
                <a:latin typeface="LTFrutiger Next CondReg" pitchFamily="2" charset="0"/>
              </a:defRPr>
            </a:lvl4pPr>
            <a:lvl5pPr marL="2057400" indent="-228600" defTabSz="798513">
              <a:defRPr sz="1600">
                <a:solidFill>
                  <a:schemeClr val="tx1"/>
                </a:solidFill>
                <a:latin typeface="LTFrutiger Next CondReg" pitchFamily="2" charset="0"/>
              </a:defRPr>
            </a:lvl5pPr>
            <a:lvl6pPr marL="2514600" indent="-228600" defTabSz="798513" eaLnBrk="0" fontAlgn="base" hangingPunct="0">
              <a:lnSpc>
                <a:spcPct val="110000"/>
              </a:lnSpc>
              <a:spcBef>
                <a:spcPct val="0"/>
              </a:spcBef>
              <a:spcAft>
                <a:spcPct val="0"/>
              </a:spcAft>
              <a:buClr>
                <a:srgbClr val="0033CC"/>
              </a:buClr>
              <a:buSzPct val="110000"/>
              <a:buChar char="•"/>
              <a:defRPr sz="1600">
                <a:solidFill>
                  <a:schemeClr val="tx1"/>
                </a:solidFill>
                <a:latin typeface="LTFrutiger Next CondReg" pitchFamily="2" charset="0"/>
              </a:defRPr>
            </a:lvl6pPr>
            <a:lvl7pPr marL="2971800" indent="-228600" defTabSz="798513" eaLnBrk="0" fontAlgn="base" hangingPunct="0">
              <a:lnSpc>
                <a:spcPct val="110000"/>
              </a:lnSpc>
              <a:spcBef>
                <a:spcPct val="0"/>
              </a:spcBef>
              <a:spcAft>
                <a:spcPct val="0"/>
              </a:spcAft>
              <a:buClr>
                <a:srgbClr val="0033CC"/>
              </a:buClr>
              <a:buSzPct val="110000"/>
              <a:buChar char="•"/>
              <a:defRPr sz="1600">
                <a:solidFill>
                  <a:schemeClr val="tx1"/>
                </a:solidFill>
                <a:latin typeface="LTFrutiger Next CondReg" pitchFamily="2" charset="0"/>
              </a:defRPr>
            </a:lvl7pPr>
            <a:lvl8pPr marL="3429000" indent="-228600" defTabSz="798513" eaLnBrk="0" fontAlgn="base" hangingPunct="0">
              <a:lnSpc>
                <a:spcPct val="110000"/>
              </a:lnSpc>
              <a:spcBef>
                <a:spcPct val="0"/>
              </a:spcBef>
              <a:spcAft>
                <a:spcPct val="0"/>
              </a:spcAft>
              <a:buClr>
                <a:srgbClr val="0033CC"/>
              </a:buClr>
              <a:buSzPct val="110000"/>
              <a:buChar char="•"/>
              <a:defRPr sz="1600">
                <a:solidFill>
                  <a:schemeClr val="tx1"/>
                </a:solidFill>
                <a:latin typeface="LTFrutiger Next CondReg" pitchFamily="2" charset="0"/>
              </a:defRPr>
            </a:lvl8pPr>
            <a:lvl9pPr marL="3886200" indent="-228600" defTabSz="798513" eaLnBrk="0" fontAlgn="base" hangingPunct="0">
              <a:lnSpc>
                <a:spcPct val="110000"/>
              </a:lnSpc>
              <a:spcBef>
                <a:spcPct val="0"/>
              </a:spcBef>
              <a:spcAft>
                <a:spcPct val="0"/>
              </a:spcAft>
              <a:buClr>
                <a:srgbClr val="0033CC"/>
              </a:buClr>
              <a:buSzPct val="110000"/>
              <a:buChar char="•"/>
              <a:defRPr sz="1600">
                <a:solidFill>
                  <a:schemeClr val="tx1"/>
                </a:solidFill>
                <a:latin typeface="LTFrutiger Next CondReg" pitchFamily="2" charset="0"/>
              </a:defRPr>
            </a:lvl9pPr>
          </a:lstStyle>
          <a:p>
            <a:pPr eaLnBrk="0" fontAlgn="base" hangingPunct="0">
              <a:spcBef>
                <a:spcPct val="50000"/>
              </a:spcBef>
              <a:spcAft>
                <a:spcPct val="0"/>
              </a:spcAft>
            </a:pPr>
            <a:r>
              <a:rPr lang="en-US" sz="1200" dirty="0">
                <a:solidFill>
                  <a:srgbClr val="000000"/>
                </a:solidFill>
                <a:latin typeface="Arial"/>
              </a:rPr>
              <a:t>Position 1</a:t>
            </a:r>
          </a:p>
        </p:txBody>
      </p:sp>
      <p:sp>
        <p:nvSpPr>
          <p:cNvPr id="60422" name="Text Box 5"/>
          <p:cNvSpPr txBox="1">
            <a:spLocks noChangeArrowheads="1"/>
          </p:cNvSpPr>
          <p:nvPr/>
        </p:nvSpPr>
        <p:spPr bwMode="auto">
          <a:xfrm>
            <a:off x="3094892" y="2196258"/>
            <a:ext cx="955431" cy="265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79826" tIns="39913" rIns="79826" bIns="39913">
            <a:spAutoFit/>
          </a:bodyPr>
          <a:lstStyle>
            <a:lvl1pPr marL="457200" indent="-457200" defTabSz="798513">
              <a:defRPr sz="1600">
                <a:solidFill>
                  <a:schemeClr val="tx1"/>
                </a:solidFill>
                <a:latin typeface="LTFrutiger Next CondReg" pitchFamily="2" charset="0"/>
              </a:defRPr>
            </a:lvl1pPr>
            <a:lvl2pPr marL="742950" indent="-285750" defTabSz="798513">
              <a:defRPr sz="1600">
                <a:solidFill>
                  <a:schemeClr val="tx1"/>
                </a:solidFill>
                <a:latin typeface="LTFrutiger Next CondReg" pitchFamily="2" charset="0"/>
              </a:defRPr>
            </a:lvl2pPr>
            <a:lvl3pPr marL="1143000" indent="-228600" defTabSz="798513">
              <a:defRPr sz="1600">
                <a:solidFill>
                  <a:schemeClr val="tx1"/>
                </a:solidFill>
                <a:latin typeface="LTFrutiger Next CondReg" pitchFamily="2" charset="0"/>
              </a:defRPr>
            </a:lvl3pPr>
            <a:lvl4pPr marL="1600200" indent="-228600" defTabSz="798513">
              <a:defRPr sz="1600">
                <a:solidFill>
                  <a:schemeClr val="tx1"/>
                </a:solidFill>
                <a:latin typeface="LTFrutiger Next CondReg" pitchFamily="2" charset="0"/>
              </a:defRPr>
            </a:lvl4pPr>
            <a:lvl5pPr marL="2057400" indent="-228600" defTabSz="798513">
              <a:defRPr sz="1600">
                <a:solidFill>
                  <a:schemeClr val="tx1"/>
                </a:solidFill>
                <a:latin typeface="LTFrutiger Next CondReg" pitchFamily="2" charset="0"/>
              </a:defRPr>
            </a:lvl5pPr>
            <a:lvl6pPr marL="2514600" indent="-228600" defTabSz="798513" eaLnBrk="0" fontAlgn="base" hangingPunct="0">
              <a:lnSpc>
                <a:spcPct val="110000"/>
              </a:lnSpc>
              <a:spcBef>
                <a:spcPct val="0"/>
              </a:spcBef>
              <a:spcAft>
                <a:spcPct val="0"/>
              </a:spcAft>
              <a:buClr>
                <a:srgbClr val="0033CC"/>
              </a:buClr>
              <a:buSzPct val="110000"/>
              <a:buChar char="•"/>
              <a:defRPr sz="1600">
                <a:solidFill>
                  <a:schemeClr val="tx1"/>
                </a:solidFill>
                <a:latin typeface="LTFrutiger Next CondReg" pitchFamily="2" charset="0"/>
              </a:defRPr>
            </a:lvl6pPr>
            <a:lvl7pPr marL="2971800" indent="-228600" defTabSz="798513" eaLnBrk="0" fontAlgn="base" hangingPunct="0">
              <a:lnSpc>
                <a:spcPct val="110000"/>
              </a:lnSpc>
              <a:spcBef>
                <a:spcPct val="0"/>
              </a:spcBef>
              <a:spcAft>
                <a:spcPct val="0"/>
              </a:spcAft>
              <a:buClr>
                <a:srgbClr val="0033CC"/>
              </a:buClr>
              <a:buSzPct val="110000"/>
              <a:buChar char="•"/>
              <a:defRPr sz="1600">
                <a:solidFill>
                  <a:schemeClr val="tx1"/>
                </a:solidFill>
                <a:latin typeface="LTFrutiger Next CondReg" pitchFamily="2" charset="0"/>
              </a:defRPr>
            </a:lvl7pPr>
            <a:lvl8pPr marL="3429000" indent="-228600" defTabSz="798513" eaLnBrk="0" fontAlgn="base" hangingPunct="0">
              <a:lnSpc>
                <a:spcPct val="110000"/>
              </a:lnSpc>
              <a:spcBef>
                <a:spcPct val="0"/>
              </a:spcBef>
              <a:spcAft>
                <a:spcPct val="0"/>
              </a:spcAft>
              <a:buClr>
                <a:srgbClr val="0033CC"/>
              </a:buClr>
              <a:buSzPct val="110000"/>
              <a:buChar char="•"/>
              <a:defRPr sz="1600">
                <a:solidFill>
                  <a:schemeClr val="tx1"/>
                </a:solidFill>
                <a:latin typeface="LTFrutiger Next CondReg" pitchFamily="2" charset="0"/>
              </a:defRPr>
            </a:lvl8pPr>
            <a:lvl9pPr marL="3886200" indent="-228600" defTabSz="798513" eaLnBrk="0" fontAlgn="base" hangingPunct="0">
              <a:lnSpc>
                <a:spcPct val="110000"/>
              </a:lnSpc>
              <a:spcBef>
                <a:spcPct val="0"/>
              </a:spcBef>
              <a:spcAft>
                <a:spcPct val="0"/>
              </a:spcAft>
              <a:buClr>
                <a:srgbClr val="0033CC"/>
              </a:buClr>
              <a:buSzPct val="110000"/>
              <a:buChar char="•"/>
              <a:defRPr sz="1600">
                <a:solidFill>
                  <a:schemeClr val="tx1"/>
                </a:solidFill>
                <a:latin typeface="LTFrutiger Next CondReg" pitchFamily="2" charset="0"/>
              </a:defRPr>
            </a:lvl9pPr>
          </a:lstStyle>
          <a:p>
            <a:pPr eaLnBrk="0" fontAlgn="base" hangingPunct="0">
              <a:spcBef>
                <a:spcPct val="50000"/>
              </a:spcBef>
              <a:spcAft>
                <a:spcPct val="0"/>
              </a:spcAft>
            </a:pPr>
            <a:r>
              <a:rPr lang="en-US" sz="1200">
                <a:solidFill>
                  <a:srgbClr val="000000"/>
                </a:solidFill>
                <a:latin typeface="Arial"/>
              </a:rPr>
              <a:t>Position 2</a:t>
            </a:r>
          </a:p>
        </p:txBody>
      </p:sp>
      <p:sp>
        <p:nvSpPr>
          <p:cNvPr id="60423" name="Text Box 6"/>
          <p:cNvSpPr txBox="1">
            <a:spLocks noChangeArrowheads="1"/>
          </p:cNvSpPr>
          <p:nvPr/>
        </p:nvSpPr>
        <p:spPr bwMode="auto">
          <a:xfrm>
            <a:off x="4762500" y="2197847"/>
            <a:ext cx="955431" cy="265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79826" tIns="39913" rIns="79826" bIns="39913">
            <a:spAutoFit/>
          </a:bodyPr>
          <a:lstStyle>
            <a:lvl1pPr marL="457200" indent="-457200" defTabSz="798513">
              <a:defRPr sz="1600">
                <a:solidFill>
                  <a:schemeClr val="tx1"/>
                </a:solidFill>
                <a:latin typeface="LTFrutiger Next CondReg" pitchFamily="2" charset="0"/>
              </a:defRPr>
            </a:lvl1pPr>
            <a:lvl2pPr marL="742950" indent="-285750" defTabSz="798513">
              <a:defRPr sz="1600">
                <a:solidFill>
                  <a:schemeClr val="tx1"/>
                </a:solidFill>
                <a:latin typeface="LTFrutiger Next CondReg" pitchFamily="2" charset="0"/>
              </a:defRPr>
            </a:lvl2pPr>
            <a:lvl3pPr marL="1143000" indent="-228600" defTabSz="798513">
              <a:defRPr sz="1600">
                <a:solidFill>
                  <a:schemeClr val="tx1"/>
                </a:solidFill>
                <a:latin typeface="LTFrutiger Next CondReg" pitchFamily="2" charset="0"/>
              </a:defRPr>
            </a:lvl3pPr>
            <a:lvl4pPr marL="1600200" indent="-228600" defTabSz="798513">
              <a:defRPr sz="1600">
                <a:solidFill>
                  <a:schemeClr val="tx1"/>
                </a:solidFill>
                <a:latin typeface="LTFrutiger Next CondReg" pitchFamily="2" charset="0"/>
              </a:defRPr>
            </a:lvl4pPr>
            <a:lvl5pPr marL="2057400" indent="-228600" defTabSz="798513">
              <a:defRPr sz="1600">
                <a:solidFill>
                  <a:schemeClr val="tx1"/>
                </a:solidFill>
                <a:latin typeface="LTFrutiger Next CondReg" pitchFamily="2" charset="0"/>
              </a:defRPr>
            </a:lvl5pPr>
            <a:lvl6pPr marL="2514600" indent="-228600" defTabSz="798513" eaLnBrk="0" fontAlgn="base" hangingPunct="0">
              <a:lnSpc>
                <a:spcPct val="110000"/>
              </a:lnSpc>
              <a:spcBef>
                <a:spcPct val="0"/>
              </a:spcBef>
              <a:spcAft>
                <a:spcPct val="0"/>
              </a:spcAft>
              <a:buClr>
                <a:srgbClr val="0033CC"/>
              </a:buClr>
              <a:buSzPct val="110000"/>
              <a:buChar char="•"/>
              <a:defRPr sz="1600">
                <a:solidFill>
                  <a:schemeClr val="tx1"/>
                </a:solidFill>
                <a:latin typeface="LTFrutiger Next CondReg" pitchFamily="2" charset="0"/>
              </a:defRPr>
            </a:lvl6pPr>
            <a:lvl7pPr marL="2971800" indent="-228600" defTabSz="798513" eaLnBrk="0" fontAlgn="base" hangingPunct="0">
              <a:lnSpc>
                <a:spcPct val="110000"/>
              </a:lnSpc>
              <a:spcBef>
                <a:spcPct val="0"/>
              </a:spcBef>
              <a:spcAft>
                <a:spcPct val="0"/>
              </a:spcAft>
              <a:buClr>
                <a:srgbClr val="0033CC"/>
              </a:buClr>
              <a:buSzPct val="110000"/>
              <a:buChar char="•"/>
              <a:defRPr sz="1600">
                <a:solidFill>
                  <a:schemeClr val="tx1"/>
                </a:solidFill>
                <a:latin typeface="LTFrutiger Next CondReg" pitchFamily="2" charset="0"/>
              </a:defRPr>
            </a:lvl7pPr>
            <a:lvl8pPr marL="3429000" indent="-228600" defTabSz="798513" eaLnBrk="0" fontAlgn="base" hangingPunct="0">
              <a:lnSpc>
                <a:spcPct val="110000"/>
              </a:lnSpc>
              <a:spcBef>
                <a:spcPct val="0"/>
              </a:spcBef>
              <a:spcAft>
                <a:spcPct val="0"/>
              </a:spcAft>
              <a:buClr>
                <a:srgbClr val="0033CC"/>
              </a:buClr>
              <a:buSzPct val="110000"/>
              <a:buChar char="•"/>
              <a:defRPr sz="1600">
                <a:solidFill>
                  <a:schemeClr val="tx1"/>
                </a:solidFill>
                <a:latin typeface="LTFrutiger Next CondReg" pitchFamily="2" charset="0"/>
              </a:defRPr>
            </a:lvl8pPr>
            <a:lvl9pPr marL="3886200" indent="-228600" defTabSz="798513" eaLnBrk="0" fontAlgn="base" hangingPunct="0">
              <a:lnSpc>
                <a:spcPct val="110000"/>
              </a:lnSpc>
              <a:spcBef>
                <a:spcPct val="0"/>
              </a:spcBef>
              <a:spcAft>
                <a:spcPct val="0"/>
              </a:spcAft>
              <a:buClr>
                <a:srgbClr val="0033CC"/>
              </a:buClr>
              <a:buSzPct val="110000"/>
              <a:buChar char="•"/>
              <a:defRPr sz="1600">
                <a:solidFill>
                  <a:schemeClr val="tx1"/>
                </a:solidFill>
                <a:latin typeface="LTFrutiger Next CondReg" pitchFamily="2" charset="0"/>
              </a:defRPr>
            </a:lvl9pPr>
          </a:lstStyle>
          <a:p>
            <a:pPr eaLnBrk="0" fontAlgn="base" hangingPunct="0">
              <a:spcBef>
                <a:spcPct val="50000"/>
              </a:spcBef>
              <a:spcAft>
                <a:spcPct val="0"/>
              </a:spcAft>
            </a:pPr>
            <a:r>
              <a:rPr lang="en-US" sz="1200">
                <a:solidFill>
                  <a:srgbClr val="000000"/>
                </a:solidFill>
                <a:latin typeface="Arial"/>
              </a:rPr>
              <a:t>Position 3</a:t>
            </a:r>
          </a:p>
        </p:txBody>
      </p:sp>
      <p:sp>
        <p:nvSpPr>
          <p:cNvPr id="60424" name="Text Box 7"/>
          <p:cNvSpPr txBox="1">
            <a:spLocks noChangeArrowheads="1"/>
          </p:cNvSpPr>
          <p:nvPr/>
        </p:nvSpPr>
        <p:spPr bwMode="auto">
          <a:xfrm>
            <a:off x="6729046" y="2212133"/>
            <a:ext cx="1182565" cy="265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79826" tIns="39913" rIns="79826" bIns="39913">
            <a:spAutoFit/>
          </a:bodyPr>
          <a:lstStyle>
            <a:lvl1pPr marL="457200" indent="-457200" defTabSz="798513">
              <a:defRPr sz="1600">
                <a:solidFill>
                  <a:schemeClr val="tx1"/>
                </a:solidFill>
                <a:latin typeface="LTFrutiger Next CondReg" pitchFamily="2" charset="0"/>
              </a:defRPr>
            </a:lvl1pPr>
            <a:lvl2pPr marL="742950" indent="-285750" defTabSz="798513">
              <a:defRPr sz="1600">
                <a:solidFill>
                  <a:schemeClr val="tx1"/>
                </a:solidFill>
                <a:latin typeface="LTFrutiger Next CondReg" pitchFamily="2" charset="0"/>
              </a:defRPr>
            </a:lvl2pPr>
            <a:lvl3pPr marL="1143000" indent="-228600" defTabSz="798513">
              <a:defRPr sz="1600">
                <a:solidFill>
                  <a:schemeClr val="tx1"/>
                </a:solidFill>
                <a:latin typeface="LTFrutiger Next CondReg" pitchFamily="2" charset="0"/>
              </a:defRPr>
            </a:lvl3pPr>
            <a:lvl4pPr marL="1600200" indent="-228600" defTabSz="798513">
              <a:defRPr sz="1600">
                <a:solidFill>
                  <a:schemeClr val="tx1"/>
                </a:solidFill>
                <a:latin typeface="LTFrutiger Next CondReg" pitchFamily="2" charset="0"/>
              </a:defRPr>
            </a:lvl4pPr>
            <a:lvl5pPr marL="2057400" indent="-228600" defTabSz="798513">
              <a:defRPr sz="1600">
                <a:solidFill>
                  <a:schemeClr val="tx1"/>
                </a:solidFill>
                <a:latin typeface="LTFrutiger Next CondReg" pitchFamily="2" charset="0"/>
              </a:defRPr>
            </a:lvl5pPr>
            <a:lvl6pPr marL="2514600" indent="-228600" defTabSz="798513" eaLnBrk="0" fontAlgn="base" hangingPunct="0">
              <a:lnSpc>
                <a:spcPct val="110000"/>
              </a:lnSpc>
              <a:spcBef>
                <a:spcPct val="0"/>
              </a:spcBef>
              <a:spcAft>
                <a:spcPct val="0"/>
              </a:spcAft>
              <a:buClr>
                <a:srgbClr val="0033CC"/>
              </a:buClr>
              <a:buSzPct val="110000"/>
              <a:buChar char="•"/>
              <a:defRPr sz="1600">
                <a:solidFill>
                  <a:schemeClr val="tx1"/>
                </a:solidFill>
                <a:latin typeface="LTFrutiger Next CondReg" pitchFamily="2" charset="0"/>
              </a:defRPr>
            </a:lvl6pPr>
            <a:lvl7pPr marL="2971800" indent="-228600" defTabSz="798513" eaLnBrk="0" fontAlgn="base" hangingPunct="0">
              <a:lnSpc>
                <a:spcPct val="110000"/>
              </a:lnSpc>
              <a:spcBef>
                <a:spcPct val="0"/>
              </a:spcBef>
              <a:spcAft>
                <a:spcPct val="0"/>
              </a:spcAft>
              <a:buClr>
                <a:srgbClr val="0033CC"/>
              </a:buClr>
              <a:buSzPct val="110000"/>
              <a:buChar char="•"/>
              <a:defRPr sz="1600">
                <a:solidFill>
                  <a:schemeClr val="tx1"/>
                </a:solidFill>
                <a:latin typeface="LTFrutiger Next CondReg" pitchFamily="2" charset="0"/>
              </a:defRPr>
            </a:lvl7pPr>
            <a:lvl8pPr marL="3429000" indent="-228600" defTabSz="798513" eaLnBrk="0" fontAlgn="base" hangingPunct="0">
              <a:lnSpc>
                <a:spcPct val="110000"/>
              </a:lnSpc>
              <a:spcBef>
                <a:spcPct val="0"/>
              </a:spcBef>
              <a:spcAft>
                <a:spcPct val="0"/>
              </a:spcAft>
              <a:buClr>
                <a:srgbClr val="0033CC"/>
              </a:buClr>
              <a:buSzPct val="110000"/>
              <a:buChar char="•"/>
              <a:defRPr sz="1600">
                <a:solidFill>
                  <a:schemeClr val="tx1"/>
                </a:solidFill>
                <a:latin typeface="LTFrutiger Next CondReg" pitchFamily="2" charset="0"/>
              </a:defRPr>
            </a:lvl8pPr>
            <a:lvl9pPr marL="3886200" indent="-228600" defTabSz="798513" eaLnBrk="0" fontAlgn="base" hangingPunct="0">
              <a:lnSpc>
                <a:spcPct val="110000"/>
              </a:lnSpc>
              <a:spcBef>
                <a:spcPct val="0"/>
              </a:spcBef>
              <a:spcAft>
                <a:spcPct val="0"/>
              </a:spcAft>
              <a:buClr>
                <a:srgbClr val="0033CC"/>
              </a:buClr>
              <a:buSzPct val="110000"/>
              <a:buChar char="•"/>
              <a:defRPr sz="1600">
                <a:solidFill>
                  <a:schemeClr val="tx1"/>
                </a:solidFill>
                <a:latin typeface="LTFrutiger Next CondReg" pitchFamily="2" charset="0"/>
              </a:defRPr>
            </a:lvl9pPr>
          </a:lstStyle>
          <a:p>
            <a:pPr eaLnBrk="0" fontAlgn="base" hangingPunct="0">
              <a:spcBef>
                <a:spcPct val="50000"/>
              </a:spcBef>
              <a:spcAft>
                <a:spcPct val="0"/>
              </a:spcAft>
            </a:pPr>
            <a:r>
              <a:rPr lang="en-US" sz="1200">
                <a:solidFill>
                  <a:srgbClr val="000000"/>
                </a:solidFill>
                <a:latin typeface="Arial"/>
              </a:rPr>
              <a:t>Optical section</a:t>
            </a:r>
          </a:p>
        </p:txBody>
      </p:sp>
      <p:pic>
        <p:nvPicPr>
          <p:cNvPr id="60425" name="Picture 3" descr="npo000037"/>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53611" y="2502646"/>
            <a:ext cx="1585546" cy="253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0426" name="Line 9"/>
          <p:cNvSpPr>
            <a:spLocks noChangeAspect="1" noChangeShapeType="1"/>
          </p:cNvSpPr>
          <p:nvPr/>
        </p:nvSpPr>
        <p:spPr bwMode="auto">
          <a:xfrm flipH="1">
            <a:off x="2203938" y="1844721"/>
            <a:ext cx="435218" cy="1077025"/>
          </a:xfrm>
          <a:prstGeom prst="line">
            <a:avLst/>
          </a:prstGeom>
          <a:noFill/>
          <a:ln w="50800">
            <a:solidFill>
              <a:srgbClr val="3399FF"/>
            </a:solidFill>
            <a:round/>
            <a:headEnd/>
            <a:tailEnd type="stealth"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8" tIns="45715" rIns="91428" bIns="45715"/>
          <a:lstStyle/>
          <a:p>
            <a:pPr eaLnBrk="0" fontAlgn="base" hangingPunct="0">
              <a:spcBef>
                <a:spcPct val="0"/>
              </a:spcBef>
              <a:spcAft>
                <a:spcPct val="0"/>
              </a:spcAft>
            </a:pPr>
            <a:endParaRPr lang="en-US" sz="1600">
              <a:solidFill>
                <a:srgbClr val="000000"/>
              </a:solidFill>
            </a:endParaRPr>
          </a:p>
        </p:txBody>
      </p:sp>
      <p:pic>
        <p:nvPicPr>
          <p:cNvPr id="60428" name="Picture 4" descr="npo000039"/>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2700703" y="2501059"/>
            <a:ext cx="1595804" cy="253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0429" name="Line 12"/>
          <p:cNvSpPr>
            <a:spLocks noChangeAspect="1" noChangeShapeType="1"/>
          </p:cNvSpPr>
          <p:nvPr/>
        </p:nvSpPr>
        <p:spPr bwMode="auto">
          <a:xfrm flipH="1">
            <a:off x="3940418" y="1860048"/>
            <a:ext cx="420566" cy="1036298"/>
          </a:xfrm>
          <a:prstGeom prst="line">
            <a:avLst/>
          </a:prstGeom>
          <a:noFill/>
          <a:ln w="50800">
            <a:solidFill>
              <a:srgbClr val="3399FF"/>
            </a:solidFill>
            <a:round/>
            <a:headEnd/>
            <a:tailEnd type="stealth"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8" tIns="45715" rIns="91428" bIns="45715"/>
          <a:lstStyle/>
          <a:p>
            <a:pPr eaLnBrk="0" fontAlgn="base" hangingPunct="0">
              <a:spcBef>
                <a:spcPct val="0"/>
              </a:spcBef>
              <a:spcAft>
                <a:spcPct val="0"/>
              </a:spcAft>
            </a:pPr>
            <a:endParaRPr lang="en-US" sz="1600">
              <a:solidFill>
                <a:srgbClr val="000000"/>
              </a:solidFill>
            </a:endParaRPr>
          </a:p>
        </p:txBody>
      </p:sp>
      <p:pic>
        <p:nvPicPr>
          <p:cNvPr id="60431" name="Picture 5" descr="npo00003b"/>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4360985" y="2504234"/>
            <a:ext cx="1589942" cy="25241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0432" name="Line 15"/>
          <p:cNvSpPr>
            <a:spLocks noChangeAspect="1" noChangeShapeType="1"/>
          </p:cNvSpPr>
          <p:nvPr/>
        </p:nvSpPr>
        <p:spPr bwMode="auto">
          <a:xfrm flipH="1">
            <a:off x="5606561" y="1844722"/>
            <a:ext cx="428162" cy="1059562"/>
          </a:xfrm>
          <a:prstGeom prst="line">
            <a:avLst/>
          </a:prstGeom>
          <a:noFill/>
          <a:ln w="50800">
            <a:solidFill>
              <a:srgbClr val="3399FF"/>
            </a:solidFill>
            <a:round/>
            <a:headEnd/>
            <a:tailEnd type="stealth"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8" tIns="45715" rIns="91428" bIns="45715"/>
          <a:lstStyle/>
          <a:p>
            <a:pPr eaLnBrk="0" fontAlgn="base" hangingPunct="0">
              <a:spcBef>
                <a:spcPct val="0"/>
              </a:spcBef>
              <a:spcAft>
                <a:spcPct val="0"/>
              </a:spcAft>
            </a:pPr>
            <a:endParaRPr lang="en-US" sz="1600">
              <a:solidFill>
                <a:srgbClr val="000000"/>
              </a:solidFill>
            </a:endParaRPr>
          </a:p>
        </p:txBody>
      </p:sp>
      <p:sp>
        <p:nvSpPr>
          <p:cNvPr id="60436" name="AutoShape 19"/>
          <p:cNvSpPr>
            <a:spLocks noChangeArrowheads="1"/>
          </p:cNvSpPr>
          <p:nvPr/>
        </p:nvSpPr>
        <p:spPr bwMode="auto">
          <a:xfrm>
            <a:off x="6027126" y="3752008"/>
            <a:ext cx="404446" cy="165100"/>
          </a:xfrm>
          <a:prstGeom prst="rightArrow">
            <a:avLst>
              <a:gd name="adj1" fmla="val 50000"/>
              <a:gd name="adj2" fmla="val 66346"/>
            </a:avLst>
          </a:prstGeom>
          <a:solidFill>
            <a:schemeClr val="accent2"/>
          </a:solidFill>
          <a:ln w="635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105444" tIns="52723" rIns="105444" bIns="52723" anchor="ctr"/>
          <a:lstStyle/>
          <a:p>
            <a:pPr eaLnBrk="0" fontAlgn="base" hangingPunct="0">
              <a:spcBef>
                <a:spcPct val="0"/>
              </a:spcBef>
              <a:spcAft>
                <a:spcPct val="0"/>
              </a:spcAft>
            </a:pPr>
            <a:endParaRPr lang="en-US" sz="1600">
              <a:solidFill>
                <a:srgbClr val="000000"/>
              </a:solidFill>
            </a:endParaRPr>
          </a:p>
        </p:txBody>
      </p:sp>
      <p:sp>
        <p:nvSpPr>
          <p:cNvPr id="5" name="TextBox 4"/>
          <p:cNvSpPr txBox="1"/>
          <p:nvPr/>
        </p:nvSpPr>
        <p:spPr>
          <a:xfrm>
            <a:off x="2553958" y="1451881"/>
            <a:ext cx="3529342" cy="390581"/>
          </a:xfrm>
          <a:prstGeom prst="rect">
            <a:avLst/>
          </a:prstGeom>
          <a:noFill/>
          <a:ln w="31750" cap="rnd">
            <a:solidFill>
              <a:srgbClr val="3399FF"/>
            </a:solidFill>
          </a:ln>
          <a:effectLst/>
        </p:spPr>
        <p:txBody>
          <a:bodyPr wrap="square" rtlCol="0">
            <a:noAutofit/>
          </a:bodyPr>
          <a:lstStyle/>
          <a:p>
            <a:pPr eaLnBrk="0" fontAlgn="base" hangingPunct="0">
              <a:spcBef>
                <a:spcPct val="0"/>
              </a:spcBef>
              <a:spcAft>
                <a:spcPct val="0"/>
              </a:spcAft>
            </a:pPr>
            <a:r>
              <a:rPr lang="en-US" sz="1600">
                <a:solidFill>
                  <a:srgbClr val="000000"/>
                </a:solidFill>
              </a:rPr>
              <a:t>No visible grid </a:t>
            </a:r>
            <a:r>
              <a:rPr lang="en-US" sz="1600">
                <a:solidFill>
                  <a:srgbClr val="000000"/>
                </a:solidFill>
                <a:sym typeface="Wingdings" pitchFamily="2" charset="2"/>
              </a:rPr>
              <a:t> out of focus light</a:t>
            </a:r>
            <a:endParaRPr lang="en-US" sz="1600" dirty="0">
              <a:solidFill>
                <a:srgbClr val="000000"/>
              </a:solidFill>
            </a:endParaRPr>
          </a:p>
        </p:txBody>
      </p:sp>
      <p:graphicFrame>
        <p:nvGraphicFramePr>
          <p:cNvPr id="8" name="Object 7"/>
          <p:cNvGraphicFramePr>
            <a:graphicFrameLocks noChangeAspect="1"/>
          </p:cNvGraphicFramePr>
          <p:nvPr>
            <p:extLst/>
          </p:nvPr>
        </p:nvGraphicFramePr>
        <p:xfrm>
          <a:off x="2013132" y="5762625"/>
          <a:ext cx="4275138" cy="420688"/>
        </p:xfrm>
        <a:graphic>
          <a:graphicData uri="http://schemas.openxmlformats.org/presentationml/2006/ole">
            <mc:AlternateContent xmlns:mc="http://schemas.openxmlformats.org/markup-compatibility/2006">
              <mc:Choice xmlns:v="urn:schemas-microsoft-com:vml" Requires="v">
                <p:oleObj spid="_x0000_s6146" name="Formel" r:id="rId8" imgW="2654300" imgH="304800" progId="Equation.3">
                  <p:embed/>
                </p:oleObj>
              </mc:Choice>
              <mc:Fallback>
                <p:oleObj name="Formel" r:id="rId8" imgW="2654300" imgH="304800" progId="Equation.3">
                  <p:embed/>
                  <p:pic>
                    <p:nvPicPr>
                      <p:cNvPr id="8" name="Object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013132" y="5762625"/>
                        <a:ext cx="4275138" cy="420688"/>
                      </a:xfrm>
                      <a:prstGeom prst="rect">
                        <a:avLst/>
                      </a:prstGeom>
                      <a:noFill/>
                      <a:ln>
                        <a:noFill/>
                      </a:ln>
                      <a:effectLst/>
                    </p:spPr>
                  </p:pic>
                </p:oleObj>
              </mc:Fallback>
            </mc:AlternateContent>
          </a:graphicData>
        </a:graphic>
      </p:graphicFrame>
      <p:sp>
        <p:nvSpPr>
          <p:cNvPr id="29" name="Line 9"/>
          <p:cNvSpPr>
            <a:spLocks noChangeAspect="1" noChangeShapeType="1"/>
          </p:cNvSpPr>
          <p:nvPr/>
        </p:nvSpPr>
        <p:spPr bwMode="auto">
          <a:xfrm rot="8220000" flipH="1">
            <a:off x="2178808" y="4352976"/>
            <a:ext cx="331554" cy="820491"/>
          </a:xfrm>
          <a:prstGeom prst="line">
            <a:avLst/>
          </a:prstGeom>
          <a:noFill/>
          <a:ln w="50800">
            <a:solidFill>
              <a:srgbClr val="FF0028"/>
            </a:solidFill>
            <a:round/>
            <a:headEnd/>
            <a:tailEnd type="stealth"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8" tIns="45715" rIns="91428" bIns="45715"/>
          <a:lstStyle/>
          <a:p>
            <a:pPr eaLnBrk="0" fontAlgn="base" hangingPunct="0">
              <a:spcBef>
                <a:spcPct val="0"/>
              </a:spcBef>
              <a:spcAft>
                <a:spcPct val="0"/>
              </a:spcAft>
            </a:pPr>
            <a:endParaRPr lang="en-US" sz="1600">
              <a:solidFill>
                <a:srgbClr val="000000"/>
              </a:solidFill>
            </a:endParaRPr>
          </a:p>
        </p:txBody>
      </p:sp>
      <p:sp>
        <p:nvSpPr>
          <p:cNvPr id="32" name="TextBox 31"/>
          <p:cNvSpPr txBox="1"/>
          <p:nvPr/>
        </p:nvSpPr>
        <p:spPr>
          <a:xfrm>
            <a:off x="2412793" y="5176316"/>
            <a:ext cx="3529342" cy="390581"/>
          </a:xfrm>
          <a:prstGeom prst="rect">
            <a:avLst/>
          </a:prstGeom>
          <a:noFill/>
          <a:ln w="31750" cap="rnd">
            <a:solidFill>
              <a:srgbClr val="FF0028"/>
            </a:solidFill>
          </a:ln>
          <a:effectLst/>
        </p:spPr>
        <p:txBody>
          <a:bodyPr wrap="square" rtlCol="0">
            <a:noAutofit/>
          </a:bodyPr>
          <a:lstStyle/>
          <a:p>
            <a:pPr eaLnBrk="0" fontAlgn="base" hangingPunct="0">
              <a:spcBef>
                <a:spcPct val="0"/>
              </a:spcBef>
              <a:spcAft>
                <a:spcPct val="0"/>
              </a:spcAft>
            </a:pPr>
            <a:r>
              <a:rPr lang="en-US" sz="1600" dirty="0">
                <a:solidFill>
                  <a:srgbClr val="000000"/>
                </a:solidFill>
              </a:rPr>
              <a:t>Visible grid </a:t>
            </a:r>
            <a:r>
              <a:rPr lang="en-US" sz="1600" dirty="0">
                <a:solidFill>
                  <a:srgbClr val="000000"/>
                </a:solidFill>
                <a:sym typeface="Wingdings" pitchFamily="2" charset="2"/>
              </a:rPr>
              <a:t> structures in focus</a:t>
            </a:r>
            <a:endParaRPr lang="en-US" sz="1600" dirty="0">
              <a:solidFill>
                <a:srgbClr val="000000"/>
              </a:solidFill>
            </a:endParaRPr>
          </a:p>
        </p:txBody>
      </p:sp>
      <p:sp>
        <p:nvSpPr>
          <p:cNvPr id="33" name="Line 9"/>
          <p:cNvSpPr>
            <a:spLocks noChangeAspect="1" noChangeShapeType="1"/>
          </p:cNvSpPr>
          <p:nvPr/>
        </p:nvSpPr>
        <p:spPr bwMode="auto">
          <a:xfrm rot="8220000" flipH="1">
            <a:off x="3530581" y="4480586"/>
            <a:ext cx="280166" cy="693322"/>
          </a:xfrm>
          <a:prstGeom prst="line">
            <a:avLst/>
          </a:prstGeom>
          <a:noFill/>
          <a:ln w="50800">
            <a:solidFill>
              <a:srgbClr val="FF0028"/>
            </a:solidFill>
            <a:round/>
            <a:headEnd/>
            <a:tailEnd type="stealth"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8" tIns="45715" rIns="91428" bIns="45715"/>
          <a:lstStyle/>
          <a:p>
            <a:pPr eaLnBrk="0" fontAlgn="base" hangingPunct="0">
              <a:spcBef>
                <a:spcPct val="0"/>
              </a:spcBef>
              <a:spcAft>
                <a:spcPct val="0"/>
              </a:spcAft>
            </a:pPr>
            <a:endParaRPr lang="en-US" sz="1600">
              <a:solidFill>
                <a:srgbClr val="000000"/>
              </a:solidFill>
            </a:endParaRPr>
          </a:p>
        </p:txBody>
      </p:sp>
      <p:sp>
        <p:nvSpPr>
          <p:cNvPr id="34" name="Line 9"/>
          <p:cNvSpPr>
            <a:spLocks noChangeAspect="1" noChangeShapeType="1"/>
          </p:cNvSpPr>
          <p:nvPr/>
        </p:nvSpPr>
        <p:spPr bwMode="auto">
          <a:xfrm rot="8220000" flipH="1">
            <a:off x="5237617" y="4568333"/>
            <a:ext cx="242244" cy="599478"/>
          </a:xfrm>
          <a:prstGeom prst="line">
            <a:avLst/>
          </a:prstGeom>
          <a:noFill/>
          <a:ln w="50800">
            <a:solidFill>
              <a:srgbClr val="FF0028"/>
            </a:solidFill>
            <a:round/>
            <a:headEnd/>
            <a:tailEnd type="stealth"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8" tIns="45715" rIns="91428" bIns="45715"/>
          <a:lstStyle/>
          <a:p>
            <a:pPr eaLnBrk="0" fontAlgn="base" hangingPunct="0">
              <a:spcBef>
                <a:spcPct val="0"/>
              </a:spcBef>
              <a:spcAft>
                <a:spcPct val="0"/>
              </a:spcAft>
            </a:pPr>
            <a:endParaRPr lang="en-US" sz="1600">
              <a:solidFill>
                <a:srgbClr val="000000"/>
              </a:solidFill>
            </a:endParaRPr>
          </a:p>
        </p:txBody>
      </p:sp>
    </p:spTree>
    <p:extLst>
      <p:ext uri="{BB962C8B-B14F-4D97-AF65-F5344CB8AC3E}">
        <p14:creationId xmlns:p14="http://schemas.microsoft.com/office/powerpoint/2010/main" val="175968440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3200" dirty="0"/>
              <a:t>Structured Illumination Microscopy (SIM)</a:t>
            </a:r>
            <a:br>
              <a:rPr lang="en-US" sz="3200" dirty="0"/>
            </a:br>
            <a:r>
              <a:rPr lang="en-US" sz="3200" dirty="0"/>
              <a:t>Option for wide-field microscope</a:t>
            </a:r>
          </a:p>
        </p:txBody>
      </p:sp>
      <p:sp>
        <p:nvSpPr>
          <p:cNvPr id="5" name="Text Placeholder 4"/>
          <p:cNvSpPr>
            <a:spLocks noGrp="1"/>
          </p:cNvSpPr>
          <p:nvPr>
            <p:ph type="body" idx="1"/>
          </p:nvPr>
        </p:nvSpPr>
        <p:spPr/>
        <p:txBody>
          <a:bodyPr/>
          <a:lstStyle/>
          <a:p>
            <a:r>
              <a:rPr lang="en-US" dirty="0"/>
              <a:t>Zeiss </a:t>
            </a:r>
            <a:r>
              <a:rPr lang="en-US" dirty="0" err="1"/>
              <a:t>Apotome</a:t>
            </a:r>
            <a:r>
              <a:rPr lang="en-US" dirty="0"/>
              <a:t> 2</a:t>
            </a:r>
          </a:p>
        </p:txBody>
      </p:sp>
      <p:sp>
        <p:nvSpPr>
          <p:cNvPr id="7" name="Text Placeholder 6"/>
          <p:cNvSpPr>
            <a:spLocks noGrp="1"/>
          </p:cNvSpPr>
          <p:nvPr>
            <p:ph type="body" sz="quarter" idx="3"/>
          </p:nvPr>
        </p:nvSpPr>
        <p:spPr/>
        <p:txBody>
          <a:bodyPr/>
          <a:lstStyle/>
          <a:p>
            <a:r>
              <a:rPr lang="en-US" dirty="0"/>
              <a:t>Keyence BZ-X700</a:t>
            </a:r>
          </a:p>
        </p:txBody>
      </p:sp>
      <p:pic>
        <p:nvPicPr>
          <p:cNvPr id="10" name="Content Placeholder 9"/>
          <p:cNvPicPr>
            <a:picLocks noGrp="1" noChangeAspect="1"/>
          </p:cNvPicPr>
          <p:nvPr>
            <p:ph sz="quarter" idx="4"/>
          </p:nvPr>
        </p:nvPicPr>
        <p:blipFill>
          <a:blip r:embed="rId3">
            <a:extLst>
              <a:ext uri="{28A0092B-C50C-407E-A947-70E740481C1C}">
                <a14:useLocalDpi xmlns:a14="http://schemas.microsoft.com/office/drawing/2010/main" val="0"/>
              </a:ext>
            </a:extLst>
          </a:blip>
          <a:stretch>
            <a:fillRect/>
          </a:stretch>
        </p:blipFill>
        <p:spPr>
          <a:xfrm>
            <a:off x="5173028" y="2505075"/>
            <a:ext cx="2800032" cy="3684588"/>
          </a:xfrm>
        </p:spPr>
      </p:pic>
      <p:pic>
        <p:nvPicPr>
          <p:cNvPr id="9" name="Picture 4" descr="npo000047"/>
          <p:cNvPicPr>
            <a:picLocks noGrp="1" noChangeAspect="1" noChangeArrowheads="1"/>
          </p:cNvPicPr>
          <p:nvPr>
            <p:ph sz="half" idx="2"/>
          </p:nvPr>
        </p:nvPicPr>
        <p:blipFill>
          <a:blip r:embed="rId4">
            <a:extLst>
              <a:ext uri="{28A0092B-C50C-407E-A947-70E740481C1C}">
                <a14:useLocalDpi xmlns:a14="http://schemas.microsoft.com/office/drawing/2010/main"/>
              </a:ext>
            </a:extLst>
          </a:blip>
          <a:srcRect/>
          <a:stretch>
            <a:fillRect/>
          </a:stretch>
        </p:blipFill>
        <p:spPr bwMode="auto">
          <a:xfrm>
            <a:off x="1069991" y="2505075"/>
            <a:ext cx="2989231" cy="36845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8053662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a:t>Spatial Resolution of Biological Imaging Techniques</a:t>
            </a:r>
          </a:p>
        </p:txBody>
      </p:sp>
      <p:pic>
        <p:nvPicPr>
          <p:cNvPr id="4" name="Content Placeholder 3"/>
          <p:cNvPicPr>
            <a:picLocks noGrp="1" noChangeAspect="1"/>
          </p:cNvPicPr>
          <p:nvPr>
            <p:ph idx="1"/>
          </p:nvPr>
        </p:nvPicPr>
        <p:blipFill rotWithShape="1">
          <a:blip r:embed="rId3">
            <a:extLst>
              <a:ext uri="{28A0092B-C50C-407E-A947-70E740481C1C}">
                <a14:useLocalDpi xmlns:a14="http://schemas.microsoft.com/office/drawing/2010/main" val="0"/>
              </a:ext>
            </a:extLst>
          </a:blip>
          <a:srcRect t="6749"/>
          <a:stretch/>
        </p:blipFill>
        <p:spPr>
          <a:xfrm>
            <a:off x="726510" y="1690689"/>
            <a:ext cx="6325643" cy="4286628"/>
          </a:xfrm>
        </p:spPr>
      </p:pic>
      <p:sp>
        <p:nvSpPr>
          <p:cNvPr id="5" name="Rectangle 4"/>
          <p:cNvSpPr/>
          <p:nvPr/>
        </p:nvSpPr>
        <p:spPr>
          <a:xfrm>
            <a:off x="5661764" y="5736921"/>
            <a:ext cx="989557" cy="33820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 name="Straight Arrow Connector 6"/>
          <p:cNvCxnSpPr/>
          <p:nvPr/>
        </p:nvCxnSpPr>
        <p:spPr>
          <a:xfrm>
            <a:off x="5736921" y="4285989"/>
            <a:ext cx="1240076" cy="0"/>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5736921" y="4893501"/>
            <a:ext cx="1240076" cy="0"/>
          </a:xfrm>
          <a:prstGeom prst="straightConnector1">
            <a:avLst/>
          </a:prstGeom>
          <a:ln w="38100">
            <a:solidFill>
              <a:schemeClr val="accent5"/>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5736921" y="5096005"/>
            <a:ext cx="1240076" cy="0"/>
          </a:xfrm>
          <a:prstGeom prst="straightConnector1">
            <a:avLst/>
          </a:prstGeom>
          <a:ln w="38100">
            <a:solidFill>
              <a:schemeClr val="accent5"/>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a:off x="5736921" y="5298509"/>
            <a:ext cx="1240076" cy="0"/>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6926893" y="3898819"/>
            <a:ext cx="2161297" cy="338554"/>
          </a:xfrm>
          <a:prstGeom prst="rect">
            <a:avLst/>
          </a:prstGeom>
          <a:noFill/>
        </p:spPr>
        <p:txBody>
          <a:bodyPr wrap="none" rtlCol="0">
            <a:spAutoFit/>
          </a:bodyPr>
          <a:lstStyle/>
          <a:p>
            <a:r>
              <a:rPr lang="en-US" sz="1600" dirty="0">
                <a:solidFill>
                  <a:srgbClr val="FF0000"/>
                </a:solidFill>
              </a:rPr>
              <a:t>“True” super-resolution</a:t>
            </a:r>
          </a:p>
        </p:txBody>
      </p:sp>
      <p:sp>
        <p:nvSpPr>
          <p:cNvPr id="14" name="TextBox 13"/>
          <p:cNvSpPr txBox="1"/>
          <p:nvPr/>
        </p:nvSpPr>
        <p:spPr>
          <a:xfrm>
            <a:off x="6976997" y="4310566"/>
            <a:ext cx="1229824" cy="338554"/>
          </a:xfrm>
          <a:prstGeom prst="rect">
            <a:avLst/>
          </a:prstGeom>
          <a:noFill/>
        </p:spPr>
        <p:txBody>
          <a:bodyPr wrap="none" rtlCol="0">
            <a:spAutoFit/>
          </a:bodyPr>
          <a:lstStyle/>
          <a:p>
            <a:r>
              <a:rPr lang="en-US" sz="1600" dirty="0">
                <a:solidFill>
                  <a:schemeClr val="accent5"/>
                </a:solidFill>
              </a:rPr>
              <a:t>“Functional”</a:t>
            </a:r>
          </a:p>
        </p:txBody>
      </p:sp>
    </p:spTree>
    <p:extLst>
      <p:ext uri="{BB962C8B-B14F-4D97-AF65-F5344CB8AC3E}">
        <p14:creationId xmlns:p14="http://schemas.microsoft.com/office/powerpoint/2010/main" val="16678885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t>Super-resolution structured illumination microscopy (SR-SIM)</a:t>
            </a:r>
          </a:p>
        </p:txBody>
      </p:sp>
      <p:sp>
        <p:nvSpPr>
          <p:cNvPr id="3" name="Content Placeholder 2"/>
          <p:cNvSpPr>
            <a:spLocks noGrp="1"/>
          </p:cNvSpPr>
          <p:nvPr>
            <p:ph sz="half" idx="1"/>
          </p:nvPr>
        </p:nvSpPr>
        <p:spPr/>
        <p:txBody>
          <a:bodyPr>
            <a:normAutofit fontScale="92500" lnSpcReduction="20000"/>
          </a:bodyPr>
          <a:lstStyle/>
          <a:p>
            <a:r>
              <a:rPr lang="en-US" dirty="0"/>
              <a:t>The visualization of fine spatial information via moiré fringes is illustrated by Figure 6, where panel (a) consists of fine spatial details of a portrait of Ernst Abbe that, upon mixing with the linear structure from panel (b), results in lower frequency moiré fringes that make the portrait much easier to recognize, as seen in Figure 6(c).</a:t>
            </a:r>
          </a:p>
        </p:txBody>
      </p:sp>
      <p:pic>
        <p:nvPicPr>
          <p:cNvPr id="5" name="Content Placeholder 4"/>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4629150" y="1825625"/>
            <a:ext cx="3886200" cy="2107406"/>
          </a:xfrm>
        </p:spPr>
      </p:pic>
    </p:spTree>
    <p:extLst>
      <p:ext uri="{BB962C8B-B14F-4D97-AF65-F5344CB8AC3E}">
        <p14:creationId xmlns:p14="http://schemas.microsoft.com/office/powerpoint/2010/main" val="40151837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t>How does super-resolution SIM differ from normal SIM?</a:t>
            </a:r>
          </a:p>
        </p:txBody>
      </p:sp>
      <p:sp>
        <p:nvSpPr>
          <p:cNvPr id="3" name="Content Placeholder 2"/>
          <p:cNvSpPr>
            <a:spLocks noGrp="1"/>
          </p:cNvSpPr>
          <p:nvPr>
            <p:ph idx="1"/>
          </p:nvPr>
        </p:nvSpPr>
        <p:spPr/>
        <p:txBody>
          <a:bodyPr>
            <a:normAutofit/>
          </a:bodyPr>
          <a:lstStyle/>
          <a:p>
            <a:r>
              <a:rPr lang="en-US" sz="2400" dirty="0"/>
              <a:t>It’s all due to the number of different gratings</a:t>
            </a:r>
          </a:p>
          <a:p>
            <a:r>
              <a:rPr lang="en-US" sz="2400" dirty="0"/>
              <a:t>Zeiss </a:t>
            </a:r>
            <a:r>
              <a:rPr lang="en-US" sz="2400" dirty="0" err="1"/>
              <a:t>Apotome</a:t>
            </a:r>
            <a:r>
              <a:rPr lang="en-US" sz="2400" dirty="0"/>
              <a:t> uses 1 grating</a:t>
            </a:r>
          </a:p>
          <a:p>
            <a:r>
              <a:rPr lang="en-US" sz="2400" dirty="0"/>
              <a:t>Keyence uses up to 2 gratings</a:t>
            </a:r>
          </a:p>
          <a:p>
            <a:r>
              <a:rPr lang="en-US" sz="2400" dirty="0"/>
              <a:t>For super-resolution Mats </a:t>
            </a:r>
            <a:r>
              <a:rPr lang="en-US" sz="2400" dirty="0" err="1"/>
              <a:t>Gustafsson</a:t>
            </a:r>
            <a:r>
              <a:rPr lang="en-US" sz="2400" dirty="0"/>
              <a:t> found that 3 different grating orientations were required (gratings </a:t>
            </a:r>
            <a:r>
              <a:rPr lang="en-US" sz="2400" u="sng" dirty="0"/>
              <a:t>finer</a:t>
            </a:r>
            <a:r>
              <a:rPr lang="en-US" sz="2400" dirty="0"/>
              <a:t> also)</a:t>
            </a:r>
          </a:p>
        </p:txBody>
      </p:sp>
      <p:grpSp>
        <p:nvGrpSpPr>
          <p:cNvPr id="22" name="Group 21"/>
          <p:cNvGrpSpPr/>
          <p:nvPr/>
        </p:nvGrpSpPr>
        <p:grpSpPr>
          <a:xfrm>
            <a:off x="6217920" y="2262554"/>
            <a:ext cx="675249" cy="339969"/>
            <a:chOff x="6217920" y="2403231"/>
            <a:chExt cx="675249" cy="339969"/>
          </a:xfrm>
        </p:grpSpPr>
        <p:sp>
          <p:nvSpPr>
            <p:cNvPr id="4" name="Rectangle 3"/>
            <p:cNvSpPr/>
            <p:nvPr/>
          </p:nvSpPr>
          <p:spPr>
            <a:xfrm>
              <a:off x="6217920" y="2403231"/>
              <a:ext cx="675249" cy="33996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p:cNvCxnSpPr/>
            <p:nvPr/>
          </p:nvCxnSpPr>
          <p:spPr>
            <a:xfrm flipH="1">
              <a:off x="6307015" y="2403231"/>
              <a:ext cx="1" cy="339969"/>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6435968" y="2403231"/>
              <a:ext cx="1" cy="339969"/>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H="1">
              <a:off x="6564921" y="2403231"/>
              <a:ext cx="1" cy="339969"/>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H="1">
              <a:off x="6693874" y="2403231"/>
              <a:ext cx="1" cy="339969"/>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6822827" y="2403231"/>
              <a:ext cx="1" cy="339969"/>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21" name="Group 20"/>
          <p:cNvGrpSpPr/>
          <p:nvPr/>
        </p:nvGrpSpPr>
        <p:grpSpPr>
          <a:xfrm>
            <a:off x="7273288" y="2778369"/>
            <a:ext cx="675251" cy="339969"/>
            <a:chOff x="7273288" y="2403231"/>
            <a:chExt cx="675251" cy="339969"/>
          </a:xfrm>
        </p:grpSpPr>
        <p:sp>
          <p:nvSpPr>
            <p:cNvPr id="16" name="Rectangle 15"/>
            <p:cNvSpPr/>
            <p:nvPr/>
          </p:nvSpPr>
          <p:spPr>
            <a:xfrm>
              <a:off x="7273290" y="2403231"/>
              <a:ext cx="675249" cy="33996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p:cNvCxnSpPr/>
            <p:nvPr/>
          </p:nvCxnSpPr>
          <p:spPr>
            <a:xfrm>
              <a:off x="7273290" y="2466536"/>
              <a:ext cx="67524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7273289" y="2580836"/>
              <a:ext cx="67524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7273288" y="2695136"/>
              <a:ext cx="675249"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23" name="Group 22"/>
          <p:cNvGrpSpPr/>
          <p:nvPr/>
        </p:nvGrpSpPr>
        <p:grpSpPr>
          <a:xfrm>
            <a:off x="6217919" y="2785989"/>
            <a:ext cx="675249" cy="339969"/>
            <a:chOff x="6217920" y="2403231"/>
            <a:chExt cx="675249" cy="339969"/>
          </a:xfrm>
        </p:grpSpPr>
        <p:sp>
          <p:nvSpPr>
            <p:cNvPr id="24" name="Rectangle 23"/>
            <p:cNvSpPr/>
            <p:nvPr/>
          </p:nvSpPr>
          <p:spPr>
            <a:xfrm>
              <a:off x="6217920" y="2403231"/>
              <a:ext cx="675249" cy="33996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5" name="Straight Connector 24"/>
            <p:cNvCxnSpPr/>
            <p:nvPr/>
          </p:nvCxnSpPr>
          <p:spPr>
            <a:xfrm flipH="1">
              <a:off x="6307015" y="2403231"/>
              <a:ext cx="1" cy="339969"/>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6435968" y="2403231"/>
              <a:ext cx="1" cy="339969"/>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H="1">
              <a:off x="6564921" y="2403231"/>
              <a:ext cx="1" cy="339969"/>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a:off x="6693874" y="2403231"/>
              <a:ext cx="1" cy="339969"/>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6822827" y="2403231"/>
              <a:ext cx="1" cy="339969"/>
            </a:xfrm>
            <a:prstGeom prst="line">
              <a:avLst/>
            </a:prstGeom>
          </p:spPr>
          <p:style>
            <a:lnRef idx="1">
              <a:schemeClr val="accent1"/>
            </a:lnRef>
            <a:fillRef idx="0">
              <a:schemeClr val="accent1"/>
            </a:fillRef>
            <a:effectRef idx="0">
              <a:schemeClr val="accent1"/>
            </a:effectRef>
            <a:fontRef idx="minor">
              <a:schemeClr val="tx1"/>
            </a:fontRef>
          </p:style>
        </p:cxnSp>
      </p:grpSp>
      <p:pic>
        <p:nvPicPr>
          <p:cNvPr id="30" name="Picture 29"/>
          <p:cNvPicPr>
            <a:picLocks noChangeAspect="1"/>
          </p:cNvPicPr>
          <p:nvPr/>
        </p:nvPicPr>
        <p:blipFill>
          <a:blip r:embed="rId3"/>
          <a:stretch>
            <a:fillRect/>
          </a:stretch>
        </p:blipFill>
        <p:spPr>
          <a:xfrm>
            <a:off x="912456" y="4608896"/>
            <a:ext cx="6243601" cy="1659800"/>
          </a:xfrm>
          <a:prstGeom prst="rect">
            <a:avLst/>
          </a:prstGeom>
        </p:spPr>
      </p:pic>
    </p:spTree>
    <p:extLst>
      <p:ext uri="{BB962C8B-B14F-4D97-AF65-F5344CB8AC3E}">
        <p14:creationId xmlns:p14="http://schemas.microsoft.com/office/powerpoint/2010/main" val="11981561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ormAutofit/>
          </a:bodyPr>
          <a:lstStyle/>
          <a:p>
            <a:r>
              <a:rPr lang="en-US" sz="3200" dirty="0"/>
              <a:t>Questions about last lecture?</a:t>
            </a:r>
          </a:p>
        </p:txBody>
      </p:sp>
    </p:spTree>
    <p:extLst>
      <p:ext uri="{BB962C8B-B14F-4D97-AF65-F5344CB8AC3E}">
        <p14:creationId xmlns:p14="http://schemas.microsoft.com/office/powerpoint/2010/main" val="7216507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t>Examples of SR-SIM images from </a:t>
            </a:r>
            <a:r>
              <a:rPr lang="en-US" sz="3200" dirty="0" err="1"/>
              <a:t>Gustafsson</a:t>
            </a:r>
            <a:endParaRPr lang="en-US" sz="3200" dirty="0"/>
          </a:p>
        </p:txBody>
      </p:sp>
      <p:sp>
        <p:nvSpPr>
          <p:cNvPr id="8" name="Text Placeholder 7"/>
          <p:cNvSpPr>
            <a:spLocks noGrp="1"/>
          </p:cNvSpPr>
          <p:nvPr>
            <p:ph type="body" idx="1"/>
          </p:nvPr>
        </p:nvSpPr>
        <p:spPr/>
        <p:txBody>
          <a:bodyPr/>
          <a:lstStyle/>
          <a:p>
            <a:r>
              <a:rPr lang="en-US" dirty="0"/>
              <a:t>121 nm beads</a:t>
            </a:r>
          </a:p>
        </p:txBody>
      </p:sp>
      <p:pic>
        <p:nvPicPr>
          <p:cNvPr id="6" name="Content Placeholder 5"/>
          <p:cNvPicPr>
            <a:picLocks noGrp="1" noChangeAspect="1"/>
          </p:cNvPicPr>
          <p:nvPr>
            <p:ph sz="half" idx="2"/>
          </p:nvPr>
        </p:nvPicPr>
        <p:blipFill>
          <a:blip r:embed="rId3"/>
          <a:stretch>
            <a:fillRect/>
          </a:stretch>
        </p:blipFill>
        <p:spPr>
          <a:xfrm>
            <a:off x="630238" y="2516798"/>
            <a:ext cx="3868737" cy="2286011"/>
          </a:xfrm>
          <a:prstGeom prst="rect">
            <a:avLst/>
          </a:prstGeom>
        </p:spPr>
      </p:pic>
      <p:sp>
        <p:nvSpPr>
          <p:cNvPr id="9" name="Text Placeholder 8"/>
          <p:cNvSpPr>
            <a:spLocks noGrp="1"/>
          </p:cNvSpPr>
          <p:nvPr>
            <p:ph type="body" sz="quarter" idx="3"/>
          </p:nvPr>
        </p:nvSpPr>
        <p:spPr/>
        <p:txBody>
          <a:bodyPr/>
          <a:lstStyle/>
          <a:p>
            <a:r>
              <a:rPr lang="en-US" dirty="0"/>
              <a:t>Actin cytoskeleton</a:t>
            </a:r>
          </a:p>
        </p:txBody>
      </p:sp>
      <p:pic>
        <p:nvPicPr>
          <p:cNvPr id="7" name="Content Placeholder 6"/>
          <p:cNvPicPr>
            <a:picLocks noGrp="1" noChangeAspect="1"/>
          </p:cNvPicPr>
          <p:nvPr>
            <p:ph sz="quarter" idx="4"/>
          </p:nvPr>
        </p:nvPicPr>
        <p:blipFill>
          <a:blip r:embed="rId4"/>
          <a:stretch>
            <a:fillRect/>
          </a:stretch>
        </p:blipFill>
        <p:spPr>
          <a:xfrm>
            <a:off x="4629150" y="2526985"/>
            <a:ext cx="3887788" cy="3640768"/>
          </a:xfrm>
          <a:prstGeom prst="rect">
            <a:avLst/>
          </a:prstGeom>
        </p:spPr>
      </p:pic>
    </p:spTree>
    <p:extLst>
      <p:ext uri="{BB962C8B-B14F-4D97-AF65-F5344CB8AC3E}">
        <p14:creationId xmlns:p14="http://schemas.microsoft.com/office/powerpoint/2010/main" val="13882424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t>3D SR-SIM uses SLM from </a:t>
            </a:r>
            <a:r>
              <a:rPr lang="en-US" sz="3200" dirty="0" err="1"/>
              <a:t>Gustafsson</a:t>
            </a:r>
            <a:r>
              <a:rPr lang="en-US" sz="3200" dirty="0"/>
              <a:t> (2011)</a:t>
            </a:r>
          </a:p>
        </p:txBody>
      </p:sp>
      <p:pic>
        <p:nvPicPr>
          <p:cNvPr id="6" name="Content Placeholder 5"/>
          <p:cNvPicPr>
            <a:picLocks noGrp="1" noChangeAspect="1"/>
          </p:cNvPicPr>
          <p:nvPr>
            <p:ph sz="half" idx="1"/>
          </p:nvPr>
        </p:nvPicPr>
        <p:blipFill>
          <a:blip r:embed="rId5" cstate="print">
            <a:extLst>
              <a:ext uri="{28A0092B-C50C-407E-A947-70E740481C1C}">
                <a14:useLocalDpi xmlns:a14="http://schemas.microsoft.com/office/drawing/2010/main" val="0"/>
              </a:ext>
            </a:extLst>
          </a:blip>
          <a:stretch>
            <a:fillRect/>
          </a:stretch>
        </p:blipFill>
        <p:spPr>
          <a:xfrm>
            <a:off x="447999" y="1714135"/>
            <a:ext cx="4804512" cy="4123957"/>
          </a:xfrm>
        </p:spPr>
      </p:pic>
      <p:pic>
        <p:nvPicPr>
          <p:cNvPr id="5" name="nmeth.1734-S7">
            <a:hlinkClick r:id="" action="ppaction://media"/>
          </p:cNvPr>
          <p:cNvPicPr>
            <a:picLocks noGrp="1" noChangeAspect="1"/>
          </p:cNvPicPr>
          <p:nvPr>
            <p:ph sz="half" idx="2"/>
            <a:videoFile r:link="rId2"/>
            <p:extLst>
              <p:ext uri="{DAA4B4D4-6D71-4841-9C94-3DE7FCFB9230}">
                <p14:media xmlns:p14="http://schemas.microsoft.com/office/powerpoint/2010/main" r:embed="rId1"/>
              </p:ext>
            </p:extLst>
          </p:nvPr>
        </p:nvPicPr>
        <p:blipFill>
          <a:blip r:embed="rId6"/>
          <a:stretch>
            <a:fillRect/>
          </a:stretch>
        </p:blipFill>
        <p:spPr>
          <a:xfrm>
            <a:off x="5551488" y="1825624"/>
            <a:ext cx="2256081" cy="4812389"/>
          </a:xfrm>
        </p:spPr>
      </p:pic>
      <p:sp>
        <p:nvSpPr>
          <p:cNvPr id="7" name="TextBox 6"/>
          <p:cNvSpPr txBox="1"/>
          <p:nvPr/>
        </p:nvSpPr>
        <p:spPr>
          <a:xfrm>
            <a:off x="354214" y="6327296"/>
            <a:ext cx="4538935" cy="369332"/>
          </a:xfrm>
          <a:prstGeom prst="rect">
            <a:avLst/>
          </a:prstGeom>
          <a:noFill/>
        </p:spPr>
        <p:txBody>
          <a:bodyPr wrap="none" rtlCol="0">
            <a:spAutoFit/>
          </a:bodyPr>
          <a:lstStyle/>
          <a:p>
            <a:r>
              <a:rPr lang="en-US" dirty="0" err="1"/>
              <a:t>MitoTracker</a:t>
            </a:r>
            <a:r>
              <a:rPr lang="en-US" dirty="0"/>
              <a:t> Green acquired at 20 sec intervals</a:t>
            </a:r>
          </a:p>
        </p:txBody>
      </p:sp>
    </p:spTree>
    <p:extLst>
      <p:ext uri="{BB962C8B-B14F-4D97-AF65-F5344CB8AC3E}">
        <p14:creationId xmlns:p14="http://schemas.microsoft.com/office/powerpoint/2010/main" val="42623325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2500"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200" dirty="0"/>
              <a:t>SR-SIM can get even better with TIRF + high NA lens (1.7) + reversibly </a:t>
            </a:r>
            <a:r>
              <a:rPr lang="en-US" sz="3200" dirty="0" err="1"/>
              <a:t>photoswitchable</a:t>
            </a:r>
            <a:r>
              <a:rPr lang="en-US" sz="3200" dirty="0"/>
              <a:t> fluorescent protein</a:t>
            </a:r>
          </a:p>
        </p:txBody>
      </p:sp>
      <p:pic>
        <p:nvPicPr>
          <p:cNvPr id="6" name="Content Placeholder 5"/>
          <p:cNvPicPr>
            <a:picLocks noGrp="1" noChangeAspect="1"/>
          </p:cNvPicPr>
          <p:nvPr>
            <p:ph idx="1"/>
          </p:nvPr>
        </p:nvPicPr>
        <p:blipFill rotWithShape="1">
          <a:blip r:embed="rId3" cstate="print">
            <a:extLst>
              <a:ext uri="{28A0092B-C50C-407E-A947-70E740481C1C}">
                <a14:useLocalDpi xmlns:a14="http://schemas.microsoft.com/office/drawing/2010/main" val="0"/>
              </a:ext>
            </a:extLst>
          </a:blip>
          <a:srcRect b="48862"/>
          <a:stretch/>
        </p:blipFill>
        <p:spPr>
          <a:xfrm>
            <a:off x="769033" y="2162529"/>
            <a:ext cx="7790335" cy="3874856"/>
          </a:xfrm>
        </p:spPr>
      </p:pic>
      <p:sp>
        <p:nvSpPr>
          <p:cNvPr id="7" name="TextBox 6"/>
          <p:cNvSpPr txBox="1"/>
          <p:nvPr/>
        </p:nvSpPr>
        <p:spPr>
          <a:xfrm>
            <a:off x="4664200" y="1793197"/>
            <a:ext cx="585417" cy="369332"/>
          </a:xfrm>
          <a:prstGeom prst="rect">
            <a:avLst/>
          </a:prstGeom>
          <a:noFill/>
        </p:spPr>
        <p:txBody>
          <a:bodyPr wrap="none" rtlCol="0">
            <a:spAutoFit/>
          </a:bodyPr>
          <a:lstStyle/>
          <a:p>
            <a:r>
              <a:rPr lang="en-US" dirty="0"/>
              <a:t>TIRF</a:t>
            </a:r>
          </a:p>
        </p:txBody>
      </p:sp>
      <p:sp>
        <p:nvSpPr>
          <p:cNvPr id="8" name="TextBox 7"/>
          <p:cNvSpPr txBox="1"/>
          <p:nvPr/>
        </p:nvSpPr>
        <p:spPr>
          <a:xfrm>
            <a:off x="6586016" y="1793197"/>
            <a:ext cx="2151679" cy="369332"/>
          </a:xfrm>
          <a:prstGeom prst="rect">
            <a:avLst/>
          </a:prstGeom>
          <a:noFill/>
        </p:spPr>
        <p:txBody>
          <a:bodyPr wrap="none" rtlCol="0">
            <a:spAutoFit/>
          </a:bodyPr>
          <a:lstStyle/>
          <a:p>
            <a:r>
              <a:rPr lang="en-US" dirty="0"/>
              <a:t>TIRF + deconvolution</a:t>
            </a:r>
          </a:p>
        </p:txBody>
      </p:sp>
      <p:sp>
        <p:nvSpPr>
          <p:cNvPr id="9" name="TextBox 8"/>
          <p:cNvSpPr txBox="1"/>
          <p:nvPr/>
        </p:nvSpPr>
        <p:spPr>
          <a:xfrm>
            <a:off x="4664199" y="6037385"/>
            <a:ext cx="1016625" cy="369332"/>
          </a:xfrm>
          <a:prstGeom prst="rect">
            <a:avLst/>
          </a:prstGeom>
          <a:noFill/>
        </p:spPr>
        <p:txBody>
          <a:bodyPr wrap="none" rtlCol="0">
            <a:spAutoFit/>
          </a:bodyPr>
          <a:lstStyle/>
          <a:p>
            <a:r>
              <a:rPr lang="en-US" dirty="0"/>
              <a:t>TIRF-SIM</a:t>
            </a:r>
          </a:p>
        </p:txBody>
      </p:sp>
      <p:sp>
        <p:nvSpPr>
          <p:cNvPr id="10" name="TextBox 9"/>
          <p:cNvSpPr txBox="1"/>
          <p:nvPr/>
        </p:nvSpPr>
        <p:spPr>
          <a:xfrm>
            <a:off x="6586016" y="6016856"/>
            <a:ext cx="1167948" cy="369332"/>
          </a:xfrm>
          <a:prstGeom prst="rect">
            <a:avLst/>
          </a:prstGeom>
          <a:noFill/>
        </p:spPr>
        <p:txBody>
          <a:bodyPr wrap="none" rtlCol="0">
            <a:spAutoFit/>
          </a:bodyPr>
          <a:lstStyle/>
          <a:p>
            <a:r>
              <a:rPr lang="en-US" dirty="0"/>
              <a:t>PA-NL-SIM</a:t>
            </a:r>
          </a:p>
        </p:txBody>
      </p:sp>
    </p:spTree>
    <p:extLst>
      <p:ext uri="{BB962C8B-B14F-4D97-AF65-F5344CB8AC3E}">
        <p14:creationId xmlns:p14="http://schemas.microsoft.com/office/powerpoint/2010/main" val="22689457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200" dirty="0"/>
              <a:t>SR-SIM can get even better with TIRF + high NA lens (1.7) + reversibly </a:t>
            </a:r>
            <a:r>
              <a:rPr lang="en-US" sz="3200" dirty="0" err="1"/>
              <a:t>photoswitchable</a:t>
            </a:r>
            <a:r>
              <a:rPr lang="en-US" sz="3200" dirty="0"/>
              <a:t> fluorescent protein</a:t>
            </a:r>
          </a:p>
        </p:txBody>
      </p:sp>
      <p:pic>
        <p:nvPicPr>
          <p:cNvPr id="6" name="Content Placeholder 5"/>
          <p:cNvPicPr>
            <a:picLocks noGrp="1" noChangeAspect="1"/>
          </p:cNvPicPr>
          <p:nvPr>
            <p:ph idx="1"/>
          </p:nvPr>
        </p:nvPicPr>
        <p:blipFill rotWithShape="1">
          <a:blip r:embed="rId3" cstate="print">
            <a:extLst>
              <a:ext uri="{28A0092B-C50C-407E-A947-70E740481C1C}">
                <a14:useLocalDpi xmlns:a14="http://schemas.microsoft.com/office/drawing/2010/main" val="0"/>
              </a:ext>
            </a:extLst>
          </a:blip>
          <a:srcRect t="51446" r="34074"/>
          <a:stretch/>
        </p:blipFill>
        <p:spPr>
          <a:xfrm>
            <a:off x="736408" y="2191691"/>
            <a:ext cx="5397012" cy="3866161"/>
          </a:xfrm>
        </p:spPr>
      </p:pic>
      <p:sp>
        <p:nvSpPr>
          <p:cNvPr id="8" name="TextBox 7"/>
          <p:cNvSpPr txBox="1"/>
          <p:nvPr/>
        </p:nvSpPr>
        <p:spPr>
          <a:xfrm>
            <a:off x="712962" y="1880298"/>
            <a:ext cx="2287486" cy="369332"/>
          </a:xfrm>
          <a:prstGeom prst="rect">
            <a:avLst/>
          </a:prstGeom>
          <a:noFill/>
        </p:spPr>
        <p:txBody>
          <a:bodyPr wrap="none" rtlCol="0">
            <a:spAutoFit/>
          </a:bodyPr>
          <a:lstStyle/>
          <a:p>
            <a:r>
              <a:rPr lang="en-US" dirty="0"/>
              <a:t>TIRF + </a:t>
            </a:r>
            <a:r>
              <a:rPr lang="en-US" dirty="0" err="1"/>
              <a:t>decon</a:t>
            </a:r>
            <a:r>
              <a:rPr lang="en-US" dirty="0"/>
              <a:t> (220 nm)</a:t>
            </a:r>
          </a:p>
        </p:txBody>
      </p:sp>
      <p:sp>
        <p:nvSpPr>
          <p:cNvPr id="9" name="TextBox 8"/>
          <p:cNvSpPr txBox="1"/>
          <p:nvPr/>
        </p:nvSpPr>
        <p:spPr>
          <a:xfrm>
            <a:off x="3434914" y="1871796"/>
            <a:ext cx="1803699" cy="369332"/>
          </a:xfrm>
          <a:prstGeom prst="rect">
            <a:avLst/>
          </a:prstGeom>
          <a:noFill/>
        </p:spPr>
        <p:txBody>
          <a:bodyPr wrap="none" rtlCol="0">
            <a:spAutoFit/>
          </a:bodyPr>
          <a:lstStyle/>
          <a:p>
            <a:r>
              <a:rPr lang="en-US" dirty="0"/>
              <a:t>TIRF-SIM (97 nm)</a:t>
            </a:r>
          </a:p>
        </p:txBody>
      </p:sp>
      <p:sp>
        <p:nvSpPr>
          <p:cNvPr id="10" name="TextBox 9"/>
          <p:cNvSpPr txBox="1"/>
          <p:nvPr/>
        </p:nvSpPr>
        <p:spPr>
          <a:xfrm>
            <a:off x="712962" y="6066596"/>
            <a:ext cx="1955022" cy="369332"/>
          </a:xfrm>
          <a:prstGeom prst="rect">
            <a:avLst/>
          </a:prstGeom>
          <a:noFill/>
        </p:spPr>
        <p:txBody>
          <a:bodyPr wrap="none" rtlCol="0">
            <a:spAutoFit/>
          </a:bodyPr>
          <a:lstStyle/>
          <a:p>
            <a:r>
              <a:rPr lang="en-US" dirty="0"/>
              <a:t>PA-NL-SIM (62 nm)</a:t>
            </a:r>
          </a:p>
        </p:txBody>
      </p:sp>
      <p:sp>
        <p:nvSpPr>
          <p:cNvPr id="11" name="TextBox 10"/>
          <p:cNvSpPr txBox="1"/>
          <p:nvPr/>
        </p:nvSpPr>
        <p:spPr>
          <a:xfrm>
            <a:off x="3351214" y="6057852"/>
            <a:ext cx="2557495" cy="369332"/>
          </a:xfrm>
          <a:prstGeom prst="rect">
            <a:avLst/>
          </a:prstGeom>
          <a:noFill/>
        </p:spPr>
        <p:txBody>
          <a:bodyPr wrap="none" rtlCol="0">
            <a:spAutoFit/>
          </a:bodyPr>
          <a:lstStyle/>
          <a:p>
            <a:r>
              <a:rPr lang="en-US" dirty="0"/>
              <a:t>Saturated PA-NL-SIM (45)</a:t>
            </a:r>
          </a:p>
        </p:txBody>
      </p:sp>
    </p:spTree>
    <p:extLst>
      <p:ext uri="{BB962C8B-B14F-4D97-AF65-F5344CB8AC3E}">
        <p14:creationId xmlns:p14="http://schemas.microsoft.com/office/powerpoint/2010/main" val="139114270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2400" dirty="0" err="1"/>
              <a:t>Schermelleh</a:t>
            </a:r>
            <a:r>
              <a:rPr lang="en-US" sz="2400" dirty="0"/>
              <a:t>, L., </a:t>
            </a:r>
            <a:r>
              <a:rPr lang="en-US" sz="2400" dirty="0" err="1"/>
              <a:t>Heintzmann</a:t>
            </a:r>
            <a:r>
              <a:rPr lang="en-US" sz="2400" dirty="0"/>
              <a:t>, R., </a:t>
            </a:r>
            <a:r>
              <a:rPr lang="en-US" sz="2400" dirty="0" err="1"/>
              <a:t>Leonhardt</a:t>
            </a:r>
            <a:r>
              <a:rPr lang="en-US" sz="2400" dirty="0"/>
              <a:t>, H., 2010. A guide to super-resolution fluorescence microscopy. The Journal of Cell Biology 190, 165-175.</a:t>
            </a:r>
            <a:br>
              <a:rPr lang="en-US" sz="2400" dirty="0"/>
            </a:br>
            <a:endParaRPr lang="en-US" sz="2400" dirty="0"/>
          </a:p>
        </p:txBody>
      </p:sp>
      <p:pic>
        <p:nvPicPr>
          <p:cNvPr id="6" name="Content Placeholder 5"/>
          <p:cNvPicPr>
            <a:picLocks noGrp="1" noChangeAspect="1"/>
          </p:cNvPicPr>
          <p:nvPr>
            <p:ph sz="half" idx="1"/>
          </p:nvPr>
        </p:nvPicPr>
        <p:blipFill>
          <a:blip r:embed="rId3" cstate="print">
            <a:extLst>
              <a:ext uri="{28A0092B-C50C-407E-A947-70E740481C1C}">
                <a14:useLocalDpi xmlns:a14="http://schemas.microsoft.com/office/drawing/2010/main" val="0"/>
              </a:ext>
            </a:extLst>
          </a:blip>
          <a:stretch>
            <a:fillRect/>
          </a:stretch>
        </p:blipFill>
        <p:spPr>
          <a:xfrm>
            <a:off x="628650" y="2235805"/>
            <a:ext cx="3886200" cy="3530977"/>
          </a:xfrm>
        </p:spPr>
      </p:pic>
      <p:pic>
        <p:nvPicPr>
          <p:cNvPr id="4" name="Content Placeholder 3"/>
          <p:cNvPicPr>
            <a:picLocks noGrp="1" noChangeAspect="1"/>
          </p:cNvPicPr>
          <p:nvPr>
            <p:ph sz="half" idx="2"/>
          </p:nvPr>
        </p:nvPicPr>
        <p:blipFill>
          <a:blip r:embed="rId4" cstate="print">
            <a:extLst>
              <a:ext uri="{28A0092B-C50C-407E-A947-70E740481C1C}">
                <a14:useLocalDpi xmlns:a14="http://schemas.microsoft.com/office/drawing/2010/main" val="0"/>
              </a:ext>
            </a:extLst>
          </a:blip>
          <a:stretch>
            <a:fillRect/>
          </a:stretch>
        </p:blipFill>
        <p:spPr>
          <a:xfrm>
            <a:off x="5396029" y="1825625"/>
            <a:ext cx="2352442" cy="4351338"/>
          </a:xfrm>
        </p:spPr>
      </p:pic>
    </p:spTree>
    <p:extLst>
      <p:ext uri="{BB962C8B-B14F-4D97-AF65-F5344CB8AC3E}">
        <p14:creationId xmlns:p14="http://schemas.microsoft.com/office/powerpoint/2010/main" val="131513982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t>Zeiss </a:t>
            </a:r>
            <a:r>
              <a:rPr lang="en-US" sz="3200" dirty="0" err="1"/>
              <a:t>Airyscan</a:t>
            </a:r>
            <a:r>
              <a:rPr lang="en-US" sz="3200" dirty="0"/>
              <a:t> yet another means to achieve super-resolution</a:t>
            </a:r>
          </a:p>
        </p:txBody>
      </p:sp>
      <p:sp>
        <p:nvSpPr>
          <p:cNvPr id="5" name="Content Placeholder 4"/>
          <p:cNvSpPr>
            <a:spLocks noGrp="1"/>
          </p:cNvSpPr>
          <p:nvPr>
            <p:ph idx="1"/>
          </p:nvPr>
        </p:nvSpPr>
        <p:spPr/>
        <p:txBody>
          <a:bodyPr/>
          <a:lstStyle/>
          <a:p>
            <a:r>
              <a:rPr lang="en-US" dirty="0"/>
              <a:t>Available here at Caltech in the BIF</a:t>
            </a:r>
          </a:p>
        </p:txBody>
      </p:sp>
      <p:pic>
        <p:nvPicPr>
          <p:cNvPr id="6" name="Picture 4"/>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036"/>
          <a:stretch/>
        </p:blipFill>
        <p:spPr bwMode="auto">
          <a:xfrm>
            <a:off x="855785" y="2324965"/>
            <a:ext cx="6397694" cy="43102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6857053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bwMode="auto">
          <a:xfrm>
            <a:off x="0" y="0"/>
            <a:ext cx="914400" cy="0"/>
          </a:xfrm>
          <a:prstGeom prst="line">
            <a:avLst/>
          </a:prstGeom>
          <a:solidFill>
            <a:schemeClr val="folHlink"/>
          </a:solidFill>
          <a:ln w="0" cap="flat" cmpd="sng" algn="ctr">
            <a:solidFill>
              <a:srgbClr val="FBFFFF"/>
            </a:solidFill>
            <a:prstDash val="solid"/>
            <a:round/>
            <a:headEnd type="none" w="sm" len="sm"/>
            <a:tailEnd type="none" w="sm" len="sm"/>
          </a:ln>
          <a:effectLst/>
          <a:extLst>
            <a:ext uri="{AF507438-7753-43E0-B8FC-AC1667EBCBE1}">
              <a14:hiddenEffects xmlns:a14="http://schemas.microsoft.com/office/drawing/2010/main">
                <a:effectLst>
                  <a:outerShdw algn="ctr" rotWithShape="0">
                    <a:schemeClr val="bg2"/>
                  </a:outerShdw>
                </a:effectLst>
              </a14:hiddenEffects>
            </a:ext>
          </a:extLst>
        </p:spPr>
      </p:cxnSp>
      <p:grpSp>
        <p:nvGrpSpPr>
          <p:cNvPr id="161" name="Gruppieren 160"/>
          <p:cNvGrpSpPr/>
          <p:nvPr/>
        </p:nvGrpSpPr>
        <p:grpSpPr>
          <a:xfrm>
            <a:off x="4467016" y="1469830"/>
            <a:ext cx="915164" cy="915164"/>
            <a:chOff x="1321634" y="1454656"/>
            <a:chExt cx="915164" cy="915164"/>
          </a:xfrm>
        </p:grpSpPr>
        <p:sp>
          <p:nvSpPr>
            <p:cNvPr id="162" name="Ellipse 161"/>
            <p:cNvSpPr/>
            <p:nvPr/>
          </p:nvSpPr>
          <p:spPr bwMode="auto">
            <a:xfrm>
              <a:off x="1417318" y="1552025"/>
              <a:ext cx="711115" cy="711115"/>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63" name="Ellipse 162"/>
            <p:cNvSpPr/>
            <p:nvPr/>
          </p:nvSpPr>
          <p:spPr bwMode="auto">
            <a:xfrm flipV="1">
              <a:off x="1321634" y="1454656"/>
              <a:ext cx="915164" cy="915164"/>
            </a:xfrm>
            <a:prstGeom prst="ellipse">
              <a:avLst/>
            </a:prstGeom>
            <a:gradFill flip="none" rotWithShape="1">
              <a:gsLst>
                <a:gs pos="0">
                  <a:srgbClr val="7030A0"/>
                </a:gs>
                <a:gs pos="17000">
                  <a:srgbClr val="7030A0">
                    <a:lumMod val="74000"/>
                    <a:lumOff val="26000"/>
                  </a:srgbClr>
                </a:gs>
                <a:gs pos="61000">
                  <a:srgbClr val="FFFFFE">
                    <a:alpha val="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nvGrpSpPr>
          <p:cNvPr id="140" name="Gruppieren 139"/>
          <p:cNvGrpSpPr/>
          <p:nvPr/>
        </p:nvGrpSpPr>
        <p:grpSpPr>
          <a:xfrm>
            <a:off x="3351122" y="1469830"/>
            <a:ext cx="915164" cy="915164"/>
            <a:chOff x="1321634" y="1454656"/>
            <a:chExt cx="915164" cy="915164"/>
          </a:xfrm>
        </p:grpSpPr>
        <p:sp>
          <p:nvSpPr>
            <p:cNvPr id="141" name="Ellipse 140"/>
            <p:cNvSpPr/>
            <p:nvPr/>
          </p:nvSpPr>
          <p:spPr bwMode="auto">
            <a:xfrm>
              <a:off x="1417318" y="1552025"/>
              <a:ext cx="711115" cy="711115"/>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42" name="Ellipse 141"/>
            <p:cNvSpPr/>
            <p:nvPr/>
          </p:nvSpPr>
          <p:spPr bwMode="auto">
            <a:xfrm flipV="1">
              <a:off x="1321634" y="1454656"/>
              <a:ext cx="915164" cy="915164"/>
            </a:xfrm>
            <a:prstGeom prst="ellipse">
              <a:avLst/>
            </a:prstGeom>
            <a:gradFill flip="none" rotWithShape="1">
              <a:gsLst>
                <a:gs pos="0">
                  <a:srgbClr val="7030A0"/>
                </a:gs>
                <a:gs pos="17000">
                  <a:srgbClr val="7030A0">
                    <a:lumMod val="74000"/>
                    <a:lumOff val="26000"/>
                  </a:srgbClr>
                </a:gs>
                <a:gs pos="61000">
                  <a:srgbClr val="FFFFFE">
                    <a:alpha val="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nvGrpSpPr>
          <p:cNvPr id="143" name="Gruppieren 142"/>
          <p:cNvGrpSpPr/>
          <p:nvPr/>
        </p:nvGrpSpPr>
        <p:grpSpPr>
          <a:xfrm>
            <a:off x="3532935" y="1469830"/>
            <a:ext cx="915164" cy="915164"/>
            <a:chOff x="1321634" y="1454656"/>
            <a:chExt cx="915164" cy="915164"/>
          </a:xfrm>
        </p:grpSpPr>
        <p:sp>
          <p:nvSpPr>
            <p:cNvPr id="144" name="Ellipse 143"/>
            <p:cNvSpPr/>
            <p:nvPr/>
          </p:nvSpPr>
          <p:spPr bwMode="auto">
            <a:xfrm>
              <a:off x="1417318" y="1552025"/>
              <a:ext cx="711115" cy="711115"/>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45" name="Ellipse 144"/>
            <p:cNvSpPr/>
            <p:nvPr/>
          </p:nvSpPr>
          <p:spPr bwMode="auto">
            <a:xfrm flipV="1">
              <a:off x="1321634" y="1454656"/>
              <a:ext cx="915164" cy="915164"/>
            </a:xfrm>
            <a:prstGeom prst="ellipse">
              <a:avLst/>
            </a:prstGeom>
            <a:gradFill flip="none" rotWithShape="1">
              <a:gsLst>
                <a:gs pos="0">
                  <a:srgbClr val="7030A0"/>
                </a:gs>
                <a:gs pos="17000">
                  <a:srgbClr val="7030A0">
                    <a:lumMod val="74000"/>
                    <a:lumOff val="26000"/>
                  </a:srgbClr>
                </a:gs>
                <a:gs pos="61000">
                  <a:srgbClr val="FFFFFE">
                    <a:alpha val="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nvGrpSpPr>
          <p:cNvPr id="146" name="Gruppieren 145"/>
          <p:cNvGrpSpPr/>
          <p:nvPr/>
        </p:nvGrpSpPr>
        <p:grpSpPr>
          <a:xfrm>
            <a:off x="3726956" y="1469830"/>
            <a:ext cx="915164" cy="915164"/>
            <a:chOff x="1321634" y="1454656"/>
            <a:chExt cx="915164" cy="915164"/>
          </a:xfrm>
        </p:grpSpPr>
        <p:sp>
          <p:nvSpPr>
            <p:cNvPr id="147" name="Ellipse 146"/>
            <p:cNvSpPr/>
            <p:nvPr/>
          </p:nvSpPr>
          <p:spPr bwMode="auto">
            <a:xfrm>
              <a:off x="1417318" y="1552025"/>
              <a:ext cx="711115" cy="711115"/>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48" name="Ellipse 147"/>
            <p:cNvSpPr/>
            <p:nvPr/>
          </p:nvSpPr>
          <p:spPr bwMode="auto">
            <a:xfrm flipV="1">
              <a:off x="1321634" y="1454656"/>
              <a:ext cx="915164" cy="915164"/>
            </a:xfrm>
            <a:prstGeom prst="ellipse">
              <a:avLst/>
            </a:prstGeom>
            <a:gradFill flip="none" rotWithShape="1">
              <a:gsLst>
                <a:gs pos="0">
                  <a:srgbClr val="7030A0"/>
                </a:gs>
                <a:gs pos="17000">
                  <a:srgbClr val="7030A0">
                    <a:lumMod val="74000"/>
                    <a:lumOff val="26000"/>
                  </a:srgbClr>
                </a:gs>
                <a:gs pos="61000">
                  <a:srgbClr val="FFFFFE">
                    <a:alpha val="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sp>
        <p:nvSpPr>
          <p:cNvPr id="2" name="Titel 1"/>
          <p:cNvSpPr>
            <a:spLocks noGrp="1"/>
          </p:cNvSpPr>
          <p:nvPr>
            <p:ph type="title"/>
          </p:nvPr>
        </p:nvSpPr>
        <p:spPr>
          <a:xfrm>
            <a:off x="466725" y="307975"/>
            <a:ext cx="6965706" cy="941388"/>
          </a:xfrm>
        </p:spPr>
        <p:txBody>
          <a:bodyPr/>
          <a:lstStyle/>
          <a:p>
            <a:r>
              <a:rPr lang="en-US" dirty="0"/>
              <a:t>Conventional scanning confocal and the 1 </a:t>
            </a:r>
            <a:r>
              <a:rPr lang="en-US" dirty="0" err="1"/>
              <a:t>A.u</a:t>
            </a:r>
            <a:r>
              <a:rPr lang="en-US" dirty="0"/>
              <a:t>. limit.</a:t>
            </a:r>
            <a:br>
              <a:rPr lang="en-US" dirty="0"/>
            </a:br>
            <a:r>
              <a:rPr lang="en-US" sz="1800" b="0" dirty="0">
                <a:solidFill>
                  <a:schemeClr val="tx1"/>
                </a:solidFill>
              </a:rPr>
              <a:t>PH = 1 </a:t>
            </a:r>
            <a:r>
              <a:rPr lang="en-US" sz="1800" b="0" dirty="0" err="1">
                <a:solidFill>
                  <a:schemeClr val="tx1"/>
                </a:solidFill>
              </a:rPr>
              <a:t>A.u</a:t>
            </a:r>
            <a:r>
              <a:rPr lang="en-US" sz="1800" b="0" dirty="0">
                <a:solidFill>
                  <a:schemeClr val="tx1"/>
                </a:solidFill>
              </a:rPr>
              <a:t>. is the standard setting for resolution.</a:t>
            </a:r>
            <a:endParaRPr lang="en-US" sz="2000" b="0" dirty="0">
              <a:solidFill>
                <a:schemeClr val="tx1"/>
              </a:solidFill>
            </a:endParaRPr>
          </a:p>
        </p:txBody>
      </p:sp>
      <p:sp>
        <p:nvSpPr>
          <p:cNvPr id="5" name="Fußzeilenplatzhalter 4"/>
          <p:cNvSpPr>
            <a:spLocks noGrp="1"/>
          </p:cNvSpPr>
          <p:nvPr>
            <p:ph type="ftr" sz="quarter" idx="12"/>
          </p:nvPr>
        </p:nvSpPr>
        <p:spPr/>
        <p:txBody>
          <a:bodyPr/>
          <a:lstStyle/>
          <a:p>
            <a:r>
              <a:rPr lang="en-US">
                <a:solidFill>
                  <a:srgbClr val="000000"/>
                </a:solidFill>
              </a:rPr>
              <a:t>Carl Zeiss Microscopy</a:t>
            </a:r>
            <a:endParaRPr lang="en-US" dirty="0">
              <a:solidFill>
                <a:srgbClr val="000000"/>
              </a:solidFill>
            </a:endParaRPr>
          </a:p>
        </p:txBody>
      </p:sp>
      <p:sp>
        <p:nvSpPr>
          <p:cNvPr id="3" name="Ellipse 2"/>
          <p:cNvSpPr/>
          <p:nvPr/>
        </p:nvSpPr>
        <p:spPr bwMode="auto">
          <a:xfrm>
            <a:off x="2452289" y="2834869"/>
            <a:ext cx="711115" cy="711115"/>
          </a:xfrm>
          <a:prstGeom prst="ellipse">
            <a:avLst/>
          </a:prstGeom>
          <a:solidFill>
            <a:srgbClr val="0033CC"/>
          </a:solidFill>
          <a:ln w="3175" cap="flat" cmpd="sng" algn="ctr">
            <a:solidFill>
              <a:schemeClr val="tx2"/>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8" name="Ellipse 57"/>
          <p:cNvSpPr/>
          <p:nvPr/>
        </p:nvSpPr>
        <p:spPr bwMode="auto">
          <a:xfrm>
            <a:off x="3227967" y="2834869"/>
            <a:ext cx="711115" cy="711115"/>
          </a:xfrm>
          <a:prstGeom prst="ellipse">
            <a:avLst/>
          </a:prstGeom>
          <a:solidFill>
            <a:srgbClr val="0066FF"/>
          </a:solidFill>
          <a:ln w="3175" cap="flat" cmpd="sng" algn="ctr">
            <a:solidFill>
              <a:schemeClr val="tx2"/>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0" name="Ellipse 59"/>
          <p:cNvSpPr/>
          <p:nvPr/>
        </p:nvSpPr>
        <p:spPr bwMode="auto">
          <a:xfrm>
            <a:off x="4779323" y="2834869"/>
            <a:ext cx="711115" cy="711115"/>
          </a:xfrm>
          <a:prstGeom prst="ellipse">
            <a:avLst/>
          </a:prstGeom>
          <a:solidFill>
            <a:srgbClr val="0066FF"/>
          </a:solidFill>
          <a:ln w="3175" cap="flat" cmpd="sng" algn="ctr">
            <a:solidFill>
              <a:schemeClr val="tx2"/>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1" name="Ellipse 60"/>
          <p:cNvSpPr/>
          <p:nvPr/>
        </p:nvSpPr>
        <p:spPr bwMode="auto">
          <a:xfrm>
            <a:off x="5555000" y="2834869"/>
            <a:ext cx="711115" cy="711115"/>
          </a:xfrm>
          <a:prstGeom prst="ellipse">
            <a:avLst/>
          </a:prstGeom>
          <a:solidFill>
            <a:srgbClr val="0033CC"/>
          </a:solidFill>
          <a:ln w="3175" cap="flat" cmpd="sng" algn="ctr">
            <a:solidFill>
              <a:schemeClr val="tx2"/>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0" name="Textfeld 69"/>
          <p:cNvSpPr txBox="1"/>
          <p:nvPr/>
        </p:nvSpPr>
        <p:spPr>
          <a:xfrm>
            <a:off x="5840203" y="1344453"/>
            <a:ext cx="2797817" cy="618173"/>
          </a:xfrm>
          <a:prstGeom prst="rect">
            <a:avLst/>
          </a:prstGeom>
          <a:noFill/>
        </p:spPr>
        <p:txBody>
          <a:bodyPr wrap="none" rtlCol="0">
            <a:noAutofit/>
          </a:bodyPr>
          <a:lstStyle/>
          <a:p>
            <a:pPr eaLnBrk="0" fontAlgn="base" hangingPunct="0">
              <a:spcBef>
                <a:spcPct val="0"/>
              </a:spcBef>
              <a:spcAft>
                <a:spcPct val="0"/>
              </a:spcAft>
            </a:pPr>
            <a:r>
              <a:rPr lang="en-US" sz="1400" dirty="0">
                <a:solidFill>
                  <a:srgbClr val="000000"/>
                </a:solidFill>
              </a:rPr>
              <a:t>A point-like emitter generates a </a:t>
            </a:r>
          </a:p>
          <a:p>
            <a:pPr eaLnBrk="0" fontAlgn="base" hangingPunct="0">
              <a:spcBef>
                <a:spcPct val="0"/>
              </a:spcBef>
              <a:spcAft>
                <a:spcPct val="0"/>
              </a:spcAft>
            </a:pPr>
            <a:r>
              <a:rPr lang="en-US" sz="1400" dirty="0">
                <a:solidFill>
                  <a:srgbClr val="000000"/>
                </a:solidFill>
              </a:rPr>
              <a:t>diffraction limited pattern (~ PSF)</a:t>
            </a:r>
          </a:p>
        </p:txBody>
      </p:sp>
      <p:sp>
        <p:nvSpPr>
          <p:cNvPr id="59" name="Ellipse 58"/>
          <p:cNvSpPr/>
          <p:nvPr/>
        </p:nvSpPr>
        <p:spPr bwMode="auto">
          <a:xfrm>
            <a:off x="4005757" y="2815819"/>
            <a:ext cx="711115" cy="711115"/>
          </a:xfrm>
          <a:prstGeom prst="ellipse">
            <a:avLst/>
          </a:prstGeom>
          <a:solidFill>
            <a:srgbClr val="66CCFF"/>
          </a:solidFill>
          <a:ln w="3175" cap="flat" cmpd="sng" algn="ctr">
            <a:solidFill>
              <a:schemeClr val="tx2"/>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8" name="Ellipse 87"/>
          <p:cNvSpPr/>
          <p:nvPr/>
        </p:nvSpPr>
        <p:spPr bwMode="auto">
          <a:xfrm>
            <a:off x="6345575" y="2825344"/>
            <a:ext cx="711115" cy="711115"/>
          </a:xfrm>
          <a:prstGeom prst="ellipse">
            <a:avLst/>
          </a:prstGeom>
          <a:solidFill>
            <a:schemeClr val="tx1"/>
          </a:solidFill>
          <a:ln w="3175" cap="flat" cmpd="sng" algn="ctr">
            <a:solidFill>
              <a:schemeClr val="tx2"/>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9" name="Ellipse 88"/>
          <p:cNvSpPr/>
          <p:nvPr/>
        </p:nvSpPr>
        <p:spPr bwMode="auto">
          <a:xfrm>
            <a:off x="1659275" y="2851235"/>
            <a:ext cx="711115" cy="711115"/>
          </a:xfrm>
          <a:prstGeom prst="ellipse">
            <a:avLst/>
          </a:prstGeom>
          <a:solidFill>
            <a:schemeClr val="tx1"/>
          </a:solidFill>
          <a:ln w="3175" cap="flat" cmpd="sng" algn="ctr">
            <a:solidFill>
              <a:schemeClr val="tx2"/>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91" name="Textfeld 90"/>
          <p:cNvSpPr txBox="1"/>
          <p:nvPr/>
        </p:nvSpPr>
        <p:spPr>
          <a:xfrm>
            <a:off x="308803" y="1420580"/>
            <a:ext cx="1247775" cy="400050"/>
          </a:xfrm>
          <a:prstGeom prst="rect">
            <a:avLst/>
          </a:prstGeom>
          <a:noFill/>
        </p:spPr>
        <p:txBody>
          <a:bodyPr wrap="none" rtlCol="0">
            <a:noAutofit/>
          </a:bodyPr>
          <a:lstStyle/>
          <a:p>
            <a:pPr eaLnBrk="0" fontAlgn="base" hangingPunct="0">
              <a:spcBef>
                <a:spcPct val="0"/>
              </a:spcBef>
              <a:spcAft>
                <a:spcPct val="0"/>
              </a:spcAft>
            </a:pPr>
            <a:r>
              <a:rPr lang="en-US" sz="1200" dirty="0">
                <a:solidFill>
                  <a:srgbClr val="000000"/>
                </a:solidFill>
              </a:rPr>
              <a:t>PH = 1 </a:t>
            </a:r>
            <a:r>
              <a:rPr lang="en-US" sz="1200" dirty="0" err="1">
                <a:solidFill>
                  <a:srgbClr val="000000"/>
                </a:solidFill>
              </a:rPr>
              <a:t>A.u</a:t>
            </a:r>
            <a:r>
              <a:rPr lang="en-US" sz="1200" dirty="0">
                <a:solidFill>
                  <a:srgbClr val="000000"/>
                </a:solidFill>
              </a:rPr>
              <a:t>.</a:t>
            </a:r>
          </a:p>
        </p:txBody>
      </p:sp>
      <p:cxnSp>
        <p:nvCxnSpPr>
          <p:cNvPr id="32" name="Gerade Verbindung mit Pfeil 31"/>
          <p:cNvCxnSpPr/>
          <p:nvPr/>
        </p:nvCxnSpPr>
        <p:spPr bwMode="auto">
          <a:xfrm flipV="1">
            <a:off x="1542461" y="4168140"/>
            <a:ext cx="0" cy="1938783"/>
          </a:xfrm>
          <a:prstGeom prst="straightConnector1">
            <a:avLst/>
          </a:prstGeom>
          <a:solidFill>
            <a:schemeClr val="folHlink"/>
          </a:solidFill>
          <a:ln w="19050" cap="flat" cmpd="sng" algn="ctr">
            <a:solidFill>
              <a:srgbClr val="0070C0"/>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 name="Textfeld 32"/>
          <p:cNvSpPr txBox="1"/>
          <p:nvPr/>
        </p:nvSpPr>
        <p:spPr>
          <a:xfrm>
            <a:off x="7165886" y="3724546"/>
            <a:ext cx="733425" cy="400050"/>
          </a:xfrm>
          <a:prstGeom prst="rect">
            <a:avLst/>
          </a:prstGeom>
          <a:noFill/>
        </p:spPr>
        <p:txBody>
          <a:bodyPr wrap="none" rtlCol="0">
            <a:noAutofit/>
          </a:bodyPr>
          <a:lstStyle/>
          <a:p>
            <a:pPr eaLnBrk="0" fontAlgn="base" hangingPunct="0">
              <a:spcBef>
                <a:spcPct val="0"/>
              </a:spcBef>
              <a:spcAft>
                <a:spcPct val="0"/>
              </a:spcAft>
            </a:pPr>
            <a:r>
              <a:rPr lang="en-US" sz="1200" dirty="0">
                <a:solidFill>
                  <a:srgbClr val="000000"/>
                </a:solidFill>
              </a:rPr>
              <a:t>scan</a:t>
            </a:r>
          </a:p>
        </p:txBody>
      </p:sp>
      <p:grpSp>
        <p:nvGrpSpPr>
          <p:cNvPr id="14" name="Gruppieren 13"/>
          <p:cNvGrpSpPr/>
          <p:nvPr/>
        </p:nvGrpSpPr>
        <p:grpSpPr>
          <a:xfrm>
            <a:off x="3646868" y="2316480"/>
            <a:ext cx="1466152" cy="114300"/>
            <a:chOff x="3646868" y="2202180"/>
            <a:chExt cx="1466152" cy="114300"/>
          </a:xfrm>
        </p:grpSpPr>
        <p:cxnSp>
          <p:nvCxnSpPr>
            <p:cNvPr id="7" name="Gerade Verbindung 6"/>
            <p:cNvCxnSpPr/>
            <p:nvPr/>
          </p:nvCxnSpPr>
          <p:spPr bwMode="auto">
            <a:xfrm>
              <a:off x="3646868" y="2263140"/>
              <a:ext cx="1466152" cy="0"/>
            </a:xfrm>
            <a:prstGeom prst="line">
              <a:avLst/>
            </a:prstGeom>
            <a:solidFill>
              <a:schemeClr val="folHlink"/>
            </a:solidFill>
            <a:ln w="3175" cap="flat" cmpd="sng" algn="ctr">
              <a:solidFill>
                <a:schemeClr val="folHlink"/>
              </a:solidFill>
              <a:prstDash val="solid"/>
              <a:round/>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3" name="Gruppieren 12"/>
            <p:cNvGrpSpPr/>
            <p:nvPr/>
          </p:nvGrpSpPr>
          <p:grpSpPr>
            <a:xfrm>
              <a:off x="3806888" y="2202180"/>
              <a:ext cx="1110090" cy="114300"/>
              <a:chOff x="3806888" y="2148840"/>
              <a:chExt cx="1110090" cy="266700"/>
            </a:xfrm>
          </p:grpSpPr>
          <p:cxnSp>
            <p:nvCxnSpPr>
              <p:cNvPr id="23" name="Gerade Verbindung 22"/>
              <p:cNvCxnSpPr/>
              <p:nvPr/>
            </p:nvCxnSpPr>
            <p:spPr bwMode="auto">
              <a:xfrm flipV="1">
                <a:off x="3806888"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Gerade Verbindung 24"/>
              <p:cNvCxnSpPr/>
              <p:nvPr/>
            </p:nvCxnSpPr>
            <p:spPr bwMode="auto">
              <a:xfrm flipV="1">
                <a:off x="3991903"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Gerade Verbindung 25"/>
              <p:cNvCxnSpPr/>
              <p:nvPr/>
            </p:nvCxnSpPr>
            <p:spPr bwMode="auto">
              <a:xfrm flipV="1">
                <a:off x="4176918"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Gerade Verbindung 26"/>
              <p:cNvCxnSpPr/>
              <p:nvPr/>
            </p:nvCxnSpPr>
            <p:spPr bwMode="auto">
              <a:xfrm flipV="1">
                <a:off x="4361933"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Gerade Verbindung 27"/>
              <p:cNvCxnSpPr/>
              <p:nvPr/>
            </p:nvCxnSpPr>
            <p:spPr bwMode="auto">
              <a:xfrm flipV="1">
                <a:off x="4546948"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Gerade Verbindung 28"/>
              <p:cNvCxnSpPr/>
              <p:nvPr/>
            </p:nvCxnSpPr>
            <p:spPr bwMode="auto">
              <a:xfrm flipV="1">
                <a:off x="4731963"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Gerade Verbindung 29"/>
              <p:cNvCxnSpPr/>
              <p:nvPr/>
            </p:nvCxnSpPr>
            <p:spPr bwMode="auto">
              <a:xfrm flipV="1">
                <a:off x="4916978"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38" name="Gruppieren 37"/>
          <p:cNvGrpSpPr/>
          <p:nvPr/>
        </p:nvGrpSpPr>
        <p:grpSpPr>
          <a:xfrm>
            <a:off x="1363980" y="3611880"/>
            <a:ext cx="6198184" cy="213360"/>
            <a:chOff x="3646868" y="2202180"/>
            <a:chExt cx="1466152" cy="114300"/>
          </a:xfrm>
        </p:grpSpPr>
        <p:cxnSp>
          <p:nvCxnSpPr>
            <p:cNvPr id="39" name="Gerade Verbindung 38"/>
            <p:cNvCxnSpPr/>
            <p:nvPr/>
          </p:nvCxnSpPr>
          <p:spPr bwMode="auto">
            <a:xfrm>
              <a:off x="3646868" y="2263140"/>
              <a:ext cx="1466152" cy="0"/>
            </a:xfrm>
            <a:prstGeom prst="line">
              <a:avLst/>
            </a:prstGeom>
            <a:solidFill>
              <a:schemeClr val="folHlink"/>
            </a:solidFill>
            <a:ln w="19050" cap="flat" cmpd="sng" algn="ctr">
              <a:solidFill>
                <a:schemeClr val="folHlink"/>
              </a:solidFill>
              <a:prstDash val="solid"/>
              <a:round/>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0" name="Gruppieren 39"/>
            <p:cNvGrpSpPr/>
            <p:nvPr/>
          </p:nvGrpSpPr>
          <p:grpSpPr>
            <a:xfrm>
              <a:off x="3806888" y="2202180"/>
              <a:ext cx="1110090" cy="114300"/>
              <a:chOff x="3806888" y="2148840"/>
              <a:chExt cx="1110090" cy="266700"/>
            </a:xfrm>
          </p:grpSpPr>
          <p:cxnSp>
            <p:nvCxnSpPr>
              <p:cNvPr id="41" name="Gerade Verbindung 40"/>
              <p:cNvCxnSpPr/>
              <p:nvPr/>
            </p:nvCxnSpPr>
            <p:spPr bwMode="auto">
              <a:xfrm flipV="1">
                <a:off x="380688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2" name="Gerade Verbindung 41"/>
              <p:cNvCxnSpPr/>
              <p:nvPr/>
            </p:nvCxnSpPr>
            <p:spPr bwMode="auto">
              <a:xfrm flipV="1">
                <a:off x="399190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Gerade Verbindung 42"/>
              <p:cNvCxnSpPr/>
              <p:nvPr/>
            </p:nvCxnSpPr>
            <p:spPr bwMode="auto">
              <a:xfrm flipV="1">
                <a:off x="417691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Gerade Verbindung 43"/>
              <p:cNvCxnSpPr/>
              <p:nvPr/>
            </p:nvCxnSpPr>
            <p:spPr bwMode="auto">
              <a:xfrm flipV="1">
                <a:off x="436193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Gerade Verbindung 44"/>
              <p:cNvCxnSpPr/>
              <p:nvPr/>
            </p:nvCxnSpPr>
            <p:spPr bwMode="auto">
              <a:xfrm flipV="1">
                <a:off x="454694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Gerade Verbindung 45"/>
              <p:cNvCxnSpPr/>
              <p:nvPr/>
            </p:nvCxnSpPr>
            <p:spPr bwMode="auto">
              <a:xfrm flipV="1">
                <a:off x="473196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7" name="Gerade Verbindung 46"/>
              <p:cNvCxnSpPr/>
              <p:nvPr/>
            </p:nvCxnSpPr>
            <p:spPr bwMode="auto">
              <a:xfrm flipV="1">
                <a:off x="491697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50" name="Gruppieren 49"/>
          <p:cNvGrpSpPr/>
          <p:nvPr/>
        </p:nvGrpSpPr>
        <p:grpSpPr>
          <a:xfrm>
            <a:off x="1363980" y="5893562"/>
            <a:ext cx="6217920" cy="213360"/>
            <a:chOff x="3646868" y="2202180"/>
            <a:chExt cx="1466152" cy="114300"/>
          </a:xfrm>
        </p:grpSpPr>
        <p:cxnSp>
          <p:nvCxnSpPr>
            <p:cNvPr id="51" name="Gerade Verbindung 50"/>
            <p:cNvCxnSpPr/>
            <p:nvPr/>
          </p:nvCxnSpPr>
          <p:spPr bwMode="auto">
            <a:xfrm>
              <a:off x="3646868" y="2263140"/>
              <a:ext cx="1466152" cy="0"/>
            </a:xfrm>
            <a:prstGeom prst="line">
              <a:avLst/>
            </a:prstGeom>
            <a:solidFill>
              <a:schemeClr val="folHlink"/>
            </a:solidFill>
            <a:ln w="19050" cap="flat" cmpd="sng" algn="ctr">
              <a:solidFill>
                <a:schemeClr val="folHlink"/>
              </a:solidFill>
              <a:prstDash val="solid"/>
              <a:round/>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52" name="Gruppieren 51"/>
            <p:cNvGrpSpPr/>
            <p:nvPr/>
          </p:nvGrpSpPr>
          <p:grpSpPr>
            <a:xfrm>
              <a:off x="3806888" y="2202180"/>
              <a:ext cx="1110090" cy="114300"/>
              <a:chOff x="3806888" y="2148840"/>
              <a:chExt cx="1110090" cy="266700"/>
            </a:xfrm>
          </p:grpSpPr>
          <p:cxnSp>
            <p:nvCxnSpPr>
              <p:cNvPr id="53" name="Gerade Verbindung 52"/>
              <p:cNvCxnSpPr/>
              <p:nvPr/>
            </p:nvCxnSpPr>
            <p:spPr bwMode="auto">
              <a:xfrm flipV="1">
                <a:off x="380688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4" name="Gerade Verbindung 53"/>
              <p:cNvCxnSpPr/>
              <p:nvPr/>
            </p:nvCxnSpPr>
            <p:spPr bwMode="auto">
              <a:xfrm flipV="1">
                <a:off x="399190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5" name="Gerade Verbindung 54"/>
              <p:cNvCxnSpPr/>
              <p:nvPr/>
            </p:nvCxnSpPr>
            <p:spPr bwMode="auto">
              <a:xfrm flipV="1">
                <a:off x="417691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6" name="Gerade Verbindung 55"/>
              <p:cNvCxnSpPr/>
              <p:nvPr/>
            </p:nvCxnSpPr>
            <p:spPr bwMode="auto">
              <a:xfrm flipV="1">
                <a:off x="436193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7" name="Gerade Verbindung 56"/>
              <p:cNvCxnSpPr/>
              <p:nvPr/>
            </p:nvCxnSpPr>
            <p:spPr bwMode="auto">
              <a:xfrm flipV="1">
                <a:off x="454694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Gerade Verbindung 62"/>
              <p:cNvCxnSpPr/>
              <p:nvPr/>
            </p:nvCxnSpPr>
            <p:spPr bwMode="auto">
              <a:xfrm flipV="1">
                <a:off x="473196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4" name="Gerade Verbindung 63"/>
              <p:cNvCxnSpPr/>
              <p:nvPr/>
            </p:nvCxnSpPr>
            <p:spPr bwMode="auto">
              <a:xfrm flipV="1">
                <a:off x="491697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pic>
        <p:nvPicPr>
          <p:cNvPr id="102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99848"/>
          <a:stretch/>
        </p:blipFill>
        <p:spPr bwMode="auto">
          <a:xfrm>
            <a:off x="1668624" y="4167597"/>
            <a:ext cx="164684" cy="1839214"/>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79" name="Textfeld 78"/>
          <p:cNvSpPr txBox="1"/>
          <p:nvPr/>
        </p:nvSpPr>
        <p:spPr>
          <a:xfrm>
            <a:off x="7165886" y="6006811"/>
            <a:ext cx="733425" cy="400050"/>
          </a:xfrm>
          <a:prstGeom prst="rect">
            <a:avLst/>
          </a:prstGeom>
          <a:noFill/>
        </p:spPr>
        <p:txBody>
          <a:bodyPr wrap="none" rtlCol="0">
            <a:noAutofit/>
          </a:bodyPr>
          <a:lstStyle/>
          <a:p>
            <a:pPr eaLnBrk="0" fontAlgn="base" hangingPunct="0">
              <a:spcBef>
                <a:spcPct val="0"/>
              </a:spcBef>
              <a:spcAft>
                <a:spcPct val="0"/>
              </a:spcAft>
            </a:pPr>
            <a:r>
              <a:rPr lang="en-US" sz="1200" dirty="0">
                <a:solidFill>
                  <a:srgbClr val="000000"/>
                </a:solidFill>
              </a:rPr>
              <a:t>scan</a:t>
            </a:r>
          </a:p>
        </p:txBody>
      </p:sp>
      <p:sp>
        <p:nvSpPr>
          <p:cNvPr id="80" name="Textfeld 79"/>
          <p:cNvSpPr txBox="1"/>
          <p:nvPr/>
        </p:nvSpPr>
        <p:spPr>
          <a:xfrm rot="16200000">
            <a:off x="760516" y="4880133"/>
            <a:ext cx="970597" cy="400050"/>
          </a:xfrm>
          <a:prstGeom prst="rect">
            <a:avLst/>
          </a:prstGeom>
          <a:noFill/>
        </p:spPr>
        <p:txBody>
          <a:bodyPr wrap="none" rtlCol="0">
            <a:noAutofit/>
          </a:bodyPr>
          <a:lstStyle/>
          <a:p>
            <a:pPr eaLnBrk="0" fontAlgn="base" hangingPunct="0">
              <a:spcBef>
                <a:spcPct val="0"/>
              </a:spcBef>
              <a:spcAft>
                <a:spcPct val="0"/>
              </a:spcAft>
            </a:pPr>
            <a:r>
              <a:rPr lang="en-US" sz="1600" dirty="0">
                <a:solidFill>
                  <a:srgbClr val="000000"/>
                </a:solidFill>
              </a:rPr>
              <a:t>Intensity</a:t>
            </a:r>
          </a:p>
        </p:txBody>
      </p:sp>
      <p:sp>
        <p:nvSpPr>
          <p:cNvPr id="20" name="Rechteck 19"/>
          <p:cNvSpPr/>
          <p:nvPr/>
        </p:nvSpPr>
        <p:spPr bwMode="auto">
          <a:xfrm>
            <a:off x="1964088" y="5722966"/>
            <a:ext cx="160020" cy="160020"/>
          </a:xfrm>
          <a:prstGeom prst="rect">
            <a:avLst/>
          </a:prstGeom>
          <a:solidFill>
            <a:schemeClr val="tx1"/>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1" name="Rechteck 80"/>
          <p:cNvSpPr/>
          <p:nvPr/>
        </p:nvSpPr>
        <p:spPr bwMode="auto">
          <a:xfrm>
            <a:off x="2740617" y="5435744"/>
            <a:ext cx="160020" cy="160020"/>
          </a:xfrm>
          <a:prstGeom prst="rect">
            <a:avLst/>
          </a:prstGeom>
          <a:solidFill>
            <a:srgbClr val="0000BE"/>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2" name="Rechteck 81"/>
          <p:cNvSpPr/>
          <p:nvPr/>
        </p:nvSpPr>
        <p:spPr bwMode="auto">
          <a:xfrm>
            <a:off x="3532385" y="4672011"/>
            <a:ext cx="160020" cy="160020"/>
          </a:xfrm>
          <a:prstGeom prst="rect">
            <a:avLst/>
          </a:prstGeom>
          <a:solidFill>
            <a:srgbClr val="0066FF"/>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3" name="Rechteck 82"/>
          <p:cNvSpPr/>
          <p:nvPr/>
        </p:nvSpPr>
        <p:spPr bwMode="auto">
          <a:xfrm>
            <a:off x="4323820" y="4319997"/>
            <a:ext cx="160020" cy="160020"/>
          </a:xfrm>
          <a:prstGeom prst="rect">
            <a:avLst/>
          </a:prstGeom>
          <a:solidFill>
            <a:srgbClr val="33CCFF"/>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5" name="Rechteck 84"/>
          <p:cNvSpPr/>
          <p:nvPr/>
        </p:nvSpPr>
        <p:spPr bwMode="auto">
          <a:xfrm>
            <a:off x="5103228" y="4721541"/>
            <a:ext cx="160020" cy="160020"/>
          </a:xfrm>
          <a:prstGeom prst="rect">
            <a:avLst/>
          </a:prstGeom>
          <a:solidFill>
            <a:srgbClr val="0066FF"/>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7" name="Rechteck 86"/>
          <p:cNvSpPr/>
          <p:nvPr/>
        </p:nvSpPr>
        <p:spPr bwMode="auto">
          <a:xfrm>
            <a:off x="5886358" y="5374784"/>
            <a:ext cx="160020" cy="160020"/>
          </a:xfrm>
          <a:prstGeom prst="rect">
            <a:avLst/>
          </a:prstGeom>
          <a:solidFill>
            <a:srgbClr val="0000BE"/>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92" name="Rechteck 91"/>
          <p:cNvSpPr/>
          <p:nvPr/>
        </p:nvSpPr>
        <p:spPr bwMode="auto">
          <a:xfrm>
            <a:off x="6670552" y="5703097"/>
            <a:ext cx="160020" cy="160020"/>
          </a:xfrm>
          <a:prstGeom prst="rect">
            <a:avLst/>
          </a:prstGeom>
          <a:solidFill>
            <a:schemeClr val="tx1"/>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cxnSp>
        <p:nvCxnSpPr>
          <p:cNvPr id="24" name="Gerade Verbindung mit Pfeil 23"/>
          <p:cNvCxnSpPr/>
          <p:nvPr/>
        </p:nvCxnSpPr>
        <p:spPr bwMode="auto">
          <a:xfrm>
            <a:off x="2040467" y="3863340"/>
            <a:ext cx="0" cy="1732424"/>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3" name="Gerade Verbindung mit Pfeil 92"/>
          <p:cNvCxnSpPr/>
          <p:nvPr/>
        </p:nvCxnSpPr>
        <p:spPr bwMode="auto">
          <a:xfrm>
            <a:off x="2822621" y="3863340"/>
            <a:ext cx="0" cy="1511444"/>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4" name="Gerade Verbindung mit Pfeil 93"/>
          <p:cNvCxnSpPr/>
          <p:nvPr/>
        </p:nvCxnSpPr>
        <p:spPr bwMode="auto">
          <a:xfrm>
            <a:off x="3604775" y="3863340"/>
            <a:ext cx="0" cy="731520"/>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5" name="Gerade Verbindung mit Pfeil 94"/>
          <p:cNvCxnSpPr/>
          <p:nvPr/>
        </p:nvCxnSpPr>
        <p:spPr bwMode="auto">
          <a:xfrm>
            <a:off x="4386930" y="3863340"/>
            <a:ext cx="0" cy="358140"/>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6" name="Gerade Verbindung mit Pfeil 95"/>
          <p:cNvCxnSpPr/>
          <p:nvPr/>
        </p:nvCxnSpPr>
        <p:spPr bwMode="auto">
          <a:xfrm>
            <a:off x="5169084" y="3863340"/>
            <a:ext cx="0" cy="808671"/>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7" name="Gerade Verbindung mit Pfeil 96"/>
          <p:cNvCxnSpPr/>
          <p:nvPr/>
        </p:nvCxnSpPr>
        <p:spPr bwMode="auto">
          <a:xfrm>
            <a:off x="5951174" y="3863340"/>
            <a:ext cx="0" cy="1424940"/>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8" name="Gerade Verbindung mit Pfeil 97"/>
          <p:cNvCxnSpPr/>
          <p:nvPr/>
        </p:nvCxnSpPr>
        <p:spPr bwMode="auto">
          <a:xfrm>
            <a:off x="6733392" y="3863340"/>
            <a:ext cx="0" cy="1732424"/>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29" name="Gruppieren 128"/>
          <p:cNvGrpSpPr/>
          <p:nvPr/>
        </p:nvGrpSpPr>
        <p:grpSpPr>
          <a:xfrm>
            <a:off x="1556578" y="1454656"/>
            <a:ext cx="915164" cy="915164"/>
            <a:chOff x="1321634" y="1454656"/>
            <a:chExt cx="915164" cy="915164"/>
          </a:xfrm>
        </p:grpSpPr>
        <p:sp>
          <p:nvSpPr>
            <p:cNvPr id="130" name="Ellipse 129"/>
            <p:cNvSpPr/>
            <p:nvPr/>
          </p:nvSpPr>
          <p:spPr bwMode="auto">
            <a:xfrm>
              <a:off x="1417318" y="1552025"/>
              <a:ext cx="711115" cy="711115"/>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31" name="Ellipse 130"/>
            <p:cNvSpPr/>
            <p:nvPr/>
          </p:nvSpPr>
          <p:spPr bwMode="auto">
            <a:xfrm flipV="1">
              <a:off x="1321634" y="1454656"/>
              <a:ext cx="915164" cy="915164"/>
            </a:xfrm>
            <a:prstGeom prst="ellipse">
              <a:avLst/>
            </a:prstGeom>
            <a:gradFill flip="none" rotWithShape="1">
              <a:gsLst>
                <a:gs pos="0">
                  <a:srgbClr val="7030A0"/>
                </a:gs>
                <a:gs pos="17000">
                  <a:srgbClr val="7030A0">
                    <a:lumMod val="74000"/>
                    <a:lumOff val="26000"/>
                  </a:srgbClr>
                </a:gs>
                <a:gs pos="61000">
                  <a:srgbClr val="FFFFFE">
                    <a:alpha val="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sp>
        <p:nvSpPr>
          <p:cNvPr id="132" name="Textfeld 131"/>
          <p:cNvSpPr txBox="1"/>
          <p:nvPr/>
        </p:nvSpPr>
        <p:spPr>
          <a:xfrm>
            <a:off x="308803" y="2053310"/>
            <a:ext cx="1133476" cy="400050"/>
          </a:xfrm>
          <a:prstGeom prst="rect">
            <a:avLst/>
          </a:prstGeom>
          <a:noFill/>
        </p:spPr>
        <p:txBody>
          <a:bodyPr wrap="none" rtlCol="0">
            <a:noAutofit/>
          </a:bodyPr>
          <a:lstStyle/>
          <a:p>
            <a:pPr eaLnBrk="0" fontAlgn="base" hangingPunct="0">
              <a:spcBef>
                <a:spcPct val="0"/>
              </a:spcBef>
              <a:spcAft>
                <a:spcPct val="0"/>
              </a:spcAft>
            </a:pPr>
            <a:r>
              <a:rPr lang="en-US" sz="1200" dirty="0">
                <a:solidFill>
                  <a:srgbClr val="000000"/>
                </a:solidFill>
              </a:rPr>
              <a:t>excitation</a:t>
            </a:r>
          </a:p>
        </p:txBody>
      </p:sp>
      <p:sp>
        <p:nvSpPr>
          <p:cNvPr id="1027" name="Freihandform 1026"/>
          <p:cNvSpPr/>
          <p:nvPr/>
        </p:nvSpPr>
        <p:spPr bwMode="auto">
          <a:xfrm>
            <a:off x="411480" y="1653540"/>
            <a:ext cx="1234440" cy="160020"/>
          </a:xfrm>
          <a:custGeom>
            <a:avLst/>
            <a:gdLst>
              <a:gd name="connsiteX0" fmla="*/ 0 w 1203960"/>
              <a:gd name="connsiteY0" fmla="*/ 0 h 243840"/>
              <a:gd name="connsiteX1" fmla="*/ 670560 w 1203960"/>
              <a:gd name="connsiteY1" fmla="*/ 0 h 243840"/>
              <a:gd name="connsiteX2" fmla="*/ 1203960 w 1203960"/>
              <a:gd name="connsiteY2" fmla="*/ 243840 h 243840"/>
              <a:gd name="connsiteX0" fmla="*/ 0 w 1234440"/>
              <a:gd name="connsiteY0" fmla="*/ 0 h 160020"/>
              <a:gd name="connsiteX1" fmla="*/ 670560 w 1234440"/>
              <a:gd name="connsiteY1" fmla="*/ 0 h 160020"/>
              <a:gd name="connsiteX2" fmla="*/ 1234440 w 1234440"/>
              <a:gd name="connsiteY2" fmla="*/ 160020 h 160020"/>
            </a:gdLst>
            <a:ahLst/>
            <a:cxnLst>
              <a:cxn ang="0">
                <a:pos x="connsiteX0" y="connsiteY0"/>
              </a:cxn>
              <a:cxn ang="0">
                <a:pos x="connsiteX1" y="connsiteY1"/>
              </a:cxn>
              <a:cxn ang="0">
                <a:pos x="connsiteX2" y="connsiteY2"/>
              </a:cxn>
            </a:cxnLst>
            <a:rect l="l" t="t" r="r" b="b"/>
            <a:pathLst>
              <a:path w="1234440" h="160020">
                <a:moveTo>
                  <a:pt x="0" y="0"/>
                </a:moveTo>
                <a:lnTo>
                  <a:pt x="670560" y="0"/>
                </a:lnTo>
                <a:lnTo>
                  <a:pt x="1234440" y="160020"/>
                </a:lnTo>
              </a:path>
            </a:pathLst>
          </a:custGeom>
          <a:noFill/>
          <a:ln w="3175"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37" name="Freihandform 136"/>
          <p:cNvSpPr/>
          <p:nvPr/>
        </p:nvSpPr>
        <p:spPr bwMode="auto">
          <a:xfrm flipV="1">
            <a:off x="411480" y="1924518"/>
            <a:ext cx="1575468" cy="361481"/>
          </a:xfrm>
          <a:custGeom>
            <a:avLst/>
            <a:gdLst>
              <a:gd name="connsiteX0" fmla="*/ 0 w 1203960"/>
              <a:gd name="connsiteY0" fmla="*/ 0 h 243840"/>
              <a:gd name="connsiteX1" fmla="*/ 670560 w 1203960"/>
              <a:gd name="connsiteY1" fmla="*/ 0 h 243840"/>
              <a:gd name="connsiteX2" fmla="*/ 1203960 w 1203960"/>
              <a:gd name="connsiteY2" fmla="*/ 243840 h 243840"/>
              <a:gd name="connsiteX0" fmla="*/ 0 w 1234440"/>
              <a:gd name="connsiteY0" fmla="*/ 0 h 160020"/>
              <a:gd name="connsiteX1" fmla="*/ 670560 w 1234440"/>
              <a:gd name="connsiteY1" fmla="*/ 0 h 160020"/>
              <a:gd name="connsiteX2" fmla="*/ 1234440 w 1234440"/>
              <a:gd name="connsiteY2" fmla="*/ 160020 h 160020"/>
            </a:gdLst>
            <a:ahLst/>
            <a:cxnLst>
              <a:cxn ang="0">
                <a:pos x="connsiteX0" y="connsiteY0"/>
              </a:cxn>
              <a:cxn ang="0">
                <a:pos x="connsiteX1" y="connsiteY1"/>
              </a:cxn>
              <a:cxn ang="0">
                <a:pos x="connsiteX2" y="connsiteY2"/>
              </a:cxn>
            </a:cxnLst>
            <a:rect l="l" t="t" r="r" b="b"/>
            <a:pathLst>
              <a:path w="1234440" h="160020">
                <a:moveTo>
                  <a:pt x="0" y="0"/>
                </a:moveTo>
                <a:lnTo>
                  <a:pt x="670560" y="0"/>
                </a:lnTo>
                <a:lnTo>
                  <a:pt x="1234440" y="160020"/>
                </a:lnTo>
              </a:path>
            </a:pathLst>
          </a:custGeom>
          <a:noFill/>
          <a:ln w="3175"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nvGrpSpPr>
          <p:cNvPr id="152" name="Gruppieren 151"/>
          <p:cNvGrpSpPr/>
          <p:nvPr/>
        </p:nvGrpSpPr>
        <p:grpSpPr>
          <a:xfrm>
            <a:off x="3911971" y="1469830"/>
            <a:ext cx="915164" cy="915164"/>
            <a:chOff x="1321634" y="1454656"/>
            <a:chExt cx="915164" cy="915164"/>
          </a:xfrm>
        </p:grpSpPr>
        <p:sp>
          <p:nvSpPr>
            <p:cNvPr id="153" name="Ellipse 152"/>
            <p:cNvSpPr/>
            <p:nvPr/>
          </p:nvSpPr>
          <p:spPr bwMode="auto">
            <a:xfrm>
              <a:off x="1417318" y="1552025"/>
              <a:ext cx="711115" cy="711115"/>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54" name="Ellipse 153"/>
            <p:cNvSpPr/>
            <p:nvPr/>
          </p:nvSpPr>
          <p:spPr bwMode="auto">
            <a:xfrm flipV="1">
              <a:off x="1321634" y="1454656"/>
              <a:ext cx="915164" cy="915164"/>
            </a:xfrm>
            <a:prstGeom prst="ellipse">
              <a:avLst/>
            </a:prstGeom>
            <a:gradFill flip="none" rotWithShape="1">
              <a:gsLst>
                <a:gs pos="0">
                  <a:srgbClr val="7030A0"/>
                </a:gs>
                <a:gs pos="17000">
                  <a:srgbClr val="7030A0">
                    <a:lumMod val="74000"/>
                    <a:lumOff val="26000"/>
                  </a:srgbClr>
                </a:gs>
                <a:gs pos="61000">
                  <a:srgbClr val="FFFFFE">
                    <a:alpha val="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nvGrpSpPr>
          <p:cNvPr id="155" name="Gruppieren 154"/>
          <p:cNvGrpSpPr/>
          <p:nvPr/>
        </p:nvGrpSpPr>
        <p:grpSpPr>
          <a:xfrm>
            <a:off x="4096986" y="1469830"/>
            <a:ext cx="915164" cy="915164"/>
            <a:chOff x="1321634" y="1454656"/>
            <a:chExt cx="915164" cy="915164"/>
          </a:xfrm>
        </p:grpSpPr>
        <p:sp>
          <p:nvSpPr>
            <p:cNvPr id="156" name="Ellipse 155"/>
            <p:cNvSpPr/>
            <p:nvPr/>
          </p:nvSpPr>
          <p:spPr bwMode="auto">
            <a:xfrm>
              <a:off x="1417318" y="1552025"/>
              <a:ext cx="711115" cy="711115"/>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57" name="Ellipse 156"/>
            <p:cNvSpPr/>
            <p:nvPr/>
          </p:nvSpPr>
          <p:spPr bwMode="auto">
            <a:xfrm flipV="1">
              <a:off x="1321634" y="1454656"/>
              <a:ext cx="915164" cy="915164"/>
            </a:xfrm>
            <a:prstGeom prst="ellipse">
              <a:avLst/>
            </a:prstGeom>
            <a:gradFill flip="none" rotWithShape="1">
              <a:gsLst>
                <a:gs pos="0">
                  <a:srgbClr val="7030A0"/>
                </a:gs>
                <a:gs pos="17000">
                  <a:srgbClr val="7030A0">
                    <a:lumMod val="74000"/>
                    <a:lumOff val="26000"/>
                  </a:srgbClr>
                </a:gs>
                <a:gs pos="61000">
                  <a:srgbClr val="FFFFFE">
                    <a:alpha val="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nvGrpSpPr>
          <p:cNvPr id="158" name="Gruppieren 157"/>
          <p:cNvGrpSpPr/>
          <p:nvPr/>
        </p:nvGrpSpPr>
        <p:grpSpPr>
          <a:xfrm>
            <a:off x="4283109" y="1469830"/>
            <a:ext cx="915164" cy="915164"/>
            <a:chOff x="1321634" y="1454656"/>
            <a:chExt cx="915164" cy="915164"/>
          </a:xfrm>
        </p:grpSpPr>
        <p:sp>
          <p:nvSpPr>
            <p:cNvPr id="159" name="Ellipse 158"/>
            <p:cNvSpPr/>
            <p:nvPr/>
          </p:nvSpPr>
          <p:spPr bwMode="auto">
            <a:xfrm>
              <a:off x="1417318" y="1552025"/>
              <a:ext cx="711115" cy="711115"/>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60" name="Ellipse 159"/>
            <p:cNvSpPr/>
            <p:nvPr/>
          </p:nvSpPr>
          <p:spPr bwMode="auto">
            <a:xfrm flipV="1">
              <a:off x="1321634" y="1454656"/>
              <a:ext cx="915164" cy="915164"/>
            </a:xfrm>
            <a:prstGeom prst="ellipse">
              <a:avLst/>
            </a:prstGeom>
            <a:gradFill flip="none" rotWithShape="1">
              <a:gsLst>
                <a:gs pos="0">
                  <a:srgbClr val="7030A0"/>
                </a:gs>
                <a:gs pos="17000">
                  <a:srgbClr val="7030A0">
                    <a:lumMod val="74000"/>
                    <a:lumOff val="26000"/>
                  </a:srgbClr>
                </a:gs>
                <a:gs pos="61000">
                  <a:srgbClr val="FFFFFE">
                    <a:alpha val="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nvGrpSpPr>
          <p:cNvPr id="1028" name="Gruppieren 1027"/>
          <p:cNvGrpSpPr/>
          <p:nvPr/>
        </p:nvGrpSpPr>
        <p:grpSpPr>
          <a:xfrm>
            <a:off x="3823748" y="1442601"/>
            <a:ext cx="1110090" cy="942393"/>
            <a:chOff x="7587534" y="2619677"/>
            <a:chExt cx="1110090" cy="942393"/>
          </a:xfrm>
        </p:grpSpPr>
        <p:sp>
          <p:nvSpPr>
            <p:cNvPr id="139" name="Ellipse 138"/>
            <p:cNvSpPr/>
            <p:nvPr/>
          </p:nvSpPr>
          <p:spPr bwMode="auto">
            <a:xfrm flipV="1">
              <a:off x="7684997" y="2646906"/>
              <a:ext cx="915164" cy="915164"/>
            </a:xfrm>
            <a:prstGeom prst="ellipse">
              <a:avLst/>
            </a:prstGeom>
            <a:gradFill flip="none" rotWithShape="1">
              <a:gsLst>
                <a:gs pos="0">
                  <a:srgbClr val="66CCFF">
                    <a:tint val="66000"/>
                    <a:satMod val="160000"/>
                  </a:srgbClr>
                </a:gs>
                <a:gs pos="34000">
                  <a:srgbClr val="66CCFF">
                    <a:tint val="44500"/>
                    <a:satMod val="160000"/>
                    <a:alpha val="61000"/>
                  </a:srgbClr>
                </a:gs>
                <a:gs pos="58000">
                  <a:srgbClr val="66CCFF">
                    <a:tint val="23500"/>
                    <a:satMod val="160000"/>
                    <a:alpha val="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6" name="Freihandform 65"/>
            <p:cNvSpPr/>
            <p:nvPr/>
          </p:nvSpPr>
          <p:spPr bwMode="auto">
            <a:xfrm>
              <a:off x="7587534" y="2619677"/>
              <a:ext cx="1110090" cy="774383"/>
            </a:xfrm>
            <a:custGeom>
              <a:avLst/>
              <a:gdLst>
                <a:gd name="connsiteX0" fmla="*/ 0 w 4119418"/>
                <a:gd name="connsiteY0" fmla="*/ 1341527 h 1396945"/>
                <a:gd name="connsiteX1" fmla="*/ 775854 w 4119418"/>
                <a:gd name="connsiteY1" fmla="*/ 1202981 h 1396945"/>
                <a:gd name="connsiteX2" fmla="*/ 1477818 w 4119418"/>
                <a:gd name="connsiteY2" fmla="*/ 279345 h 1396945"/>
                <a:gd name="connsiteX3" fmla="*/ 1911927 w 4119418"/>
                <a:gd name="connsiteY3" fmla="*/ 20727 h 1396945"/>
                <a:gd name="connsiteX4" fmla="*/ 2401454 w 4119418"/>
                <a:gd name="connsiteY4" fmla="*/ 113090 h 1396945"/>
                <a:gd name="connsiteX5" fmla="*/ 2992582 w 4119418"/>
                <a:gd name="connsiteY5" fmla="*/ 879709 h 1396945"/>
                <a:gd name="connsiteX6" fmla="*/ 3445163 w 4119418"/>
                <a:gd name="connsiteY6" fmla="*/ 1286109 h 1396945"/>
                <a:gd name="connsiteX7" fmla="*/ 4119418 w 4119418"/>
                <a:gd name="connsiteY7" fmla="*/ 1396945 h 1396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418" h="1396945">
                  <a:moveTo>
                    <a:pt x="0" y="1341527"/>
                  </a:moveTo>
                  <a:cubicBezTo>
                    <a:pt x="264775" y="1360769"/>
                    <a:pt x="529551" y="1380011"/>
                    <a:pt x="775854" y="1202981"/>
                  </a:cubicBezTo>
                  <a:cubicBezTo>
                    <a:pt x="1022157" y="1025951"/>
                    <a:pt x="1288473" y="476387"/>
                    <a:pt x="1477818" y="279345"/>
                  </a:cubicBezTo>
                  <a:cubicBezTo>
                    <a:pt x="1667164" y="82303"/>
                    <a:pt x="1757988" y="48436"/>
                    <a:pt x="1911927" y="20727"/>
                  </a:cubicBezTo>
                  <a:cubicBezTo>
                    <a:pt x="2065866" y="-6982"/>
                    <a:pt x="2221345" y="-30074"/>
                    <a:pt x="2401454" y="113090"/>
                  </a:cubicBezTo>
                  <a:cubicBezTo>
                    <a:pt x="2581563" y="256254"/>
                    <a:pt x="2818631" y="684206"/>
                    <a:pt x="2992582" y="879709"/>
                  </a:cubicBezTo>
                  <a:cubicBezTo>
                    <a:pt x="3166534" y="1075212"/>
                    <a:pt x="3257357" y="1199903"/>
                    <a:pt x="3445163" y="1286109"/>
                  </a:cubicBezTo>
                  <a:cubicBezTo>
                    <a:pt x="3632969" y="1372315"/>
                    <a:pt x="3876193" y="1384630"/>
                    <a:pt x="4119418" y="1396945"/>
                  </a:cubicBezTo>
                </a:path>
              </a:pathLst>
            </a:custGeom>
            <a:noFill/>
            <a:ln w="3175" cap="flat" cmpd="sng" algn="ctr">
              <a:solidFill>
                <a:schemeClr val="tx1"/>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31" name="Ellipse 30"/>
            <p:cNvSpPr/>
            <p:nvPr/>
          </p:nvSpPr>
          <p:spPr bwMode="auto">
            <a:xfrm flipV="1">
              <a:off x="8044026" y="3006869"/>
              <a:ext cx="175464" cy="175464"/>
            </a:xfrm>
            <a:prstGeom prst="ellipse">
              <a:avLst/>
            </a:prstGeom>
            <a:solidFill>
              <a:srgbClr val="66CCFF"/>
            </a:solidFill>
            <a:ln w="3175" cap="flat" cmpd="sng" algn="ctr">
              <a:solidFill>
                <a:srgbClr val="0070C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sp>
        <p:nvSpPr>
          <p:cNvPr id="168" name="Freihandform 167"/>
          <p:cNvSpPr/>
          <p:nvPr/>
        </p:nvSpPr>
        <p:spPr bwMode="auto">
          <a:xfrm>
            <a:off x="1548958" y="4396575"/>
            <a:ext cx="5762723" cy="1505603"/>
          </a:xfrm>
          <a:custGeom>
            <a:avLst/>
            <a:gdLst>
              <a:gd name="connsiteX0" fmla="*/ 0 w 6134100"/>
              <a:gd name="connsiteY0" fmla="*/ 15240 h 15240"/>
              <a:gd name="connsiteX1" fmla="*/ 6134100 w 6134100"/>
              <a:gd name="connsiteY1" fmla="*/ 0 h 15240"/>
              <a:gd name="connsiteX2" fmla="*/ 6134100 w 6134100"/>
              <a:gd name="connsiteY2" fmla="*/ 0 h 15240"/>
              <a:gd name="connsiteX0" fmla="*/ 0 w 6134100"/>
              <a:gd name="connsiteY0" fmla="*/ 15240 h 15240"/>
              <a:gd name="connsiteX1" fmla="*/ 3009900 w 6134100"/>
              <a:gd name="connsiteY1" fmla="*/ 15240 h 15240"/>
              <a:gd name="connsiteX2" fmla="*/ 6134100 w 6134100"/>
              <a:gd name="connsiteY2" fmla="*/ 0 h 15240"/>
              <a:gd name="connsiteX3" fmla="*/ 6134100 w 6134100"/>
              <a:gd name="connsiteY3" fmla="*/ 0 h 1524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1310640 w 6134100"/>
              <a:gd name="connsiteY1" fmla="*/ 74676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495800 w 6134100"/>
              <a:gd name="connsiteY3" fmla="*/ 632460 h 1341120"/>
              <a:gd name="connsiteX4" fmla="*/ 6134100 w 6134100"/>
              <a:gd name="connsiteY4" fmla="*/ 1325880 h 1341120"/>
              <a:gd name="connsiteX5" fmla="*/ 6134100 w 6134100"/>
              <a:gd name="connsiteY5"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556760 w 6134100"/>
              <a:gd name="connsiteY3" fmla="*/ 1036320 h 1341120"/>
              <a:gd name="connsiteX4" fmla="*/ 6134100 w 6134100"/>
              <a:gd name="connsiteY4" fmla="*/ 1325880 h 1341120"/>
              <a:gd name="connsiteX5" fmla="*/ 6134100 w 6134100"/>
              <a:gd name="connsiteY5" fmla="*/ 1325880 h 1341120"/>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64"/>
              <a:gd name="connsiteX1" fmla="*/ 2987040 w 6134100"/>
              <a:gd name="connsiteY1" fmla="*/ 4 h 1341164"/>
              <a:gd name="connsiteX2" fmla="*/ 6134100 w 6134100"/>
              <a:gd name="connsiteY2" fmla="*/ 1325884 h 1341164"/>
              <a:gd name="connsiteX3" fmla="*/ 6134100 w 6134100"/>
              <a:gd name="connsiteY3" fmla="*/ 1325884 h 1341164"/>
              <a:gd name="connsiteX0" fmla="*/ 0 w 6449629"/>
              <a:gd name="connsiteY0" fmla="*/ 1341124 h 1375661"/>
              <a:gd name="connsiteX1" fmla="*/ 2987040 w 6449629"/>
              <a:gd name="connsiteY1" fmla="*/ 4 h 1375661"/>
              <a:gd name="connsiteX2" fmla="*/ 6134100 w 6449629"/>
              <a:gd name="connsiteY2" fmla="*/ 1325884 h 1375661"/>
              <a:gd name="connsiteX3" fmla="*/ 6399310 w 6449629"/>
              <a:gd name="connsiteY3" fmla="*/ 1067921 h 1375661"/>
              <a:gd name="connsiteX0" fmla="*/ 0 w 6431465"/>
              <a:gd name="connsiteY0" fmla="*/ 1341229 h 1341269"/>
              <a:gd name="connsiteX1" fmla="*/ 2987040 w 6431465"/>
              <a:gd name="connsiteY1" fmla="*/ 109 h 1341269"/>
              <a:gd name="connsiteX2" fmla="*/ 6101953 w 6431465"/>
              <a:gd name="connsiteY2" fmla="*/ 1264892 h 1341269"/>
              <a:gd name="connsiteX3" fmla="*/ 6399310 w 6431465"/>
              <a:gd name="connsiteY3" fmla="*/ 1068026 h 1341269"/>
              <a:gd name="connsiteX0" fmla="*/ 0 w 6101953"/>
              <a:gd name="connsiteY0" fmla="*/ 1341229 h 1341269"/>
              <a:gd name="connsiteX1" fmla="*/ 2987040 w 6101953"/>
              <a:gd name="connsiteY1" fmla="*/ 109 h 1341269"/>
              <a:gd name="connsiteX2" fmla="*/ 6101953 w 6101953"/>
              <a:gd name="connsiteY2" fmla="*/ 1264892 h 1341269"/>
              <a:gd name="connsiteX0" fmla="*/ 0 w 6077843"/>
              <a:gd name="connsiteY0" fmla="*/ 1341298 h 1341338"/>
              <a:gd name="connsiteX1" fmla="*/ 2987040 w 6077843"/>
              <a:gd name="connsiteY1" fmla="*/ 178 h 1341338"/>
              <a:gd name="connsiteX2" fmla="*/ 6077843 w 6077843"/>
              <a:gd name="connsiteY2" fmla="*/ 1244596 h 1341338"/>
              <a:gd name="connsiteX0" fmla="*/ 0 w 6077843"/>
              <a:gd name="connsiteY0" fmla="*/ 1341271 h 1341311"/>
              <a:gd name="connsiteX1" fmla="*/ 2987040 w 6077843"/>
              <a:gd name="connsiteY1" fmla="*/ 151 h 1341311"/>
              <a:gd name="connsiteX2" fmla="*/ 6077843 w 6077843"/>
              <a:gd name="connsiteY2" fmla="*/ 1244569 h 1341311"/>
            </a:gdLst>
            <a:ahLst/>
            <a:cxnLst>
              <a:cxn ang="0">
                <a:pos x="connsiteX0" y="connsiteY0"/>
              </a:cxn>
              <a:cxn ang="0">
                <a:pos x="connsiteX1" y="connsiteY1"/>
              </a:cxn>
              <a:cxn ang="0">
                <a:pos x="connsiteX2" y="connsiteY2"/>
              </a:cxn>
            </a:cxnLst>
            <a:rect l="l" t="t" r="r" b="b"/>
            <a:pathLst>
              <a:path w="6077843" h="1341311">
                <a:moveTo>
                  <a:pt x="0" y="1341271"/>
                </a:moveTo>
                <a:cubicBezTo>
                  <a:pt x="1811173" y="1349768"/>
                  <a:pt x="1974066" y="16268"/>
                  <a:pt x="2987040" y="151"/>
                </a:cubicBezTo>
                <a:cubicBezTo>
                  <a:pt x="4000014" y="-15966"/>
                  <a:pt x="4207189" y="1270238"/>
                  <a:pt x="6077843" y="1244569"/>
                </a:cubicBezTo>
              </a:path>
            </a:pathLst>
          </a:custGeom>
          <a:noFill/>
          <a:ln w="12700"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69" name="Textfeld 168"/>
          <p:cNvSpPr txBox="1"/>
          <p:nvPr/>
        </p:nvSpPr>
        <p:spPr>
          <a:xfrm>
            <a:off x="6895770" y="4565234"/>
            <a:ext cx="2036654" cy="533593"/>
          </a:xfrm>
          <a:prstGeom prst="rect">
            <a:avLst/>
          </a:prstGeom>
          <a:noFill/>
        </p:spPr>
        <p:txBody>
          <a:bodyPr wrap="square" rtlCol="0">
            <a:noAutofit/>
          </a:bodyPr>
          <a:lstStyle/>
          <a:p>
            <a:pPr eaLnBrk="0" fontAlgn="base" hangingPunct="0">
              <a:spcBef>
                <a:spcPct val="0"/>
              </a:spcBef>
              <a:spcAft>
                <a:spcPct val="0"/>
              </a:spcAft>
            </a:pPr>
            <a:r>
              <a:rPr lang="en-US" sz="1400" dirty="0">
                <a:solidFill>
                  <a:srgbClr val="000000"/>
                </a:solidFill>
              </a:rPr>
              <a:t>At 1 </a:t>
            </a:r>
            <a:r>
              <a:rPr lang="en-US" sz="1400" dirty="0" err="1">
                <a:solidFill>
                  <a:srgbClr val="000000"/>
                </a:solidFill>
              </a:rPr>
              <a:t>A.u</a:t>
            </a:r>
            <a:r>
              <a:rPr lang="en-US" sz="1400" dirty="0">
                <a:solidFill>
                  <a:srgbClr val="000000"/>
                </a:solidFill>
              </a:rPr>
              <a:t>. The PSF is mapped directly 1:1</a:t>
            </a:r>
          </a:p>
        </p:txBody>
      </p:sp>
      <p:sp>
        <p:nvSpPr>
          <p:cNvPr id="170" name="Textfeld 169"/>
          <p:cNvSpPr txBox="1"/>
          <p:nvPr/>
        </p:nvSpPr>
        <p:spPr>
          <a:xfrm>
            <a:off x="6798590" y="2331720"/>
            <a:ext cx="2194490" cy="519515"/>
          </a:xfrm>
          <a:prstGeom prst="rect">
            <a:avLst/>
          </a:prstGeom>
          <a:noFill/>
        </p:spPr>
        <p:txBody>
          <a:bodyPr wrap="square" rtlCol="0">
            <a:noAutofit/>
          </a:bodyPr>
          <a:lstStyle/>
          <a:p>
            <a:pPr eaLnBrk="0" fontAlgn="base" hangingPunct="0">
              <a:spcBef>
                <a:spcPct val="0"/>
              </a:spcBef>
              <a:spcAft>
                <a:spcPct val="0"/>
              </a:spcAft>
            </a:pPr>
            <a:r>
              <a:rPr lang="en-US" sz="1400" dirty="0">
                <a:solidFill>
                  <a:srgbClr val="000000"/>
                </a:solidFill>
              </a:rPr>
              <a:t>excitation and detection</a:t>
            </a:r>
          </a:p>
          <a:p>
            <a:pPr eaLnBrk="0" fontAlgn="base" hangingPunct="0">
              <a:spcBef>
                <a:spcPct val="0"/>
              </a:spcBef>
              <a:spcAft>
                <a:spcPct val="0"/>
              </a:spcAft>
            </a:pPr>
            <a:r>
              <a:rPr lang="en-US" sz="1400" dirty="0">
                <a:solidFill>
                  <a:srgbClr val="000000"/>
                </a:solidFill>
              </a:rPr>
              <a:t>are scanned in sync</a:t>
            </a:r>
          </a:p>
        </p:txBody>
      </p:sp>
      <p:cxnSp>
        <p:nvCxnSpPr>
          <p:cNvPr id="8" name="Gerade Verbindung mit Pfeil 7"/>
          <p:cNvCxnSpPr/>
          <p:nvPr/>
        </p:nvCxnSpPr>
        <p:spPr bwMode="auto">
          <a:xfrm>
            <a:off x="3227967" y="5184475"/>
            <a:ext cx="2396456" cy="0"/>
          </a:xfrm>
          <a:prstGeom prst="straightConnector1">
            <a:avLst/>
          </a:prstGeom>
          <a:solidFill>
            <a:schemeClr val="folHlink"/>
          </a:solidFill>
          <a:ln w="3175" cap="flat" cmpd="sng" algn="ctr">
            <a:solidFill>
              <a:schemeClr val="folHlink"/>
            </a:solidFill>
            <a:prstDash val="solid"/>
            <a:round/>
            <a:headEnd type="arrow"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1" name="Textfeld 100"/>
          <p:cNvSpPr txBox="1"/>
          <p:nvPr/>
        </p:nvSpPr>
        <p:spPr>
          <a:xfrm>
            <a:off x="3852996" y="5156882"/>
            <a:ext cx="982586" cy="348469"/>
          </a:xfrm>
          <a:prstGeom prst="rect">
            <a:avLst/>
          </a:prstGeom>
          <a:noFill/>
        </p:spPr>
        <p:txBody>
          <a:bodyPr wrap="square" rtlCol="0">
            <a:noAutofit/>
          </a:bodyPr>
          <a:lstStyle/>
          <a:p>
            <a:pPr eaLnBrk="0" fontAlgn="base" hangingPunct="0">
              <a:spcBef>
                <a:spcPct val="0"/>
              </a:spcBef>
              <a:spcAft>
                <a:spcPct val="0"/>
              </a:spcAft>
            </a:pPr>
            <a:r>
              <a:rPr lang="en-US" sz="1400" dirty="0">
                <a:solidFill>
                  <a:srgbClr val="000000"/>
                </a:solidFill>
              </a:rPr>
              <a:t>~ 240 nm</a:t>
            </a:r>
          </a:p>
        </p:txBody>
      </p:sp>
      <p:sp>
        <p:nvSpPr>
          <p:cNvPr id="102" name="Textfeld 101"/>
          <p:cNvSpPr txBox="1"/>
          <p:nvPr/>
        </p:nvSpPr>
        <p:spPr>
          <a:xfrm>
            <a:off x="310842" y="2653302"/>
            <a:ext cx="928854" cy="400050"/>
          </a:xfrm>
          <a:prstGeom prst="rect">
            <a:avLst/>
          </a:prstGeom>
          <a:noFill/>
        </p:spPr>
        <p:txBody>
          <a:bodyPr wrap="none" rtlCol="0">
            <a:noAutofit/>
          </a:bodyPr>
          <a:lstStyle/>
          <a:p>
            <a:pPr eaLnBrk="0" fontAlgn="base" hangingPunct="0">
              <a:spcBef>
                <a:spcPct val="0"/>
              </a:spcBef>
              <a:spcAft>
                <a:spcPct val="0"/>
              </a:spcAft>
            </a:pPr>
            <a:r>
              <a:rPr lang="en-US" sz="1200" dirty="0">
                <a:solidFill>
                  <a:srgbClr val="000000"/>
                </a:solidFill>
              </a:rPr>
              <a:t>detection</a:t>
            </a:r>
          </a:p>
        </p:txBody>
      </p:sp>
      <p:sp>
        <p:nvSpPr>
          <p:cNvPr id="103" name="Freihandform 102"/>
          <p:cNvSpPr/>
          <p:nvPr/>
        </p:nvSpPr>
        <p:spPr bwMode="auto">
          <a:xfrm flipV="1">
            <a:off x="411481" y="2255083"/>
            <a:ext cx="1487302" cy="426215"/>
          </a:xfrm>
          <a:custGeom>
            <a:avLst/>
            <a:gdLst>
              <a:gd name="connsiteX0" fmla="*/ 0 w 1203960"/>
              <a:gd name="connsiteY0" fmla="*/ 0 h 243840"/>
              <a:gd name="connsiteX1" fmla="*/ 670560 w 1203960"/>
              <a:gd name="connsiteY1" fmla="*/ 0 h 243840"/>
              <a:gd name="connsiteX2" fmla="*/ 1203960 w 1203960"/>
              <a:gd name="connsiteY2" fmla="*/ 243840 h 243840"/>
              <a:gd name="connsiteX0" fmla="*/ 0 w 1234440"/>
              <a:gd name="connsiteY0" fmla="*/ 0 h 160020"/>
              <a:gd name="connsiteX1" fmla="*/ 670560 w 1234440"/>
              <a:gd name="connsiteY1" fmla="*/ 0 h 160020"/>
              <a:gd name="connsiteX2" fmla="*/ 1234440 w 1234440"/>
              <a:gd name="connsiteY2" fmla="*/ 160020 h 160020"/>
              <a:gd name="connsiteX0" fmla="*/ 0 w 1342527"/>
              <a:gd name="connsiteY0" fmla="*/ 0 h 194857"/>
              <a:gd name="connsiteX1" fmla="*/ 670560 w 1342527"/>
              <a:gd name="connsiteY1" fmla="*/ 0 h 194857"/>
              <a:gd name="connsiteX2" fmla="*/ 1342527 w 1342527"/>
              <a:gd name="connsiteY2" fmla="*/ 194857 h 194857"/>
            </a:gdLst>
            <a:ahLst/>
            <a:cxnLst>
              <a:cxn ang="0">
                <a:pos x="connsiteX0" y="connsiteY0"/>
              </a:cxn>
              <a:cxn ang="0">
                <a:pos x="connsiteX1" y="connsiteY1"/>
              </a:cxn>
              <a:cxn ang="0">
                <a:pos x="connsiteX2" y="connsiteY2"/>
              </a:cxn>
            </a:cxnLst>
            <a:rect l="l" t="t" r="r" b="b"/>
            <a:pathLst>
              <a:path w="1342527" h="194857">
                <a:moveTo>
                  <a:pt x="0" y="0"/>
                </a:moveTo>
                <a:lnTo>
                  <a:pt x="670560" y="0"/>
                </a:lnTo>
                <a:lnTo>
                  <a:pt x="1342527" y="194857"/>
                </a:lnTo>
              </a:path>
            </a:pathLst>
          </a:custGeom>
          <a:noFill/>
          <a:ln w="3175"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 name="Date Placeholder 5"/>
          <p:cNvSpPr>
            <a:spLocks noGrp="1"/>
          </p:cNvSpPr>
          <p:nvPr>
            <p:ph type="dt" sz="half" idx="10"/>
          </p:nvPr>
        </p:nvSpPr>
        <p:spPr/>
        <p:txBody>
          <a:bodyPr/>
          <a:lstStyle/>
          <a:p>
            <a:fld id="{7D828560-5B2F-4795-B789-6CEE6439547A}" type="datetime1">
              <a:rPr lang="de-DE" smtClean="0">
                <a:solidFill>
                  <a:srgbClr val="000000"/>
                </a:solidFill>
              </a:rPr>
              <a:pPr/>
              <a:t>28.02.2019</a:t>
            </a:fld>
            <a:endParaRPr lang="en-US" dirty="0">
              <a:solidFill>
                <a:srgbClr val="000000"/>
              </a:solidFill>
            </a:endParaRPr>
          </a:p>
        </p:txBody>
      </p:sp>
      <p:sp>
        <p:nvSpPr>
          <p:cNvPr id="9" name="Slide Number Placeholder 8"/>
          <p:cNvSpPr>
            <a:spLocks noGrp="1"/>
          </p:cNvSpPr>
          <p:nvPr>
            <p:ph type="sldNum" sz="quarter" idx="11"/>
          </p:nvPr>
        </p:nvSpPr>
        <p:spPr/>
        <p:txBody>
          <a:bodyPr/>
          <a:lstStyle/>
          <a:p>
            <a:fld id="{E7106F61-AEF5-4A9D-9A53-47E3DFDE314C}" type="slidenum">
              <a:rPr lang="de-DE" smtClean="0">
                <a:solidFill>
                  <a:srgbClr val="000000"/>
                </a:solidFill>
              </a:rPr>
              <a:pPr/>
              <a:t>36</a:t>
            </a:fld>
            <a:endParaRPr lang="de-DE">
              <a:solidFill>
                <a:srgbClr val="000000"/>
              </a:solidFill>
            </a:endParaRPr>
          </a:p>
        </p:txBody>
      </p:sp>
    </p:spTree>
    <p:extLst>
      <p:ext uri="{BB962C8B-B14F-4D97-AF65-F5344CB8AC3E}">
        <p14:creationId xmlns:p14="http://schemas.microsoft.com/office/powerpoint/2010/main" val="14082202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0"/>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100"/>
                                  </p:stCondLst>
                                  <p:childTnLst>
                                    <p:set>
                                      <p:cBhvr>
                                        <p:cTn id="9" dur="1" fill="hold">
                                          <p:stCondLst>
                                            <p:cond delay="0"/>
                                          </p:stCondLst>
                                        </p:cTn>
                                        <p:tgtEl>
                                          <p:spTgt spid="89"/>
                                        </p:tgtEl>
                                        <p:attrNameLst>
                                          <p:attrName>style.visibility</p:attrName>
                                        </p:attrNameLst>
                                      </p:cBhvr>
                                      <p:to>
                                        <p:strVal val="visible"/>
                                      </p:to>
                                    </p:set>
                                  </p:childTnLst>
                                </p:cTn>
                              </p:par>
                            </p:childTnLst>
                          </p:cTn>
                        </p:par>
                        <p:par>
                          <p:cTn id="10" fill="hold">
                            <p:stCondLst>
                              <p:cond delay="100"/>
                            </p:stCondLst>
                            <p:childTnLst>
                              <p:par>
                                <p:cTn id="11" presetID="1" presetClass="entr" presetSubtype="0" fill="hold" grpId="0" nodeType="afterEffect">
                                  <p:stCondLst>
                                    <p:cond delay="100"/>
                                  </p:stCondLst>
                                  <p:childTnLst>
                                    <p:set>
                                      <p:cBhvr>
                                        <p:cTn id="12" dur="1" fill="hold">
                                          <p:stCondLst>
                                            <p:cond delay="0"/>
                                          </p:stCondLst>
                                        </p:cTn>
                                        <p:tgtEl>
                                          <p:spTgt spid="20"/>
                                        </p:tgtEl>
                                        <p:attrNameLst>
                                          <p:attrName>style.visibility</p:attrName>
                                        </p:attrNameLst>
                                      </p:cBhvr>
                                      <p:to>
                                        <p:strVal val="visible"/>
                                      </p:to>
                                    </p:set>
                                  </p:childTnLst>
                                </p:cTn>
                              </p:par>
                            </p:childTnLst>
                          </p:cTn>
                        </p:par>
                        <p:par>
                          <p:cTn id="13" fill="hold">
                            <p:stCondLst>
                              <p:cond delay="200"/>
                            </p:stCondLst>
                            <p:childTnLst>
                              <p:par>
                                <p:cTn id="14" presetID="1" presetClass="entr" presetSubtype="0" fill="hold" nodeType="afterEffect">
                                  <p:stCondLst>
                                    <p:cond delay="100"/>
                                  </p:stCondLst>
                                  <p:childTnLst>
                                    <p:set>
                                      <p:cBhvr>
                                        <p:cTn id="15" dur="1" fill="hold">
                                          <p:stCondLst>
                                            <p:cond delay="0"/>
                                          </p:stCondLst>
                                        </p:cTn>
                                        <p:tgtEl>
                                          <p:spTgt spid="24"/>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143"/>
                                        </p:tgtEl>
                                        <p:attrNameLst>
                                          <p:attrName>style.visibility</p:attrName>
                                        </p:attrNameLst>
                                      </p:cBhvr>
                                      <p:to>
                                        <p:strVal val="visible"/>
                                      </p:to>
                                    </p:set>
                                  </p:childTnLst>
                                </p:cTn>
                              </p:par>
                              <p:par>
                                <p:cTn id="20" presetID="1" presetClass="exit" presetSubtype="0" fill="hold" nodeType="withEffect">
                                  <p:stCondLst>
                                    <p:cond delay="0"/>
                                  </p:stCondLst>
                                  <p:childTnLst>
                                    <p:set>
                                      <p:cBhvr>
                                        <p:cTn id="21" dur="1" fill="hold">
                                          <p:stCondLst>
                                            <p:cond delay="0"/>
                                          </p:stCondLst>
                                        </p:cTn>
                                        <p:tgtEl>
                                          <p:spTgt spid="140"/>
                                        </p:tgtEl>
                                        <p:attrNameLst>
                                          <p:attrName>style.visibility</p:attrName>
                                        </p:attrNameLst>
                                      </p:cBhvr>
                                      <p:to>
                                        <p:strVal val="hidden"/>
                                      </p:to>
                                    </p:set>
                                  </p:childTnLst>
                                </p:cTn>
                              </p:par>
                            </p:childTnLst>
                          </p:cTn>
                        </p:par>
                        <p:par>
                          <p:cTn id="22" fill="hold">
                            <p:stCondLst>
                              <p:cond delay="0"/>
                            </p:stCondLst>
                            <p:childTnLst>
                              <p:par>
                                <p:cTn id="23" presetID="1" presetClass="entr" presetSubtype="0" fill="hold" grpId="0" nodeType="afterEffect">
                                  <p:stCondLst>
                                    <p:cond delay="100"/>
                                  </p:stCondLst>
                                  <p:childTnLst>
                                    <p:set>
                                      <p:cBhvr>
                                        <p:cTn id="24" dur="1" fill="hold">
                                          <p:stCondLst>
                                            <p:cond delay="0"/>
                                          </p:stCondLst>
                                        </p:cTn>
                                        <p:tgtEl>
                                          <p:spTgt spid="3"/>
                                        </p:tgtEl>
                                        <p:attrNameLst>
                                          <p:attrName>style.visibility</p:attrName>
                                        </p:attrNameLst>
                                      </p:cBhvr>
                                      <p:to>
                                        <p:strVal val="visible"/>
                                      </p:to>
                                    </p:set>
                                  </p:childTnLst>
                                </p:cTn>
                              </p:par>
                            </p:childTnLst>
                          </p:cTn>
                        </p:par>
                        <p:par>
                          <p:cTn id="25" fill="hold">
                            <p:stCondLst>
                              <p:cond delay="100"/>
                            </p:stCondLst>
                            <p:childTnLst>
                              <p:par>
                                <p:cTn id="26" presetID="1" presetClass="entr" presetSubtype="0" fill="hold" nodeType="afterEffect">
                                  <p:stCondLst>
                                    <p:cond delay="100"/>
                                  </p:stCondLst>
                                  <p:childTnLst>
                                    <p:set>
                                      <p:cBhvr>
                                        <p:cTn id="27" dur="1" fill="hold">
                                          <p:stCondLst>
                                            <p:cond delay="0"/>
                                          </p:stCondLst>
                                        </p:cTn>
                                        <p:tgtEl>
                                          <p:spTgt spid="93"/>
                                        </p:tgtEl>
                                        <p:attrNameLst>
                                          <p:attrName>style.visibility</p:attrName>
                                        </p:attrNameLst>
                                      </p:cBhvr>
                                      <p:to>
                                        <p:strVal val="visible"/>
                                      </p:to>
                                    </p:set>
                                  </p:childTnLst>
                                </p:cTn>
                              </p:par>
                            </p:childTnLst>
                          </p:cTn>
                        </p:par>
                        <p:par>
                          <p:cTn id="28" fill="hold">
                            <p:stCondLst>
                              <p:cond delay="200"/>
                            </p:stCondLst>
                            <p:childTnLst>
                              <p:par>
                                <p:cTn id="29" presetID="1" presetClass="entr" presetSubtype="0" fill="hold" grpId="0" nodeType="afterEffect">
                                  <p:stCondLst>
                                    <p:cond delay="100"/>
                                  </p:stCondLst>
                                  <p:childTnLst>
                                    <p:set>
                                      <p:cBhvr>
                                        <p:cTn id="30" dur="1" fill="hold">
                                          <p:stCondLst>
                                            <p:cond delay="0"/>
                                          </p:stCondLst>
                                        </p:cTn>
                                        <p:tgtEl>
                                          <p:spTgt spid="8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46"/>
                                        </p:tgtEl>
                                        <p:attrNameLst>
                                          <p:attrName>style.visibility</p:attrName>
                                        </p:attrNameLst>
                                      </p:cBhvr>
                                      <p:to>
                                        <p:strVal val="visible"/>
                                      </p:to>
                                    </p:set>
                                  </p:childTnLst>
                                </p:cTn>
                              </p:par>
                              <p:par>
                                <p:cTn id="35" presetID="1" presetClass="exit" presetSubtype="0" fill="hold" nodeType="withEffect">
                                  <p:stCondLst>
                                    <p:cond delay="0"/>
                                  </p:stCondLst>
                                  <p:childTnLst>
                                    <p:set>
                                      <p:cBhvr>
                                        <p:cTn id="36" dur="1" fill="hold">
                                          <p:stCondLst>
                                            <p:cond delay="0"/>
                                          </p:stCondLst>
                                        </p:cTn>
                                        <p:tgtEl>
                                          <p:spTgt spid="143"/>
                                        </p:tgtEl>
                                        <p:attrNameLst>
                                          <p:attrName>style.visibility</p:attrName>
                                        </p:attrNameLst>
                                      </p:cBhvr>
                                      <p:to>
                                        <p:strVal val="hidden"/>
                                      </p:to>
                                    </p:set>
                                  </p:childTnLst>
                                </p:cTn>
                              </p:par>
                            </p:childTnLst>
                          </p:cTn>
                        </p:par>
                        <p:par>
                          <p:cTn id="37" fill="hold">
                            <p:stCondLst>
                              <p:cond delay="0"/>
                            </p:stCondLst>
                            <p:childTnLst>
                              <p:par>
                                <p:cTn id="38" presetID="1" presetClass="entr" presetSubtype="0" fill="hold" grpId="0" nodeType="afterEffect">
                                  <p:stCondLst>
                                    <p:cond delay="100"/>
                                  </p:stCondLst>
                                  <p:childTnLst>
                                    <p:set>
                                      <p:cBhvr>
                                        <p:cTn id="39" dur="1" fill="hold">
                                          <p:stCondLst>
                                            <p:cond delay="0"/>
                                          </p:stCondLst>
                                        </p:cTn>
                                        <p:tgtEl>
                                          <p:spTgt spid="58"/>
                                        </p:tgtEl>
                                        <p:attrNameLst>
                                          <p:attrName>style.visibility</p:attrName>
                                        </p:attrNameLst>
                                      </p:cBhvr>
                                      <p:to>
                                        <p:strVal val="visible"/>
                                      </p:to>
                                    </p:set>
                                  </p:childTnLst>
                                </p:cTn>
                              </p:par>
                            </p:childTnLst>
                          </p:cTn>
                        </p:par>
                        <p:par>
                          <p:cTn id="40" fill="hold">
                            <p:stCondLst>
                              <p:cond delay="100"/>
                            </p:stCondLst>
                            <p:childTnLst>
                              <p:par>
                                <p:cTn id="41" presetID="1" presetClass="entr" presetSubtype="0" fill="hold" nodeType="afterEffect">
                                  <p:stCondLst>
                                    <p:cond delay="100"/>
                                  </p:stCondLst>
                                  <p:childTnLst>
                                    <p:set>
                                      <p:cBhvr>
                                        <p:cTn id="42" dur="1" fill="hold">
                                          <p:stCondLst>
                                            <p:cond delay="0"/>
                                          </p:stCondLst>
                                        </p:cTn>
                                        <p:tgtEl>
                                          <p:spTgt spid="94"/>
                                        </p:tgtEl>
                                        <p:attrNameLst>
                                          <p:attrName>style.visibility</p:attrName>
                                        </p:attrNameLst>
                                      </p:cBhvr>
                                      <p:to>
                                        <p:strVal val="visible"/>
                                      </p:to>
                                    </p:set>
                                  </p:childTnLst>
                                </p:cTn>
                              </p:par>
                            </p:childTnLst>
                          </p:cTn>
                        </p:par>
                        <p:par>
                          <p:cTn id="43" fill="hold">
                            <p:stCondLst>
                              <p:cond delay="200"/>
                            </p:stCondLst>
                            <p:childTnLst>
                              <p:par>
                                <p:cTn id="44" presetID="1" presetClass="entr" presetSubtype="0" fill="hold" grpId="0" nodeType="afterEffect">
                                  <p:stCondLst>
                                    <p:cond delay="100"/>
                                  </p:stCondLst>
                                  <p:childTnLst>
                                    <p:set>
                                      <p:cBhvr>
                                        <p:cTn id="45" dur="1" fill="hold">
                                          <p:stCondLst>
                                            <p:cond delay="0"/>
                                          </p:stCondLst>
                                        </p:cTn>
                                        <p:tgtEl>
                                          <p:spTgt spid="82"/>
                                        </p:tgtEl>
                                        <p:attrNameLst>
                                          <p:attrName>style.visibility</p:attrName>
                                        </p:attrNameLst>
                                      </p:cBhvr>
                                      <p:to>
                                        <p:strVal val="visible"/>
                                      </p:to>
                                    </p:set>
                                  </p:childTnLst>
                                </p:cTn>
                              </p:par>
                            </p:childTnLst>
                          </p:cTn>
                        </p:par>
                      </p:childTnLst>
                    </p:cTn>
                  </p:par>
                  <p:par>
                    <p:cTn id="46" fill="hold">
                      <p:stCondLst>
                        <p:cond delay="indefinite"/>
                      </p:stCondLst>
                      <p:childTnLst>
                        <p:par>
                          <p:cTn id="47" fill="hold">
                            <p:stCondLst>
                              <p:cond delay="0"/>
                            </p:stCondLst>
                            <p:childTnLst>
                              <p:par>
                                <p:cTn id="48" presetID="1" presetClass="entr" presetSubtype="0" fill="hold" nodeType="clickEffect">
                                  <p:stCondLst>
                                    <p:cond delay="0"/>
                                  </p:stCondLst>
                                  <p:childTnLst>
                                    <p:set>
                                      <p:cBhvr>
                                        <p:cTn id="49" dur="1" fill="hold">
                                          <p:stCondLst>
                                            <p:cond delay="0"/>
                                          </p:stCondLst>
                                        </p:cTn>
                                        <p:tgtEl>
                                          <p:spTgt spid="152"/>
                                        </p:tgtEl>
                                        <p:attrNameLst>
                                          <p:attrName>style.visibility</p:attrName>
                                        </p:attrNameLst>
                                      </p:cBhvr>
                                      <p:to>
                                        <p:strVal val="visible"/>
                                      </p:to>
                                    </p:set>
                                  </p:childTnLst>
                                </p:cTn>
                              </p:par>
                              <p:par>
                                <p:cTn id="50" presetID="1" presetClass="exit" presetSubtype="0" fill="hold" nodeType="withEffect">
                                  <p:stCondLst>
                                    <p:cond delay="0"/>
                                  </p:stCondLst>
                                  <p:childTnLst>
                                    <p:set>
                                      <p:cBhvr>
                                        <p:cTn id="51" dur="1" fill="hold">
                                          <p:stCondLst>
                                            <p:cond delay="0"/>
                                          </p:stCondLst>
                                        </p:cTn>
                                        <p:tgtEl>
                                          <p:spTgt spid="146"/>
                                        </p:tgtEl>
                                        <p:attrNameLst>
                                          <p:attrName>style.visibility</p:attrName>
                                        </p:attrNameLst>
                                      </p:cBhvr>
                                      <p:to>
                                        <p:strVal val="hidden"/>
                                      </p:to>
                                    </p:set>
                                  </p:childTnLst>
                                </p:cTn>
                              </p:par>
                            </p:childTnLst>
                          </p:cTn>
                        </p:par>
                        <p:par>
                          <p:cTn id="52" fill="hold">
                            <p:stCondLst>
                              <p:cond delay="0"/>
                            </p:stCondLst>
                            <p:childTnLst>
                              <p:par>
                                <p:cTn id="53" presetID="1" presetClass="entr" presetSubtype="0" fill="hold" grpId="0" nodeType="afterEffect">
                                  <p:stCondLst>
                                    <p:cond delay="100"/>
                                  </p:stCondLst>
                                  <p:childTnLst>
                                    <p:set>
                                      <p:cBhvr>
                                        <p:cTn id="54" dur="1" fill="hold">
                                          <p:stCondLst>
                                            <p:cond delay="0"/>
                                          </p:stCondLst>
                                        </p:cTn>
                                        <p:tgtEl>
                                          <p:spTgt spid="59"/>
                                        </p:tgtEl>
                                        <p:attrNameLst>
                                          <p:attrName>style.visibility</p:attrName>
                                        </p:attrNameLst>
                                      </p:cBhvr>
                                      <p:to>
                                        <p:strVal val="visible"/>
                                      </p:to>
                                    </p:set>
                                  </p:childTnLst>
                                </p:cTn>
                              </p:par>
                            </p:childTnLst>
                          </p:cTn>
                        </p:par>
                        <p:par>
                          <p:cTn id="55" fill="hold">
                            <p:stCondLst>
                              <p:cond delay="100"/>
                            </p:stCondLst>
                            <p:childTnLst>
                              <p:par>
                                <p:cTn id="56" presetID="1" presetClass="entr" presetSubtype="0" fill="hold" nodeType="afterEffect">
                                  <p:stCondLst>
                                    <p:cond delay="100"/>
                                  </p:stCondLst>
                                  <p:childTnLst>
                                    <p:set>
                                      <p:cBhvr>
                                        <p:cTn id="57" dur="1" fill="hold">
                                          <p:stCondLst>
                                            <p:cond delay="0"/>
                                          </p:stCondLst>
                                        </p:cTn>
                                        <p:tgtEl>
                                          <p:spTgt spid="95"/>
                                        </p:tgtEl>
                                        <p:attrNameLst>
                                          <p:attrName>style.visibility</p:attrName>
                                        </p:attrNameLst>
                                      </p:cBhvr>
                                      <p:to>
                                        <p:strVal val="visible"/>
                                      </p:to>
                                    </p:set>
                                  </p:childTnLst>
                                </p:cTn>
                              </p:par>
                            </p:childTnLst>
                          </p:cTn>
                        </p:par>
                        <p:par>
                          <p:cTn id="58" fill="hold">
                            <p:stCondLst>
                              <p:cond delay="200"/>
                            </p:stCondLst>
                            <p:childTnLst>
                              <p:par>
                                <p:cTn id="59" presetID="1" presetClass="entr" presetSubtype="0" fill="hold" grpId="0" nodeType="afterEffect">
                                  <p:stCondLst>
                                    <p:cond delay="100"/>
                                  </p:stCondLst>
                                  <p:childTnLst>
                                    <p:set>
                                      <p:cBhvr>
                                        <p:cTn id="60" dur="1" fill="hold">
                                          <p:stCondLst>
                                            <p:cond delay="0"/>
                                          </p:stCondLst>
                                        </p:cTn>
                                        <p:tgtEl>
                                          <p:spTgt spid="83"/>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155"/>
                                        </p:tgtEl>
                                        <p:attrNameLst>
                                          <p:attrName>style.visibility</p:attrName>
                                        </p:attrNameLst>
                                      </p:cBhvr>
                                      <p:to>
                                        <p:strVal val="visible"/>
                                      </p:to>
                                    </p:set>
                                  </p:childTnLst>
                                </p:cTn>
                              </p:par>
                              <p:par>
                                <p:cTn id="65" presetID="1" presetClass="exit" presetSubtype="0" fill="hold" nodeType="withEffect">
                                  <p:stCondLst>
                                    <p:cond delay="0"/>
                                  </p:stCondLst>
                                  <p:childTnLst>
                                    <p:set>
                                      <p:cBhvr>
                                        <p:cTn id="66" dur="1" fill="hold">
                                          <p:stCondLst>
                                            <p:cond delay="0"/>
                                          </p:stCondLst>
                                        </p:cTn>
                                        <p:tgtEl>
                                          <p:spTgt spid="152"/>
                                        </p:tgtEl>
                                        <p:attrNameLst>
                                          <p:attrName>style.visibility</p:attrName>
                                        </p:attrNameLst>
                                      </p:cBhvr>
                                      <p:to>
                                        <p:strVal val="hidden"/>
                                      </p:to>
                                    </p:set>
                                  </p:childTnLst>
                                </p:cTn>
                              </p:par>
                            </p:childTnLst>
                          </p:cTn>
                        </p:par>
                        <p:par>
                          <p:cTn id="67" fill="hold">
                            <p:stCondLst>
                              <p:cond delay="0"/>
                            </p:stCondLst>
                            <p:childTnLst>
                              <p:par>
                                <p:cTn id="68" presetID="1" presetClass="entr" presetSubtype="0" fill="hold" grpId="0" nodeType="afterEffect">
                                  <p:stCondLst>
                                    <p:cond delay="100"/>
                                  </p:stCondLst>
                                  <p:childTnLst>
                                    <p:set>
                                      <p:cBhvr>
                                        <p:cTn id="69" dur="1" fill="hold">
                                          <p:stCondLst>
                                            <p:cond delay="0"/>
                                          </p:stCondLst>
                                        </p:cTn>
                                        <p:tgtEl>
                                          <p:spTgt spid="60"/>
                                        </p:tgtEl>
                                        <p:attrNameLst>
                                          <p:attrName>style.visibility</p:attrName>
                                        </p:attrNameLst>
                                      </p:cBhvr>
                                      <p:to>
                                        <p:strVal val="visible"/>
                                      </p:to>
                                    </p:set>
                                  </p:childTnLst>
                                </p:cTn>
                              </p:par>
                            </p:childTnLst>
                          </p:cTn>
                        </p:par>
                        <p:par>
                          <p:cTn id="70" fill="hold">
                            <p:stCondLst>
                              <p:cond delay="100"/>
                            </p:stCondLst>
                            <p:childTnLst>
                              <p:par>
                                <p:cTn id="71" presetID="1" presetClass="entr" presetSubtype="0" fill="hold" nodeType="afterEffect">
                                  <p:stCondLst>
                                    <p:cond delay="100"/>
                                  </p:stCondLst>
                                  <p:childTnLst>
                                    <p:set>
                                      <p:cBhvr>
                                        <p:cTn id="72" dur="1" fill="hold">
                                          <p:stCondLst>
                                            <p:cond delay="0"/>
                                          </p:stCondLst>
                                        </p:cTn>
                                        <p:tgtEl>
                                          <p:spTgt spid="96"/>
                                        </p:tgtEl>
                                        <p:attrNameLst>
                                          <p:attrName>style.visibility</p:attrName>
                                        </p:attrNameLst>
                                      </p:cBhvr>
                                      <p:to>
                                        <p:strVal val="visible"/>
                                      </p:to>
                                    </p:set>
                                  </p:childTnLst>
                                </p:cTn>
                              </p:par>
                            </p:childTnLst>
                          </p:cTn>
                        </p:par>
                        <p:par>
                          <p:cTn id="73" fill="hold">
                            <p:stCondLst>
                              <p:cond delay="200"/>
                            </p:stCondLst>
                            <p:childTnLst>
                              <p:par>
                                <p:cTn id="74" presetID="1" presetClass="entr" presetSubtype="0" fill="hold" grpId="0" nodeType="afterEffect">
                                  <p:stCondLst>
                                    <p:cond delay="100"/>
                                  </p:stCondLst>
                                  <p:childTnLst>
                                    <p:set>
                                      <p:cBhvr>
                                        <p:cTn id="75" dur="1" fill="hold">
                                          <p:stCondLst>
                                            <p:cond delay="0"/>
                                          </p:stCondLst>
                                        </p:cTn>
                                        <p:tgtEl>
                                          <p:spTgt spid="85"/>
                                        </p:tgtEl>
                                        <p:attrNameLst>
                                          <p:attrName>style.visibility</p:attrName>
                                        </p:attrNameLst>
                                      </p:cBhvr>
                                      <p:to>
                                        <p:strVal val="visible"/>
                                      </p:to>
                                    </p:set>
                                  </p:childTnLst>
                                </p:cTn>
                              </p:par>
                            </p:childTnLst>
                          </p:cTn>
                        </p:par>
                      </p:childTnLst>
                    </p:cTn>
                  </p:par>
                  <p:par>
                    <p:cTn id="76" fill="hold">
                      <p:stCondLst>
                        <p:cond delay="indefinite"/>
                      </p:stCondLst>
                      <p:childTnLst>
                        <p:par>
                          <p:cTn id="77" fill="hold">
                            <p:stCondLst>
                              <p:cond delay="0"/>
                            </p:stCondLst>
                            <p:childTnLst>
                              <p:par>
                                <p:cTn id="78" presetID="1" presetClass="entr" presetSubtype="0" fill="hold" nodeType="clickEffect">
                                  <p:stCondLst>
                                    <p:cond delay="0"/>
                                  </p:stCondLst>
                                  <p:childTnLst>
                                    <p:set>
                                      <p:cBhvr>
                                        <p:cTn id="79" dur="1" fill="hold">
                                          <p:stCondLst>
                                            <p:cond delay="0"/>
                                          </p:stCondLst>
                                        </p:cTn>
                                        <p:tgtEl>
                                          <p:spTgt spid="158"/>
                                        </p:tgtEl>
                                        <p:attrNameLst>
                                          <p:attrName>style.visibility</p:attrName>
                                        </p:attrNameLst>
                                      </p:cBhvr>
                                      <p:to>
                                        <p:strVal val="visible"/>
                                      </p:to>
                                    </p:set>
                                  </p:childTnLst>
                                </p:cTn>
                              </p:par>
                              <p:par>
                                <p:cTn id="80" presetID="1" presetClass="exit" presetSubtype="0" fill="hold" nodeType="withEffect">
                                  <p:stCondLst>
                                    <p:cond delay="0"/>
                                  </p:stCondLst>
                                  <p:childTnLst>
                                    <p:set>
                                      <p:cBhvr>
                                        <p:cTn id="81" dur="1" fill="hold">
                                          <p:stCondLst>
                                            <p:cond delay="0"/>
                                          </p:stCondLst>
                                        </p:cTn>
                                        <p:tgtEl>
                                          <p:spTgt spid="155"/>
                                        </p:tgtEl>
                                        <p:attrNameLst>
                                          <p:attrName>style.visibility</p:attrName>
                                        </p:attrNameLst>
                                      </p:cBhvr>
                                      <p:to>
                                        <p:strVal val="hidden"/>
                                      </p:to>
                                    </p:set>
                                  </p:childTnLst>
                                </p:cTn>
                              </p:par>
                            </p:childTnLst>
                          </p:cTn>
                        </p:par>
                        <p:par>
                          <p:cTn id="82" fill="hold">
                            <p:stCondLst>
                              <p:cond delay="0"/>
                            </p:stCondLst>
                            <p:childTnLst>
                              <p:par>
                                <p:cTn id="83" presetID="1" presetClass="entr" presetSubtype="0" fill="hold" grpId="0" nodeType="afterEffect">
                                  <p:stCondLst>
                                    <p:cond delay="100"/>
                                  </p:stCondLst>
                                  <p:childTnLst>
                                    <p:set>
                                      <p:cBhvr>
                                        <p:cTn id="84" dur="1" fill="hold">
                                          <p:stCondLst>
                                            <p:cond delay="0"/>
                                          </p:stCondLst>
                                        </p:cTn>
                                        <p:tgtEl>
                                          <p:spTgt spid="61"/>
                                        </p:tgtEl>
                                        <p:attrNameLst>
                                          <p:attrName>style.visibility</p:attrName>
                                        </p:attrNameLst>
                                      </p:cBhvr>
                                      <p:to>
                                        <p:strVal val="visible"/>
                                      </p:to>
                                    </p:set>
                                  </p:childTnLst>
                                </p:cTn>
                              </p:par>
                            </p:childTnLst>
                          </p:cTn>
                        </p:par>
                        <p:par>
                          <p:cTn id="85" fill="hold">
                            <p:stCondLst>
                              <p:cond delay="100"/>
                            </p:stCondLst>
                            <p:childTnLst>
                              <p:par>
                                <p:cTn id="86" presetID="1" presetClass="entr" presetSubtype="0" fill="hold" nodeType="afterEffect">
                                  <p:stCondLst>
                                    <p:cond delay="100"/>
                                  </p:stCondLst>
                                  <p:childTnLst>
                                    <p:set>
                                      <p:cBhvr>
                                        <p:cTn id="87" dur="1" fill="hold">
                                          <p:stCondLst>
                                            <p:cond delay="0"/>
                                          </p:stCondLst>
                                        </p:cTn>
                                        <p:tgtEl>
                                          <p:spTgt spid="97"/>
                                        </p:tgtEl>
                                        <p:attrNameLst>
                                          <p:attrName>style.visibility</p:attrName>
                                        </p:attrNameLst>
                                      </p:cBhvr>
                                      <p:to>
                                        <p:strVal val="visible"/>
                                      </p:to>
                                    </p:set>
                                  </p:childTnLst>
                                </p:cTn>
                              </p:par>
                            </p:childTnLst>
                          </p:cTn>
                        </p:par>
                        <p:par>
                          <p:cTn id="88" fill="hold">
                            <p:stCondLst>
                              <p:cond delay="200"/>
                            </p:stCondLst>
                            <p:childTnLst>
                              <p:par>
                                <p:cTn id="89" presetID="1" presetClass="entr" presetSubtype="0" fill="hold" grpId="0" nodeType="afterEffect">
                                  <p:stCondLst>
                                    <p:cond delay="100"/>
                                  </p:stCondLst>
                                  <p:childTnLst>
                                    <p:set>
                                      <p:cBhvr>
                                        <p:cTn id="90" dur="1" fill="hold">
                                          <p:stCondLst>
                                            <p:cond delay="0"/>
                                          </p:stCondLst>
                                        </p:cTn>
                                        <p:tgtEl>
                                          <p:spTgt spid="87"/>
                                        </p:tgtEl>
                                        <p:attrNameLst>
                                          <p:attrName>style.visibility</p:attrName>
                                        </p:attrNameLst>
                                      </p:cBhvr>
                                      <p:to>
                                        <p:strVal val="visible"/>
                                      </p:to>
                                    </p:set>
                                  </p:childTnLst>
                                </p:cTn>
                              </p:par>
                            </p:childTnLst>
                          </p:cTn>
                        </p:par>
                      </p:childTnLst>
                    </p:cTn>
                  </p:par>
                  <p:par>
                    <p:cTn id="91" fill="hold">
                      <p:stCondLst>
                        <p:cond delay="indefinite"/>
                      </p:stCondLst>
                      <p:childTnLst>
                        <p:par>
                          <p:cTn id="92" fill="hold">
                            <p:stCondLst>
                              <p:cond delay="0"/>
                            </p:stCondLst>
                            <p:childTnLst>
                              <p:par>
                                <p:cTn id="93" presetID="1" presetClass="entr" presetSubtype="0" fill="hold" nodeType="clickEffect">
                                  <p:stCondLst>
                                    <p:cond delay="0"/>
                                  </p:stCondLst>
                                  <p:childTnLst>
                                    <p:set>
                                      <p:cBhvr>
                                        <p:cTn id="94" dur="1" fill="hold">
                                          <p:stCondLst>
                                            <p:cond delay="0"/>
                                          </p:stCondLst>
                                        </p:cTn>
                                        <p:tgtEl>
                                          <p:spTgt spid="161"/>
                                        </p:tgtEl>
                                        <p:attrNameLst>
                                          <p:attrName>style.visibility</p:attrName>
                                        </p:attrNameLst>
                                      </p:cBhvr>
                                      <p:to>
                                        <p:strVal val="visible"/>
                                      </p:to>
                                    </p:set>
                                  </p:childTnLst>
                                </p:cTn>
                              </p:par>
                              <p:par>
                                <p:cTn id="95" presetID="1" presetClass="exit" presetSubtype="0" fill="hold" nodeType="withEffect">
                                  <p:stCondLst>
                                    <p:cond delay="0"/>
                                  </p:stCondLst>
                                  <p:childTnLst>
                                    <p:set>
                                      <p:cBhvr>
                                        <p:cTn id="96" dur="1" fill="hold">
                                          <p:stCondLst>
                                            <p:cond delay="0"/>
                                          </p:stCondLst>
                                        </p:cTn>
                                        <p:tgtEl>
                                          <p:spTgt spid="158"/>
                                        </p:tgtEl>
                                        <p:attrNameLst>
                                          <p:attrName>style.visibility</p:attrName>
                                        </p:attrNameLst>
                                      </p:cBhvr>
                                      <p:to>
                                        <p:strVal val="hidden"/>
                                      </p:to>
                                    </p:set>
                                  </p:childTnLst>
                                </p:cTn>
                              </p:par>
                            </p:childTnLst>
                          </p:cTn>
                        </p:par>
                        <p:par>
                          <p:cTn id="97" fill="hold">
                            <p:stCondLst>
                              <p:cond delay="0"/>
                            </p:stCondLst>
                            <p:childTnLst>
                              <p:par>
                                <p:cTn id="98" presetID="1" presetClass="entr" presetSubtype="0" fill="hold" grpId="0" nodeType="afterEffect">
                                  <p:stCondLst>
                                    <p:cond delay="100"/>
                                  </p:stCondLst>
                                  <p:childTnLst>
                                    <p:set>
                                      <p:cBhvr>
                                        <p:cTn id="99" dur="1" fill="hold">
                                          <p:stCondLst>
                                            <p:cond delay="0"/>
                                          </p:stCondLst>
                                        </p:cTn>
                                        <p:tgtEl>
                                          <p:spTgt spid="88"/>
                                        </p:tgtEl>
                                        <p:attrNameLst>
                                          <p:attrName>style.visibility</p:attrName>
                                        </p:attrNameLst>
                                      </p:cBhvr>
                                      <p:to>
                                        <p:strVal val="visible"/>
                                      </p:to>
                                    </p:set>
                                  </p:childTnLst>
                                </p:cTn>
                              </p:par>
                            </p:childTnLst>
                          </p:cTn>
                        </p:par>
                        <p:par>
                          <p:cTn id="100" fill="hold">
                            <p:stCondLst>
                              <p:cond delay="100"/>
                            </p:stCondLst>
                            <p:childTnLst>
                              <p:par>
                                <p:cTn id="101" presetID="1" presetClass="entr" presetSubtype="0" fill="hold" nodeType="afterEffect">
                                  <p:stCondLst>
                                    <p:cond delay="100"/>
                                  </p:stCondLst>
                                  <p:childTnLst>
                                    <p:set>
                                      <p:cBhvr>
                                        <p:cTn id="102" dur="1" fill="hold">
                                          <p:stCondLst>
                                            <p:cond delay="0"/>
                                          </p:stCondLst>
                                        </p:cTn>
                                        <p:tgtEl>
                                          <p:spTgt spid="98"/>
                                        </p:tgtEl>
                                        <p:attrNameLst>
                                          <p:attrName>style.visibility</p:attrName>
                                        </p:attrNameLst>
                                      </p:cBhvr>
                                      <p:to>
                                        <p:strVal val="visible"/>
                                      </p:to>
                                    </p:set>
                                  </p:childTnLst>
                                </p:cTn>
                              </p:par>
                            </p:childTnLst>
                          </p:cTn>
                        </p:par>
                        <p:par>
                          <p:cTn id="103" fill="hold">
                            <p:stCondLst>
                              <p:cond delay="200"/>
                            </p:stCondLst>
                            <p:childTnLst>
                              <p:par>
                                <p:cTn id="104" presetID="1" presetClass="entr" presetSubtype="0" fill="hold" grpId="0" nodeType="afterEffect">
                                  <p:stCondLst>
                                    <p:cond delay="100"/>
                                  </p:stCondLst>
                                  <p:childTnLst>
                                    <p:set>
                                      <p:cBhvr>
                                        <p:cTn id="105" dur="1" fill="hold">
                                          <p:stCondLst>
                                            <p:cond delay="0"/>
                                          </p:stCondLst>
                                        </p:cTn>
                                        <p:tgtEl>
                                          <p:spTgt spid="92"/>
                                        </p:tgtEl>
                                        <p:attrNameLst>
                                          <p:attrName>style.visibility</p:attrName>
                                        </p:attrNameLst>
                                      </p:cBhvr>
                                      <p:to>
                                        <p:strVal val="visible"/>
                                      </p:to>
                                    </p:set>
                                  </p:childTnLst>
                                </p:cTn>
                              </p:par>
                            </p:childTnLst>
                          </p:cTn>
                        </p:par>
                      </p:childTnLst>
                    </p:cTn>
                  </p:par>
                  <p:par>
                    <p:cTn id="106" fill="hold">
                      <p:stCondLst>
                        <p:cond delay="indefinite"/>
                      </p:stCondLst>
                      <p:childTnLst>
                        <p:par>
                          <p:cTn id="107" fill="hold">
                            <p:stCondLst>
                              <p:cond delay="0"/>
                            </p:stCondLst>
                            <p:childTnLst>
                              <p:par>
                                <p:cTn id="108" presetID="10" presetClass="entr" presetSubtype="0" fill="hold" grpId="0" nodeType="clickEffect">
                                  <p:stCondLst>
                                    <p:cond delay="0"/>
                                  </p:stCondLst>
                                  <p:childTnLst>
                                    <p:set>
                                      <p:cBhvr>
                                        <p:cTn id="109" dur="1" fill="hold">
                                          <p:stCondLst>
                                            <p:cond delay="0"/>
                                          </p:stCondLst>
                                        </p:cTn>
                                        <p:tgtEl>
                                          <p:spTgt spid="168"/>
                                        </p:tgtEl>
                                        <p:attrNameLst>
                                          <p:attrName>style.visibility</p:attrName>
                                        </p:attrNameLst>
                                      </p:cBhvr>
                                      <p:to>
                                        <p:strVal val="visible"/>
                                      </p:to>
                                    </p:set>
                                    <p:animEffect transition="in" filter="fade">
                                      <p:cBhvr>
                                        <p:cTn id="110" dur="500"/>
                                        <p:tgtEl>
                                          <p:spTgt spid="168"/>
                                        </p:tgtEl>
                                      </p:cBhvr>
                                    </p:animEffect>
                                  </p:childTnLst>
                                </p:cTn>
                              </p:par>
                              <p:par>
                                <p:cTn id="111" presetID="10" presetClass="exit" presetSubtype="0" fill="hold" nodeType="withEffect">
                                  <p:stCondLst>
                                    <p:cond delay="0"/>
                                  </p:stCondLst>
                                  <p:childTnLst>
                                    <p:animEffect transition="out" filter="fade">
                                      <p:cBhvr>
                                        <p:cTn id="112" dur="500"/>
                                        <p:tgtEl>
                                          <p:spTgt spid="161"/>
                                        </p:tgtEl>
                                      </p:cBhvr>
                                    </p:animEffect>
                                    <p:set>
                                      <p:cBhvr>
                                        <p:cTn id="113" dur="1" fill="hold">
                                          <p:stCondLst>
                                            <p:cond delay="499"/>
                                          </p:stCondLst>
                                        </p:cTn>
                                        <p:tgtEl>
                                          <p:spTgt spid="161"/>
                                        </p:tgtEl>
                                        <p:attrNameLst>
                                          <p:attrName>style.visibility</p:attrName>
                                        </p:attrNameLst>
                                      </p:cBhvr>
                                      <p:to>
                                        <p:strVal val="hidden"/>
                                      </p:to>
                                    </p:set>
                                  </p:childTnLst>
                                </p:cTn>
                              </p:par>
                            </p:childTnLst>
                          </p:cTn>
                        </p:par>
                      </p:childTnLst>
                    </p:cTn>
                  </p:par>
                  <p:par>
                    <p:cTn id="114" fill="hold">
                      <p:stCondLst>
                        <p:cond delay="indefinite"/>
                      </p:stCondLst>
                      <p:childTnLst>
                        <p:par>
                          <p:cTn id="115" fill="hold">
                            <p:stCondLst>
                              <p:cond delay="0"/>
                            </p:stCondLst>
                            <p:childTnLst>
                              <p:par>
                                <p:cTn id="116" presetID="1" presetClass="entr" presetSubtype="0" fill="hold" nodeType="clickEffect">
                                  <p:stCondLst>
                                    <p:cond delay="0"/>
                                  </p:stCondLst>
                                  <p:childTnLst>
                                    <p:set>
                                      <p:cBhvr>
                                        <p:cTn id="117" dur="1" fill="hold">
                                          <p:stCondLst>
                                            <p:cond delay="0"/>
                                          </p:stCondLst>
                                        </p:cTn>
                                        <p:tgtEl>
                                          <p:spTgt spid="8"/>
                                        </p:tgtEl>
                                        <p:attrNameLst>
                                          <p:attrName>style.visibility</p:attrName>
                                        </p:attrNameLst>
                                      </p:cBhvr>
                                      <p:to>
                                        <p:strVal val="visible"/>
                                      </p:to>
                                    </p:set>
                                  </p:childTnLst>
                                </p:cTn>
                              </p:par>
                              <p:par>
                                <p:cTn id="118" presetID="1" presetClass="entr" presetSubtype="0" fill="hold" grpId="0" nodeType="withEffect">
                                  <p:stCondLst>
                                    <p:cond delay="0"/>
                                  </p:stCondLst>
                                  <p:childTnLst>
                                    <p:set>
                                      <p:cBhvr>
                                        <p:cTn id="119" dur="1" fill="hold">
                                          <p:stCondLst>
                                            <p:cond delay="0"/>
                                          </p:stCondLst>
                                        </p:cTn>
                                        <p:tgtEl>
                                          <p:spTgt spid="101"/>
                                        </p:tgtEl>
                                        <p:attrNameLst>
                                          <p:attrName>style.visibility</p:attrName>
                                        </p:attrNameLst>
                                      </p:cBhvr>
                                      <p:to>
                                        <p:strVal val="visible"/>
                                      </p:to>
                                    </p:set>
                                  </p:childTnLst>
                                </p:cTn>
                              </p:par>
                            </p:childTnLst>
                          </p:cTn>
                        </p:par>
                        <p:par>
                          <p:cTn id="120" fill="hold">
                            <p:stCondLst>
                              <p:cond delay="0"/>
                            </p:stCondLst>
                            <p:childTnLst>
                              <p:par>
                                <p:cTn id="121" presetID="1" presetClass="exit" presetSubtype="0" fill="hold" nodeType="afterEffect">
                                  <p:stCondLst>
                                    <p:cond delay="3000"/>
                                  </p:stCondLst>
                                  <p:childTnLst>
                                    <p:set>
                                      <p:cBhvr>
                                        <p:cTn id="122" dur="1" fill="hold">
                                          <p:stCondLst>
                                            <p:cond delay="0"/>
                                          </p:stCondLst>
                                        </p:cTn>
                                        <p:tgtEl>
                                          <p:spTgt spid="8"/>
                                        </p:tgtEl>
                                        <p:attrNameLst>
                                          <p:attrName>style.visibility</p:attrName>
                                        </p:attrNameLst>
                                      </p:cBhvr>
                                      <p:to>
                                        <p:strVal val="hidden"/>
                                      </p:to>
                                    </p:set>
                                  </p:childTnLst>
                                </p:cTn>
                              </p:par>
                              <p:par>
                                <p:cTn id="123" presetID="1" presetClass="exit" presetSubtype="0" fill="hold" grpId="1" nodeType="withEffect">
                                  <p:stCondLst>
                                    <p:cond delay="3000"/>
                                  </p:stCondLst>
                                  <p:childTnLst>
                                    <p:set>
                                      <p:cBhvr>
                                        <p:cTn id="124" dur="1" fill="hold">
                                          <p:stCondLst>
                                            <p:cond delay="0"/>
                                          </p:stCondLst>
                                        </p:cTn>
                                        <p:tgtEl>
                                          <p:spTgt spid="10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8" grpId="0" animBg="1"/>
      <p:bldP spid="60" grpId="0" animBg="1"/>
      <p:bldP spid="61" grpId="0" animBg="1"/>
      <p:bldP spid="59" grpId="0" animBg="1"/>
      <p:bldP spid="88" grpId="0" animBg="1"/>
      <p:bldP spid="89" grpId="0" animBg="1"/>
      <p:bldP spid="20" grpId="0" animBg="1"/>
      <p:bldP spid="81" grpId="0" animBg="1"/>
      <p:bldP spid="82" grpId="0" animBg="1"/>
      <p:bldP spid="83" grpId="0" animBg="1"/>
      <p:bldP spid="85" grpId="0" animBg="1"/>
      <p:bldP spid="87" grpId="0" animBg="1"/>
      <p:bldP spid="92" grpId="0" animBg="1"/>
      <p:bldP spid="168" grpId="0" animBg="1"/>
      <p:bldP spid="101" grpId="0"/>
      <p:bldP spid="101" grpId="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Scanning confocal and the 1 Airy unit pinhole “limit”.</a:t>
            </a:r>
            <a:br>
              <a:rPr lang="en-US" dirty="0"/>
            </a:br>
            <a:r>
              <a:rPr lang="en-US" sz="1800" b="0" dirty="0">
                <a:solidFill>
                  <a:schemeClr val="tx1"/>
                </a:solidFill>
              </a:rPr>
              <a:t>At PH &lt; 1 AU signal loss is larger than gain in resolution.</a:t>
            </a:r>
          </a:p>
        </p:txBody>
      </p:sp>
      <p:sp>
        <p:nvSpPr>
          <p:cNvPr id="4" name="Foliennummernplatzhalter 3"/>
          <p:cNvSpPr>
            <a:spLocks noGrp="1"/>
          </p:cNvSpPr>
          <p:nvPr>
            <p:ph type="sldNum" sz="quarter" idx="11"/>
          </p:nvPr>
        </p:nvSpPr>
        <p:spPr/>
        <p:txBody>
          <a:bodyPr/>
          <a:lstStyle/>
          <a:p>
            <a:fld id="{8205D155-24A6-4D1A-8D30-537BB875DDDF}" type="slidenum">
              <a:rPr lang="en-US" smtClean="0">
                <a:solidFill>
                  <a:srgbClr val="000000"/>
                </a:solidFill>
              </a:rPr>
              <a:pPr/>
              <a:t>37</a:t>
            </a:fld>
            <a:endParaRPr lang="en-US">
              <a:solidFill>
                <a:srgbClr val="000000"/>
              </a:solidFill>
            </a:endParaRPr>
          </a:p>
        </p:txBody>
      </p:sp>
      <p:sp>
        <p:nvSpPr>
          <p:cNvPr id="5" name="Fußzeilenplatzhalter 4"/>
          <p:cNvSpPr>
            <a:spLocks noGrp="1"/>
          </p:cNvSpPr>
          <p:nvPr>
            <p:ph type="ftr" sz="quarter" idx="12"/>
          </p:nvPr>
        </p:nvSpPr>
        <p:spPr/>
        <p:txBody>
          <a:bodyPr/>
          <a:lstStyle/>
          <a:p>
            <a:r>
              <a:rPr lang="en-US">
                <a:solidFill>
                  <a:srgbClr val="000000"/>
                </a:solidFill>
              </a:rPr>
              <a:t>Carl Zeiss Microscopy</a:t>
            </a:r>
            <a:endParaRPr lang="en-US" dirty="0">
              <a:solidFill>
                <a:srgbClr val="000000"/>
              </a:solidFill>
            </a:endParaRPr>
          </a:p>
        </p:txBody>
      </p:sp>
      <p:pic>
        <p:nvPicPr>
          <p:cNvPr id="6146" name="Picture 2"/>
          <p:cNvPicPr>
            <a:picLocks noChangeAspect="1" noChangeArrowheads="1"/>
          </p:cNvPicPr>
          <p:nvPr/>
        </p:nvPicPr>
        <p:blipFill rotWithShape="1">
          <a:blip r:embed="rId3">
            <a:extLst>
              <a:ext uri="{BEBA8EAE-BF5A-486C-A8C5-ECC9F3942E4B}">
                <a14:imgProps xmlns:a14="http://schemas.microsoft.com/office/drawing/2010/main">
                  <a14:imgLayer r:embed="rId4">
                    <a14:imgEffect>
                      <a14:colorTemperature colorTemp="8800"/>
                    </a14:imgEffect>
                  </a14:imgLayer>
                </a14:imgProps>
              </a:ext>
              <a:ext uri="{28A0092B-C50C-407E-A947-70E740481C1C}">
                <a14:useLocalDpi xmlns:a14="http://schemas.microsoft.com/office/drawing/2010/main" val="0"/>
              </a:ext>
            </a:extLst>
          </a:blip>
          <a:srcRect/>
          <a:stretch/>
        </p:blipFill>
        <p:spPr bwMode="auto">
          <a:xfrm>
            <a:off x="436610" y="2390588"/>
            <a:ext cx="5133975" cy="3952875"/>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hteck 5"/>
          <p:cNvSpPr/>
          <p:nvPr/>
        </p:nvSpPr>
        <p:spPr bwMode="auto">
          <a:xfrm>
            <a:off x="436610" y="3302816"/>
            <a:ext cx="5133975" cy="1516918"/>
          </a:xfrm>
          <a:prstGeom prst="rect">
            <a:avLst/>
          </a:prstGeom>
          <a:solidFill>
            <a:srgbClr val="FF0000">
              <a:alpha val="7843"/>
            </a:srgbClr>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cxnSp>
        <p:nvCxnSpPr>
          <p:cNvPr id="10" name="Gerade Verbindung 9"/>
          <p:cNvCxnSpPr/>
          <p:nvPr/>
        </p:nvCxnSpPr>
        <p:spPr bwMode="auto">
          <a:xfrm>
            <a:off x="436610" y="4362535"/>
            <a:ext cx="5133975" cy="0"/>
          </a:xfrm>
          <a:prstGeom prst="line">
            <a:avLst/>
          </a:prstGeom>
          <a:solidFill>
            <a:schemeClr val="folHlink"/>
          </a:solidFill>
          <a:ln w="19050" cap="flat" cmpd="sng" algn="ctr">
            <a:solidFill>
              <a:srgbClr val="FF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 name="Textfeld 10"/>
          <p:cNvSpPr txBox="1"/>
          <p:nvPr/>
        </p:nvSpPr>
        <p:spPr>
          <a:xfrm>
            <a:off x="337456" y="1404257"/>
            <a:ext cx="8196943" cy="914400"/>
          </a:xfrm>
          <a:prstGeom prst="rect">
            <a:avLst/>
          </a:prstGeom>
          <a:noFill/>
        </p:spPr>
        <p:txBody>
          <a:bodyPr wrap="square" rtlCol="0">
            <a:noAutofit/>
          </a:bodyPr>
          <a:lstStyle/>
          <a:p>
            <a:pPr eaLnBrk="0" fontAlgn="base" hangingPunct="0">
              <a:spcBef>
                <a:spcPct val="0"/>
              </a:spcBef>
              <a:spcAft>
                <a:spcPct val="0"/>
              </a:spcAft>
            </a:pPr>
            <a:r>
              <a:rPr lang="en-US" sz="1600" dirty="0">
                <a:solidFill>
                  <a:srgbClr val="000000"/>
                </a:solidFill>
              </a:rPr>
              <a:t>The potential to increase resolution by closing the pinhole (PH) is not a new idea (</a:t>
            </a:r>
            <a:r>
              <a:rPr lang="en-US" sz="1600" dirty="0">
                <a:solidFill>
                  <a:srgbClr val="FF0000"/>
                </a:solidFill>
              </a:rPr>
              <a:t>red</a:t>
            </a:r>
            <a:r>
              <a:rPr lang="en-US" sz="1600" dirty="0">
                <a:solidFill>
                  <a:srgbClr val="000000"/>
                </a:solidFill>
              </a:rPr>
              <a:t>)</a:t>
            </a:r>
          </a:p>
          <a:p>
            <a:pPr eaLnBrk="0" fontAlgn="base" hangingPunct="0">
              <a:spcBef>
                <a:spcPct val="0"/>
              </a:spcBef>
              <a:spcAft>
                <a:spcPct val="0"/>
              </a:spcAft>
            </a:pPr>
            <a:r>
              <a:rPr lang="en-US" sz="1600" dirty="0">
                <a:solidFill>
                  <a:srgbClr val="000000"/>
                </a:solidFill>
              </a:rPr>
              <a:t>One finds this idea described in many places, including Pawley’s Handbook of Confocal Microscopy</a:t>
            </a:r>
          </a:p>
        </p:txBody>
      </p:sp>
      <p:cxnSp>
        <p:nvCxnSpPr>
          <p:cNvPr id="13" name="Gerade Verbindung 12"/>
          <p:cNvCxnSpPr/>
          <p:nvPr/>
        </p:nvCxnSpPr>
        <p:spPr bwMode="auto">
          <a:xfrm>
            <a:off x="2363382" y="4567731"/>
            <a:ext cx="3207203" cy="0"/>
          </a:xfrm>
          <a:prstGeom prst="line">
            <a:avLst/>
          </a:prstGeom>
          <a:solidFill>
            <a:schemeClr val="folHlink"/>
          </a:solidFill>
          <a:ln w="28575" cap="flat" cmpd="sng" algn="ctr">
            <a:solidFill>
              <a:srgbClr val="00B05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Gerade Verbindung 28"/>
          <p:cNvCxnSpPr/>
          <p:nvPr/>
        </p:nvCxnSpPr>
        <p:spPr bwMode="auto">
          <a:xfrm>
            <a:off x="436610" y="4819734"/>
            <a:ext cx="674914" cy="0"/>
          </a:xfrm>
          <a:prstGeom prst="line">
            <a:avLst/>
          </a:prstGeom>
          <a:solidFill>
            <a:schemeClr val="folHlink"/>
          </a:solidFill>
          <a:ln w="28575" cap="flat" cmpd="sng" algn="ctr">
            <a:solidFill>
              <a:srgbClr val="00B05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 name="Textfeld 14"/>
          <p:cNvSpPr txBox="1"/>
          <p:nvPr/>
        </p:nvSpPr>
        <p:spPr>
          <a:xfrm>
            <a:off x="5772835" y="2531637"/>
            <a:ext cx="3095323" cy="914400"/>
          </a:xfrm>
          <a:prstGeom prst="rect">
            <a:avLst/>
          </a:prstGeom>
          <a:noFill/>
        </p:spPr>
        <p:txBody>
          <a:bodyPr wrap="none" rtlCol="0">
            <a:noAutofit/>
          </a:bodyPr>
          <a:lstStyle/>
          <a:p>
            <a:pPr eaLnBrk="0" fontAlgn="base" hangingPunct="0">
              <a:spcBef>
                <a:spcPct val="0"/>
              </a:spcBef>
              <a:spcAft>
                <a:spcPct val="0"/>
              </a:spcAft>
            </a:pPr>
            <a:r>
              <a:rPr lang="en-US" sz="1600" dirty="0">
                <a:solidFill>
                  <a:srgbClr val="000000"/>
                </a:solidFill>
              </a:rPr>
              <a:t>The price to pay, however, is </a:t>
            </a:r>
          </a:p>
          <a:p>
            <a:pPr eaLnBrk="0" fontAlgn="base" hangingPunct="0">
              <a:spcBef>
                <a:spcPct val="0"/>
              </a:spcBef>
              <a:spcAft>
                <a:spcPct val="0"/>
              </a:spcAft>
            </a:pPr>
            <a:r>
              <a:rPr lang="en-US" sz="1600" dirty="0">
                <a:solidFill>
                  <a:srgbClr val="000000"/>
                </a:solidFill>
              </a:rPr>
              <a:t>sacrificing 95% of the signal</a:t>
            </a:r>
          </a:p>
          <a:p>
            <a:pPr eaLnBrk="0" fontAlgn="base" hangingPunct="0">
              <a:spcBef>
                <a:spcPct val="0"/>
              </a:spcBef>
              <a:spcAft>
                <a:spcPct val="0"/>
              </a:spcAft>
            </a:pPr>
            <a:r>
              <a:rPr lang="en-US" sz="1600" dirty="0">
                <a:solidFill>
                  <a:srgbClr val="000000"/>
                </a:solidFill>
              </a:rPr>
              <a:t>(</a:t>
            </a:r>
            <a:r>
              <a:rPr lang="en-US" sz="1600" dirty="0">
                <a:solidFill>
                  <a:srgbClr val="00B050"/>
                </a:solidFill>
              </a:rPr>
              <a:t>green</a:t>
            </a:r>
            <a:r>
              <a:rPr lang="en-US" sz="1600" dirty="0">
                <a:solidFill>
                  <a:srgbClr val="000000"/>
                </a:solidFill>
              </a:rPr>
              <a:t>).</a:t>
            </a:r>
          </a:p>
        </p:txBody>
      </p:sp>
      <p:sp>
        <p:nvSpPr>
          <p:cNvPr id="34" name="Textfeld 33"/>
          <p:cNvSpPr txBox="1"/>
          <p:nvPr/>
        </p:nvSpPr>
        <p:spPr>
          <a:xfrm>
            <a:off x="5772835" y="3675351"/>
            <a:ext cx="2655486" cy="830405"/>
          </a:xfrm>
          <a:prstGeom prst="rect">
            <a:avLst/>
          </a:prstGeom>
          <a:noFill/>
        </p:spPr>
        <p:txBody>
          <a:bodyPr wrap="none" rtlCol="0">
            <a:noAutofit/>
          </a:bodyPr>
          <a:lstStyle/>
          <a:p>
            <a:pPr eaLnBrk="0" fontAlgn="base" hangingPunct="0">
              <a:spcBef>
                <a:spcPct val="0"/>
              </a:spcBef>
              <a:spcAft>
                <a:spcPct val="0"/>
              </a:spcAft>
            </a:pPr>
            <a:r>
              <a:rPr lang="en-US" sz="1600" dirty="0">
                <a:solidFill>
                  <a:srgbClr val="000000"/>
                </a:solidFill>
              </a:rPr>
              <a:t>The famous 1 AU setting </a:t>
            </a:r>
          </a:p>
          <a:p>
            <a:pPr eaLnBrk="0" fontAlgn="base" hangingPunct="0">
              <a:spcBef>
                <a:spcPct val="0"/>
              </a:spcBef>
              <a:spcAft>
                <a:spcPct val="0"/>
              </a:spcAft>
            </a:pPr>
            <a:r>
              <a:rPr lang="en-US" sz="1600" dirty="0">
                <a:solidFill>
                  <a:srgbClr val="000000"/>
                </a:solidFill>
              </a:rPr>
              <a:t>is more of a practical barrier </a:t>
            </a:r>
          </a:p>
          <a:p>
            <a:pPr eaLnBrk="0" fontAlgn="base" hangingPunct="0">
              <a:spcBef>
                <a:spcPct val="0"/>
              </a:spcBef>
              <a:spcAft>
                <a:spcPct val="0"/>
              </a:spcAft>
            </a:pPr>
            <a:r>
              <a:rPr lang="en-US" sz="1600" dirty="0">
                <a:solidFill>
                  <a:srgbClr val="000000"/>
                </a:solidFill>
              </a:rPr>
              <a:t>than a theoretical limit.</a:t>
            </a:r>
          </a:p>
        </p:txBody>
      </p:sp>
      <p:sp>
        <p:nvSpPr>
          <p:cNvPr id="14" name="Textfeld 13"/>
          <p:cNvSpPr txBox="1"/>
          <p:nvPr/>
        </p:nvSpPr>
        <p:spPr>
          <a:xfrm>
            <a:off x="5772835" y="4711855"/>
            <a:ext cx="2655486" cy="879528"/>
          </a:xfrm>
          <a:prstGeom prst="rect">
            <a:avLst/>
          </a:prstGeom>
          <a:noFill/>
        </p:spPr>
        <p:txBody>
          <a:bodyPr wrap="none" rtlCol="0">
            <a:noAutofit/>
          </a:bodyPr>
          <a:lstStyle/>
          <a:p>
            <a:pPr eaLnBrk="0" fontAlgn="base" hangingPunct="0">
              <a:spcBef>
                <a:spcPct val="0"/>
              </a:spcBef>
              <a:spcAft>
                <a:spcPct val="0"/>
              </a:spcAft>
            </a:pPr>
            <a:r>
              <a:rPr lang="en-US" sz="1600" dirty="0">
                <a:solidFill>
                  <a:srgbClr val="000000"/>
                </a:solidFill>
              </a:rPr>
              <a:t>Fortunately, now there is </a:t>
            </a:r>
          </a:p>
          <a:p>
            <a:pPr eaLnBrk="0" fontAlgn="base" hangingPunct="0">
              <a:spcBef>
                <a:spcPct val="0"/>
              </a:spcBef>
              <a:spcAft>
                <a:spcPct val="0"/>
              </a:spcAft>
            </a:pPr>
            <a:r>
              <a:rPr lang="en-US" sz="1600" dirty="0">
                <a:solidFill>
                  <a:srgbClr val="000000"/>
                </a:solidFill>
              </a:rPr>
              <a:t>a clever workaround with </a:t>
            </a:r>
          </a:p>
          <a:p>
            <a:pPr eaLnBrk="0" fontAlgn="base" hangingPunct="0">
              <a:spcBef>
                <a:spcPct val="0"/>
              </a:spcBef>
              <a:spcAft>
                <a:spcPct val="0"/>
              </a:spcAft>
            </a:pPr>
            <a:r>
              <a:rPr lang="en-US" sz="1600" dirty="0" err="1">
                <a:solidFill>
                  <a:srgbClr val="000000"/>
                </a:solidFill>
              </a:rPr>
              <a:t>Airyscan</a:t>
            </a:r>
            <a:r>
              <a:rPr lang="en-US" sz="1600" dirty="0">
                <a:solidFill>
                  <a:srgbClr val="000000"/>
                </a:solidFill>
              </a:rPr>
              <a:t>...</a:t>
            </a:r>
          </a:p>
        </p:txBody>
      </p:sp>
      <p:sp>
        <p:nvSpPr>
          <p:cNvPr id="3" name="Datumsplatzhalter 2"/>
          <p:cNvSpPr>
            <a:spLocks noGrp="1"/>
          </p:cNvSpPr>
          <p:nvPr>
            <p:ph type="dt" sz="half" idx="10"/>
          </p:nvPr>
        </p:nvSpPr>
        <p:spPr/>
        <p:txBody>
          <a:bodyPr/>
          <a:lstStyle/>
          <a:p>
            <a:fld id="{70E5FD58-47E5-4A40-A57D-BE8C2D695A63}" type="datetime1">
              <a:rPr lang="de-DE" smtClean="0">
                <a:solidFill>
                  <a:srgbClr val="000000"/>
                </a:solidFill>
              </a:rPr>
              <a:pPr/>
              <a:t>28.02.2019</a:t>
            </a:fld>
            <a:endParaRPr lang="en-US" dirty="0">
              <a:solidFill>
                <a:srgbClr val="000000"/>
              </a:solidFill>
            </a:endParaRPr>
          </a:p>
        </p:txBody>
      </p:sp>
    </p:spTree>
    <p:extLst>
      <p:ext uri="{BB962C8B-B14F-4D97-AF65-F5344CB8AC3E}">
        <p14:creationId xmlns:p14="http://schemas.microsoft.com/office/powerpoint/2010/main" val="307398199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bwMode="auto">
          <a:xfrm>
            <a:off x="0" y="0"/>
            <a:ext cx="914400" cy="0"/>
          </a:xfrm>
          <a:prstGeom prst="line">
            <a:avLst/>
          </a:prstGeom>
          <a:solidFill>
            <a:schemeClr val="folHlink"/>
          </a:solidFill>
          <a:ln w="0" cap="flat" cmpd="sng" algn="ctr">
            <a:solidFill>
              <a:srgbClr val="FBFFFF"/>
            </a:solidFill>
            <a:prstDash val="solid"/>
            <a:round/>
            <a:headEnd type="none" w="sm" len="sm"/>
            <a:tailEnd type="none" w="sm" len="sm"/>
          </a:ln>
          <a:effectLst/>
          <a:extLst>
            <a:ext uri="{AF507438-7753-43E0-B8FC-AC1667EBCBE1}">
              <a14:hiddenEffects xmlns:a14="http://schemas.microsoft.com/office/drawing/2010/main">
                <a:effectLst>
                  <a:outerShdw algn="ctr" rotWithShape="0">
                    <a:schemeClr val="bg2"/>
                  </a:outerShdw>
                </a:effectLst>
              </a14:hiddenEffects>
            </a:ext>
          </a:extLst>
        </p:spPr>
      </p:cxnSp>
      <p:sp>
        <p:nvSpPr>
          <p:cNvPr id="496" name="Textfeld 495"/>
          <p:cNvSpPr txBox="1"/>
          <p:nvPr/>
        </p:nvSpPr>
        <p:spPr>
          <a:xfrm>
            <a:off x="310842" y="2653302"/>
            <a:ext cx="928854" cy="400050"/>
          </a:xfrm>
          <a:prstGeom prst="rect">
            <a:avLst/>
          </a:prstGeom>
          <a:noFill/>
        </p:spPr>
        <p:txBody>
          <a:bodyPr wrap="none" rtlCol="0">
            <a:noAutofit/>
          </a:bodyPr>
          <a:lstStyle/>
          <a:p>
            <a:pPr eaLnBrk="0" fontAlgn="base" hangingPunct="0">
              <a:spcBef>
                <a:spcPct val="0"/>
              </a:spcBef>
              <a:spcAft>
                <a:spcPct val="0"/>
              </a:spcAft>
            </a:pPr>
            <a:r>
              <a:rPr lang="en-US" sz="1200" dirty="0">
                <a:solidFill>
                  <a:srgbClr val="000000"/>
                </a:solidFill>
              </a:rPr>
              <a:t>detection</a:t>
            </a:r>
          </a:p>
        </p:txBody>
      </p:sp>
      <p:sp>
        <p:nvSpPr>
          <p:cNvPr id="2" name="Titel 1"/>
          <p:cNvSpPr>
            <a:spLocks noGrp="1"/>
          </p:cNvSpPr>
          <p:nvPr>
            <p:ph type="title"/>
          </p:nvPr>
        </p:nvSpPr>
        <p:spPr/>
        <p:txBody>
          <a:bodyPr/>
          <a:lstStyle/>
          <a:p>
            <a:r>
              <a:rPr lang="en-US" dirty="0" err="1"/>
              <a:t>Airyscan</a:t>
            </a:r>
            <a:r>
              <a:rPr lang="en-US" dirty="0"/>
              <a:t>: PH ~ 0.2 </a:t>
            </a:r>
            <a:r>
              <a:rPr lang="en-US" dirty="0" err="1"/>
              <a:t>A.u</a:t>
            </a:r>
            <a:r>
              <a:rPr lang="en-US" dirty="0"/>
              <a:t>. scanning without loss.</a:t>
            </a:r>
            <a:br>
              <a:rPr lang="en-US" dirty="0"/>
            </a:br>
            <a:r>
              <a:rPr lang="en-US" sz="1800" b="0" dirty="0">
                <a:solidFill>
                  <a:schemeClr val="tx1"/>
                </a:solidFill>
              </a:rPr>
              <a:t>A single element improves resolution</a:t>
            </a:r>
            <a:endParaRPr lang="en-US" sz="2000" b="0" dirty="0">
              <a:solidFill>
                <a:schemeClr val="tx1"/>
              </a:solidFill>
            </a:endParaRPr>
          </a:p>
        </p:txBody>
      </p:sp>
      <p:sp>
        <p:nvSpPr>
          <p:cNvPr id="5" name="Fußzeilenplatzhalter 4"/>
          <p:cNvSpPr>
            <a:spLocks noGrp="1"/>
          </p:cNvSpPr>
          <p:nvPr>
            <p:ph type="ftr" sz="quarter" idx="12"/>
          </p:nvPr>
        </p:nvSpPr>
        <p:spPr/>
        <p:txBody>
          <a:bodyPr/>
          <a:lstStyle/>
          <a:p>
            <a:r>
              <a:rPr lang="en-US">
                <a:solidFill>
                  <a:srgbClr val="000000"/>
                </a:solidFill>
              </a:rPr>
              <a:t>Carl Zeiss Microscopy</a:t>
            </a:r>
            <a:endParaRPr lang="en-US" dirty="0">
              <a:solidFill>
                <a:srgbClr val="000000"/>
              </a:solidFill>
            </a:endParaRPr>
          </a:p>
        </p:txBody>
      </p:sp>
      <p:sp>
        <p:nvSpPr>
          <p:cNvPr id="91" name="Textfeld 90"/>
          <p:cNvSpPr txBox="1"/>
          <p:nvPr/>
        </p:nvSpPr>
        <p:spPr>
          <a:xfrm>
            <a:off x="308803" y="1420580"/>
            <a:ext cx="1247775" cy="400050"/>
          </a:xfrm>
          <a:prstGeom prst="rect">
            <a:avLst/>
          </a:prstGeom>
          <a:noFill/>
        </p:spPr>
        <p:txBody>
          <a:bodyPr wrap="none" rtlCol="0">
            <a:noAutofit/>
          </a:bodyPr>
          <a:lstStyle/>
          <a:p>
            <a:pPr eaLnBrk="0" fontAlgn="base" hangingPunct="0">
              <a:spcBef>
                <a:spcPct val="0"/>
              </a:spcBef>
              <a:spcAft>
                <a:spcPct val="0"/>
              </a:spcAft>
            </a:pPr>
            <a:r>
              <a:rPr lang="en-US" sz="1200" dirty="0">
                <a:solidFill>
                  <a:srgbClr val="000000"/>
                </a:solidFill>
              </a:rPr>
              <a:t>PH = 0.2 </a:t>
            </a:r>
            <a:r>
              <a:rPr lang="en-US" sz="1200" dirty="0" err="1">
                <a:solidFill>
                  <a:srgbClr val="000000"/>
                </a:solidFill>
              </a:rPr>
              <a:t>a.u</a:t>
            </a:r>
            <a:r>
              <a:rPr lang="en-US" sz="1200" dirty="0">
                <a:solidFill>
                  <a:srgbClr val="000000"/>
                </a:solidFill>
              </a:rPr>
              <a:t>.</a:t>
            </a:r>
          </a:p>
        </p:txBody>
      </p:sp>
      <p:cxnSp>
        <p:nvCxnSpPr>
          <p:cNvPr id="32" name="Gerade Verbindung mit Pfeil 31"/>
          <p:cNvCxnSpPr/>
          <p:nvPr/>
        </p:nvCxnSpPr>
        <p:spPr bwMode="auto">
          <a:xfrm flipV="1">
            <a:off x="1542461" y="4168140"/>
            <a:ext cx="0" cy="1938783"/>
          </a:xfrm>
          <a:prstGeom prst="straightConnector1">
            <a:avLst/>
          </a:prstGeom>
          <a:solidFill>
            <a:schemeClr val="folHlink"/>
          </a:solidFill>
          <a:ln w="19050" cap="flat" cmpd="sng" algn="ctr">
            <a:solidFill>
              <a:srgbClr val="0070C0"/>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8" name="Gruppieren 37"/>
          <p:cNvGrpSpPr/>
          <p:nvPr/>
        </p:nvGrpSpPr>
        <p:grpSpPr>
          <a:xfrm>
            <a:off x="1363980" y="3611880"/>
            <a:ext cx="6198184" cy="213360"/>
            <a:chOff x="3646868" y="2202180"/>
            <a:chExt cx="1466152" cy="114300"/>
          </a:xfrm>
        </p:grpSpPr>
        <p:cxnSp>
          <p:nvCxnSpPr>
            <p:cNvPr id="39" name="Gerade Verbindung 38"/>
            <p:cNvCxnSpPr/>
            <p:nvPr/>
          </p:nvCxnSpPr>
          <p:spPr bwMode="auto">
            <a:xfrm>
              <a:off x="3646868" y="2263140"/>
              <a:ext cx="1466152" cy="0"/>
            </a:xfrm>
            <a:prstGeom prst="line">
              <a:avLst/>
            </a:prstGeom>
            <a:solidFill>
              <a:schemeClr val="folHlink"/>
            </a:solidFill>
            <a:ln w="19050" cap="flat" cmpd="sng" algn="ctr">
              <a:solidFill>
                <a:schemeClr val="folHlink"/>
              </a:solidFill>
              <a:prstDash val="solid"/>
              <a:round/>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0" name="Gruppieren 39"/>
            <p:cNvGrpSpPr/>
            <p:nvPr/>
          </p:nvGrpSpPr>
          <p:grpSpPr>
            <a:xfrm>
              <a:off x="3806888" y="2202180"/>
              <a:ext cx="1110090" cy="114300"/>
              <a:chOff x="3806888" y="2148840"/>
              <a:chExt cx="1110090" cy="266700"/>
            </a:xfrm>
          </p:grpSpPr>
          <p:cxnSp>
            <p:nvCxnSpPr>
              <p:cNvPr id="41" name="Gerade Verbindung 40"/>
              <p:cNvCxnSpPr/>
              <p:nvPr/>
            </p:nvCxnSpPr>
            <p:spPr bwMode="auto">
              <a:xfrm flipV="1">
                <a:off x="380688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2" name="Gerade Verbindung 41"/>
              <p:cNvCxnSpPr/>
              <p:nvPr/>
            </p:nvCxnSpPr>
            <p:spPr bwMode="auto">
              <a:xfrm flipV="1">
                <a:off x="399190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Gerade Verbindung 42"/>
              <p:cNvCxnSpPr/>
              <p:nvPr/>
            </p:nvCxnSpPr>
            <p:spPr bwMode="auto">
              <a:xfrm flipV="1">
                <a:off x="417691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Gerade Verbindung 43"/>
              <p:cNvCxnSpPr/>
              <p:nvPr/>
            </p:nvCxnSpPr>
            <p:spPr bwMode="auto">
              <a:xfrm flipV="1">
                <a:off x="436193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Gerade Verbindung 44"/>
              <p:cNvCxnSpPr/>
              <p:nvPr/>
            </p:nvCxnSpPr>
            <p:spPr bwMode="auto">
              <a:xfrm flipV="1">
                <a:off x="454694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Gerade Verbindung 45"/>
              <p:cNvCxnSpPr/>
              <p:nvPr/>
            </p:nvCxnSpPr>
            <p:spPr bwMode="auto">
              <a:xfrm flipV="1">
                <a:off x="473196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7" name="Gerade Verbindung 46"/>
              <p:cNvCxnSpPr/>
              <p:nvPr/>
            </p:nvCxnSpPr>
            <p:spPr bwMode="auto">
              <a:xfrm flipV="1">
                <a:off x="491697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50" name="Gruppieren 49"/>
          <p:cNvGrpSpPr/>
          <p:nvPr/>
        </p:nvGrpSpPr>
        <p:grpSpPr>
          <a:xfrm>
            <a:off x="1363980" y="5893562"/>
            <a:ext cx="6217920" cy="213360"/>
            <a:chOff x="3646868" y="2202180"/>
            <a:chExt cx="1466152" cy="114300"/>
          </a:xfrm>
        </p:grpSpPr>
        <p:cxnSp>
          <p:nvCxnSpPr>
            <p:cNvPr id="51" name="Gerade Verbindung 50"/>
            <p:cNvCxnSpPr/>
            <p:nvPr/>
          </p:nvCxnSpPr>
          <p:spPr bwMode="auto">
            <a:xfrm>
              <a:off x="3646868" y="2263140"/>
              <a:ext cx="1466152" cy="0"/>
            </a:xfrm>
            <a:prstGeom prst="line">
              <a:avLst/>
            </a:prstGeom>
            <a:solidFill>
              <a:schemeClr val="folHlink"/>
            </a:solidFill>
            <a:ln w="19050" cap="flat" cmpd="sng" algn="ctr">
              <a:solidFill>
                <a:schemeClr val="folHlink"/>
              </a:solidFill>
              <a:prstDash val="solid"/>
              <a:round/>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52" name="Gruppieren 51"/>
            <p:cNvGrpSpPr/>
            <p:nvPr/>
          </p:nvGrpSpPr>
          <p:grpSpPr>
            <a:xfrm>
              <a:off x="3806888" y="2202180"/>
              <a:ext cx="1110090" cy="114300"/>
              <a:chOff x="3806888" y="2148840"/>
              <a:chExt cx="1110090" cy="266700"/>
            </a:xfrm>
          </p:grpSpPr>
          <p:cxnSp>
            <p:nvCxnSpPr>
              <p:cNvPr id="53" name="Gerade Verbindung 52"/>
              <p:cNvCxnSpPr/>
              <p:nvPr/>
            </p:nvCxnSpPr>
            <p:spPr bwMode="auto">
              <a:xfrm flipV="1">
                <a:off x="380688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4" name="Gerade Verbindung 53"/>
              <p:cNvCxnSpPr/>
              <p:nvPr/>
            </p:nvCxnSpPr>
            <p:spPr bwMode="auto">
              <a:xfrm flipV="1">
                <a:off x="399190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5" name="Gerade Verbindung 54"/>
              <p:cNvCxnSpPr/>
              <p:nvPr/>
            </p:nvCxnSpPr>
            <p:spPr bwMode="auto">
              <a:xfrm flipV="1">
                <a:off x="417691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6" name="Gerade Verbindung 55"/>
              <p:cNvCxnSpPr/>
              <p:nvPr/>
            </p:nvCxnSpPr>
            <p:spPr bwMode="auto">
              <a:xfrm flipV="1">
                <a:off x="436193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7" name="Gerade Verbindung 56"/>
              <p:cNvCxnSpPr/>
              <p:nvPr/>
            </p:nvCxnSpPr>
            <p:spPr bwMode="auto">
              <a:xfrm flipV="1">
                <a:off x="454694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Gerade Verbindung 62"/>
              <p:cNvCxnSpPr/>
              <p:nvPr/>
            </p:nvCxnSpPr>
            <p:spPr bwMode="auto">
              <a:xfrm flipV="1">
                <a:off x="473196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4" name="Gerade Verbindung 63"/>
              <p:cNvCxnSpPr/>
              <p:nvPr/>
            </p:nvCxnSpPr>
            <p:spPr bwMode="auto">
              <a:xfrm flipV="1">
                <a:off x="491697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pic>
        <p:nvPicPr>
          <p:cNvPr id="102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99848"/>
          <a:stretch/>
        </p:blipFill>
        <p:spPr bwMode="auto">
          <a:xfrm>
            <a:off x="1668624" y="4167597"/>
            <a:ext cx="164684" cy="1839214"/>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80" name="Textfeld 79"/>
          <p:cNvSpPr txBox="1"/>
          <p:nvPr/>
        </p:nvSpPr>
        <p:spPr>
          <a:xfrm rot="16200000">
            <a:off x="760516" y="4880133"/>
            <a:ext cx="970597" cy="400050"/>
          </a:xfrm>
          <a:prstGeom prst="rect">
            <a:avLst/>
          </a:prstGeom>
          <a:noFill/>
        </p:spPr>
        <p:txBody>
          <a:bodyPr wrap="none" rtlCol="0">
            <a:noAutofit/>
          </a:bodyPr>
          <a:lstStyle/>
          <a:p>
            <a:pPr eaLnBrk="0" fontAlgn="base" hangingPunct="0">
              <a:spcBef>
                <a:spcPct val="0"/>
              </a:spcBef>
              <a:spcAft>
                <a:spcPct val="0"/>
              </a:spcAft>
            </a:pPr>
            <a:r>
              <a:rPr lang="en-US" sz="1600" dirty="0">
                <a:solidFill>
                  <a:srgbClr val="000000"/>
                </a:solidFill>
              </a:rPr>
              <a:t>Intensity</a:t>
            </a:r>
          </a:p>
        </p:txBody>
      </p:sp>
      <p:sp>
        <p:nvSpPr>
          <p:cNvPr id="20" name="Rechteck 19"/>
          <p:cNvSpPr/>
          <p:nvPr/>
        </p:nvSpPr>
        <p:spPr bwMode="auto">
          <a:xfrm>
            <a:off x="1964088" y="5791546"/>
            <a:ext cx="160020" cy="160020"/>
          </a:xfrm>
          <a:prstGeom prst="rect">
            <a:avLst/>
          </a:prstGeom>
          <a:solidFill>
            <a:schemeClr val="tx1"/>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1" name="Rechteck 80"/>
          <p:cNvSpPr/>
          <p:nvPr/>
        </p:nvSpPr>
        <p:spPr bwMode="auto">
          <a:xfrm>
            <a:off x="3524765" y="5572355"/>
            <a:ext cx="160020" cy="160020"/>
          </a:xfrm>
          <a:prstGeom prst="rect">
            <a:avLst/>
          </a:prstGeom>
          <a:solidFill>
            <a:srgbClr val="0000BE"/>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3" name="Rechteck 82"/>
          <p:cNvSpPr/>
          <p:nvPr/>
        </p:nvSpPr>
        <p:spPr bwMode="auto">
          <a:xfrm>
            <a:off x="4323820" y="5379177"/>
            <a:ext cx="160020" cy="160020"/>
          </a:xfrm>
          <a:prstGeom prst="rect">
            <a:avLst/>
          </a:prstGeom>
          <a:solidFill>
            <a:srgbClr val="33CCFF"/>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7" name="Rechteck 86"/>
          <p:cNvSpPr/>
          <p:nvPr/>
        </p:nvSpPr>
        <p:spPr bwMode="auto">
          <a:xfrm>
            <a:off x="5094282" y="5563303"/>
            <a:ext cx="160020" cy="160020"/>
          </a:xfrm>
          <a:prstGeom prst="rect">
            <a:avLst/>
          </a:prstGeom>
          <a:solidFill>
            <a:srgbClr val="0000BE"/>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92" name="Rechteck 91"/>
          <p:cNvSpPr/>
          <p:nvPr/>
        </p:nvSpPr>
        <p:spPr bwMode="auto">
          <a:xfrm>
            <a:off x="6670552" y="5794537"/>
            <a:ext cx="160020" cy="160020"/>
          </a:xfrm>
          <a:prstGeom prst="rect">
            <a:avLst/>
          </a:prstGeom>
          <a:solidFill>
            <a:schemeClr val="tx1"/>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cxnSp>
        <p:nvCxnSpPr>
          <p:cNvPr id="24" name="Gerade Verbindung mit Pfeil 23"/>
          <p:cNvCxnSpPr/>
          <p:nvPr/>
        </p:nvCxnSpPr>
        <p:spPr bwMode="auto">
          <a:xfrm>
            <a:off x="2040467" y="3863340"/>
            <a:ext cx="0" cy="1825336"/>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3" name="Gerade Verbindung mit Pfeil 92"/>
          <p:cNvCxnSpPr/>
          <p:nvPr/>
        </p:nvCxnSpPr>
        <p:spPr bwMode="auto">
          <a:xfrm flipH="1">
            <a:off x="2822621" y="3863340"/>
            <a:ext cx="1" cy="1825336"/>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4" name="Gerade Verbindung mit Pfeil 93"/>
          <p:cNvCxnSpPr>
            <a:endCxn id="81" idx="0"/>
          </p:cNvCxnSpPr>
          <p:nvPr/>
        </p:nvCxnSpPr>
        <p:spPr bwMode="auto">
          <a:xfrm>
            <a:off x="3604775" y="3863340"/>
            <a:ext cx="0" cy="1709015"/>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5" name="Gerade Verbindung mit Pfeil 94"/>
          <p:cNvCxnSpPr/>
          <p:nvPr/>
        </p:nvCxnSpPr>
        <p:spPr bwMode="auto">
          <a:xfrm>
            <a:off x="4386930" y="3863340"/>
            <a:ext cx="9625" cy="1515837"/>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6" name="Gerade Verbindung mit Pfeil 95"/>
          <p:cNvCxnSpPr>
            <a:endCxn id="87" idx="0"/>
          </p:cNvCxnSpPr>
          <p:nvPr/>
        </p:nvCxnSpPr>
        <p:spPr bwMode="auto">
          <a:xfrm>
            <a:off x="5169084" y="3863340"/>
            <a:ext cx="5208" cy="1699963"/>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7" name="Gerade Verbindung mit Pfeil 96"/>
          <p:cNvCxnSpPr>
            <a:endCxn id="482" idx="0"/>
          </p:cNvCxnSpPr>
          <p:nvPr/>
        </p:nvCxnSpPr>
        <p:spPr bwMode="auto">
          <a:xfrm>
            <a:off x="5951174" y="3863340"/>
            <a:ext cx="15194" cy="1905132"/>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8" name="Gerade Verbindung mit Pfeil 97"/>
          <p:cNvCxnSpPr/>
          <p:nvPr/>
        </p:nvCxnSpPr>
        <p:spPr bwMode="auto">
          <a:xfrm>
            <a:off x="6733392" y="3863340"/>
            <a:ext cx="0" cy="1905132"/>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2" name="Textfeld 131"/>
          <p:cNvSpPr txBox="1"/>
          <p:nvPr/>
        </p:nvSpPr>
        <p:spPr>
          <a:xfrm>
            <a:off x="308803" y="2053310"/>
            <a:ext cx="1133476" cy="400050"/>
          </a:xfrm>
          <a:prstGeom prst="rect">
            <a:avLst/>
          </a:prstGeom>
          <a:noFill/>
        </p:spPr>
        <p:txBody>
          <a:bodyPr wrap="none" rtlCol="0">
            <a:noAutofit/>
          </a:bodyPr>
          <a:lstStyle/>
          <a:p>
            <a:pPr eaLnBrk="0" fontAlgn="base" hangingPunct="0">
              <a:spcBef>
                <a:spcPct val="0"/>
              </a:spcBef>
              <a:spcAft>
                <a:spcPct val="0"/>
              </a:spcAft>
            </a:pPr>
            <a:r>
              <a:rPr lang="en-US" sz="1200" dirty="0">
                <a:solidFill>
                  <a:srgbClr val="000000"/>
                </a:solidFill>
              </a:rPr>
              <a:t>excitation</a:t>
            </a:r>
          </a:p>
        </p:txBody>
      </p:sp>
      <p:sp>
        <p:nvSpPr>
          <p:cNvPr id="1027" name="Freihandform 1026"/>
          <p:cNvSpPr/>
          <p:nvPr/>
        </p:nvSpPr>
        <p:spPr bwMode="auto">
          <a:xfrm>
            <a:off x="411479" y="1653539"/>
            <a:ext cx="1412963" cy="228643"/>
          </a:xfrm>
          <a:custGeom>
            <a:avLst/>
            <a:gdLst>
              <a:gd name="connsiteX0" fmla="*/ 0 w 1203960"/>
              <a:gd name="connsiteY0" fmla="*/ 0 h 243840"/>
              <a:gd name="connsiteX1" fmla="*/ 670560 w 1203960"/>
              <a:gd name="connsiteY1" fmla="*/ 0 h 243840"/>
              <a:gd name="connsiteX2" fmla="*/ 1203960 w 1203960"/>
              <a:gd name="connsiteY2" fmla="*/ 243840 h 243840"/>
              <a:gd name="connsiteX0" fmla="*/ 0 w 1234440"/>
              <a:gd name="connsiteY0" fmla="*/ 0 h 160020"/>
              <a:gd name="connsiteX1" fmla="*/ 670560 w 1234440"/>
              <a:gd name="connsiteY1" fmla="*/ 0 h 160020"/>
              <a:gd name="connsiteX2" fmla="*/ 1234440 w 1234440"/>
              <a:gd name="connsiteY2" fmla="*/ 160020 h 160020"/>
              <a:gd name="connsiteX0" fmla="*/ 0 w 1104900"/>
              <a:gd name="connsiteY0" fmla="*/ 0 h 121920"/>
              <a:gd name="connsiteX1" fmla="*/ 670560 w 1104900"/>
              <a:gd name="connsiteY1" fmla="*/ 0 h 121920"/>
              <a:gd name="connsiteX2" fmla="*/ 1104900 w 1104900"/>
              <a:gd name="connsiteY2" fmla="*/ 121920 h 121920"/>
            </a:gdLst>
            <a:ahLst/>
            <a:cxnLst>
              <a:cxn ang="0">
                <a:pos x="connsiteX0" y="connsiteY0"/>
              </a:cxn>
              <a:cxn ang="0">
                <a:pos x="connsiteX1" y="connsiteY1"/>
              </a:cxn>
              <a:cxn ang="0">
                <a:pos x="connsiteX2" y="connsiteY2"/>
              </a:cxn>
            </a:cxnLst>
            <a:rect l="l" t="t" r="r" b="b"/>
            <a:pathLst>
              <a:path w="1104900" h="121920">
                <a:moveTo>
                  <a:pt x="0" y="0"/>
                </a:moveTo>
                <a:lnTo>
                  <a:pt x="670560" y="0"/>
                </a:lnTo>
                <a:lnTo>
                  <a:pt x="1104900" y="121920"/>
                </a:lnTo>
              </a:path>
            </a:pathLst>
          </a:custGeom>
          <a:noFill/>
          <a:ln w="3175"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37" name="Freihandform 136"/>
          <p:cNvSpPr/>
          <p:nvPr/>
        </p:nvSpPr>
        <p:spPr bwMode="auto">
          <a:xfrm flipV="1">
            <a:off x="411480" y="1924518"/>
            <a:ext cx="1575468" cy="361481"/>
          </a:xfrm>
          <a:custGeom>
            <a:avLst/>
            <a:gdLst>
              <a:gd name="connsiteX0" fmla="*/ 0 w 1203960"/>
              <a:gd name="connsiteY0" fmla="*/ 0 h 243840"/>
              <a:gd name="connsiteX1" fmla="*/ 670560 w 1203960"/>
              <a:gd name="connsiteY1" fmla="*/ 0 h 243840"/>
              <a:gd name="connsiteX2" fmla="*/ 1203960 w 1203960"/>
              <a:gd name="connsiteY2" fmla="*/ 243840 h 243840"/>
              <a:gd name="connsiteX0" fmla="*/ 0 w 1234440"/>
              <a:gd name="connsiteY0" fmla="*/ 0 h 160020"/>
              <a:gd name="connsiteX1" fmla="*/ 670560 w 1234440"/>
              <a:gd name="connsiteY1" fmla="*/ 0 h 160020"/>
              <a:gd name="connsiteX2" fmla="*/ 1234440 w 1234440"/>
              <a:gd name="connsiteY2" fmla="*/ 160020 h 160020"/>
            </a:gdLst>
            <a:ahLst/>
            <a:cxnLst>
              <a:cxn ang="0">
                <a:pos x="connsiteX0" y="connsiteY0"/>
              </a:cxn>
              <a:cxn ang="0">
                <a:pos x="connsiteX1" y="connsiteY1"/>
              </a:cxn>
              <a:cxn ang="0">
                <a:pos x="connsiteX2" y="connsiteY2"/>
              </a:cxn>
            </a:cxnLst>
            <a:rect l="l" t="t" r="r" b="b"/>
            <a:pathLst>
              <a:path w="1234440" h="160020">
                <a:moveTo>
                  <a:pt x="0" y="0"/>
                </a:moveTo>
                <a:lnTo>
                  <a:pt x="670560" y="0"/>
                </a:lnTo>
                <a:lnTo>
                  <a:pt x="1234440" y="160020"/>
                </a:lnTo>
              </a:path>
            </a:pathLst>
          </a:custGeom>
          <a:noFill/>
          <a:ln w="3175"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14" name="Freihandform 213"/>
          <p:cNvSpPr/>
          <p:nvPr/>
        </p:nvSpPr>
        <p:spPr bwMode="auto">
          <a:xfrm flipV="1">
            <a:off x="411480" y="2331283"/>
            <a:ext cx="1367559" cy="350015"/>
          </a:xfrm>
          <a:custGeom>
            <a:avLst/>
            <a:gdLst>
              <a:gd name="connsiteX0" fmla="*/ 0 w 1203960"/>
              <a:gd name="connsiteY0" fmla="*/ 0 h 243840"/>
              <a:gd name="connsiteX1" fmla="*/ 670560 w 1203960"/>
              <a:gd name="connsiteY1" fmla="*/ 0 h 243840"/>
              <a:gd name="connsiteX2" fmla="*/ 1203960 w 1203960"/>
              <a:gd name="connsiteY2" fmla="*/ 243840 h 243840"/>
              <a:gd name="connsiteX0" fmla="*/ 0 w 1234440"/>
              <a:gd name="connsiteY0" fmla="*/ 0 h 160020"/>
              <a:gd name="connsiteX1" fmla="*/ 670560 w 1234440"/>
              <a:gd name="connsiteY1" fmla="*/ 0 h 160020"/>
              <a:gd name="connsiteX2" fmla="*/ 1234440 w 1234440"/>
              <a:gd name="connsiteY2" fmla="*/ 160020 h 160020"/>
            </a:gdLst>
            <a:ahLst/>
            <a:cxnLst>
              <a:cxn ang="0">
                <a:pos x="connsiteX0" y="connsiteY0"/>
              </a:cxn>
              <a:cxn ang="0">
                <a:pos x="connsiteX1" y="connsiteY1"/>
              </a:cxn>
              <a:cxn ang="0">
                <a:pos x="connsiteX2" y="connsiteY2"/>
              </a:cxn>
            </a:cxnLst>
            <a:rect l="l" t="t" r="r" b="b"/>
            <a:pathLst>
              <a:path w="1234440" h="160020">
                <a:moveTo>
                  <a:pt x="0" y="0"/>
                </a:moveTo>
                <a:lnTo>
                  <a:pt x="670560" y="0"/>
                </a:lnTo>
                <a:lnTo>
                  <a:pt x="1234440" y="160020"/>
                </a:lnTo>
              </a:path>
            </a:pathLst>
          </a:custGeom>
          <a:noFill/>
          <a:ln w="3175"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82" name="Rechteck 481"/>
          <p:cNvSpPr/>
          <p:nvPr/>
        </p:nvSpPr>
        <p:spPr bwMode="auto">
          <a:xfrm>
            <a:off x="5886358" y="5768472"/>
            <a:ext cx="160020" cy="160020"/>
          </a:xfrm>
          <a:prstGeom prst="rect">
            <a:avLst/>
          </a:prstGeom>
          <a:solidFill>
            <a:schemeClr val="tx1"/>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83" name="Rechteck 482"/>
          <p:cNvSpPr/>
          <p:nvPr/>
        </p:nvSpPr>
        <p:spPr bwMode="auto">
          <a:xfrm>
            <a:off x="2733458" y="5773420"/>
            <a:ext cx="160020" cy="160020"/>
          </a:xfrm>
          <a:prstGeom prst="rect">
            <a:avLst/>
          </a:prstGeom>
          <a:solidFill>
            <a:schemeClr val="tx1"/>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93" name="Textfeld 492"/>
          <p:cNvSpPr txBox="1"/>
          <p:nvPr/>
        </p:nvSpPr>
        <p:spPr>
          <a:xfrm>
            <a:off x="5840203" y="1344453"/>
            <a:ext cx="2797817" cy="618173"/>
          </a:xfrm>
          <a:prstGeom prst="rect">
            <a:avLst/>
          </a:prstGeom>
          <a:noFill/>
        </p:spPr>
        <p:txBody>
          <a:bodyPr wrap="none" rtlCol="0">
            <a:noAutofit/>
          </a:bodyPr>
          <a:lstStyle/>
          <a:p>
            <a:pPr eaLnBrk="0" fontAlgn="base" hangingPunct="0">
              <a:spcBef>
                <a:spcPct val="0"/>
              </a:spcBef>
              <a:spcAft>
                <a:spcPct val="0"/>
              </a:spcAft>
            </a:pPr>
            <a:r>
              <a:rPr lang="en-US" sz="1400" dirty="0">
                <a:solidFill>
                  <a:srgbClr val="000000"/>
                </a:solidFill>
              </a:rPr>
              <a:t>A point-like emitter generates a </a:t>
            </a:r>
          </a:p>
          <a:p>
            <a:pPr eaLnBrk="0" fontAlgn="base" hangingPunct="0">
              <a:spcBef>
                <a:spcPct val="0"/>
              </a:spcBef>
              <a:spcAft>
                <a:spcPct val="0"/>
              </a:spcAft>
            </a:pPr>
            <a:r>
              <a:rPr lang="en-US" sz="1400" dirty="0">
                <a:solidFill>
                  <a:srgbClr val="000000"/>
                </a:solidFill>
              </a:rPr>
              <a:t>diffraction limited pattern (~ PSF)</a:t>
            </a:r>
          </a:p>
        </p:txBody>
      </p:sp>
      <p:sp>
        <p:nvSpPr>
          <p:cNvPr id="494" name="Textfeld 493"/>
          <p:cNvSpPr txBox="1"/>
          <p:nvPr/>
        </p:nvSpPr>
        <p:spPr>
          <a:xfrm>
            <a:off x="7165886" y="3724546"/>
            <a:ext cx="733425" cy="400050"/>
          </a:xfrm>
          <a:prstGeom prst="rect">
            <a:avLst/>
          </a:prstGeom>
          <a:noFill/>
        </p:spPr>
        <p:txBody>
          <a:bodyPr wrap="none" rtlCol="0">
            <a:noAutofit/>
          </a:bodyPr>
          <a:lstStyle/>
          <a:p>
            <a:pPr eaLnBrk="0" fontAlgn="base" hangingPunct="0">
              <a:spcBef>
                <a:spcPct val="0"/>
              </a:spcBef>
              <a:spcAft>
                <a:spcPct val="0"/>
              </a:spcAft>
            </a:pPr>
            <a:r>
              <a:rPr lang="en-US" sz="1200" dirty="0">
                <a:solidFill>
                  <a:srgbClr val="000000"/>
                </a:solidFill>
              </a:rPr>
              <a:t>scan</a:t>
            </a:r>
          </a:p>
        </p:txBody>
      </p:sp>
      <p:sp>
        <p:nvSpPr>
          <p:cNvPr id="495" name="Textfeld 494"/>
          <p:cNvSpPr txBox="1"/>
          <p:nvPr/>
        </p:nvSpPr>
        <p:spPr>
          <a:xfrm>
            <a:off x="7165886" y="6006811"/>
            <a:ext cx="733425" cy="400050"/>
          </a:xfrm>
          <a:prstGeom prst="rect">
            <a:avLst/>
          </a:prstGeom>
          <a:noFill/>
        </p:spPr>
        <p:txBody>
          <a:bodyPr wrap="none" rtlCol="0">
            <a:noAutofit/>
          </a:bodyPr>
          <a:lstStyle/>
          <a:p>
            <a:pPr eaLnBrk="0" fontAlgn="base" hangingPunct="0">
              <a:spcBef>
                <a:spcPct val="0"/>
              </a:spcBef>
              <a:spcAft>
                <a:spcPct val="0"/>
              </a:spcAft>
            </a:pPr>
            <a:r>
              <a:rPr lang="en-US" sz="1200" dirty="0">
                <a:solidFill>
                  <a:srgbClr val="000000"/>
                </a:solidFill>
              </a:rPr>
              <a:t>scan</a:t>
            </a:r>
          </a:p>
        </p:txBody>
      </p:sp>
      <p:grpSp>
        <p:nvGrpSpPr>
          <p:cNvPr id="730" name="Gruppieren 13"/>
          <p:cNvGrpSpPr/>
          <p:nvPr/>
        </p:nvGrpSpPr>
        <p:grpSpPr>
          <a:xfrm>
            <a:off x="3646868" y="2316480"/>
            <a:ext cx="1466152" cy="114300"/>
            <a:chOff x="3646868" y="2202180"/>
            <a:chExt cx="1466152" cy="114300"/>
          </a:xfrm>
        </p:grpSpPr>
        <p:cxnSp>
          <p:nvCxnSpPr>
            <p:cNvPr id="731" name="Gerade Verbindung 6"/>
            <p:cNvCxnSpPr/>
            <p:nvPr/>
          </p:nvCxnSpPr>
          <p:spPr bwMode="auto">
            <a:xfrm>
              <a:off x="3646868" y="2263140"/>
              <a:ext cx="1466152" cy="0"/>
            </a:xfrm>
            <a:prstGeom prst="line">
              <a:avLst/>
            </a:prstGeom>
            <a:solidFill>
              <a:schemeClr val="folHlink"/>
            </a:solidFill>
            <a:ln w="3175" cap="flat" cmpd="sng" algn="ctr">
              <a:solidFill>
                <a:schemeClr val="folHlink"/>
              </a:solidFill>
              <a:prstDash val="solid"/>
              <a:round/>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732" name="Gruppieren 12"/>
            <p:cNvGrpSpPr/>
            <p:nvPr/>
          </p:nvGrpSpPr>
          <p:grpSpPr>
            <a:xfrm>
              <a:off x="3806888" y="2202180"/>
              <a:ext cx="1110090" cy="114300"/>
              <a:chOff x="3806888" y="2148840"/>
              <a:chExt cx="1110090" cy="266700"/>
            </a:xfrm>
          </p:grpSpPr>
          <p:cxnSp>
            <p:nvCxnSpPr>
              <p:cNvPr id="733" name="Gerade Verbindung 22"/>
              <p:cNvCxnSpPr/>
              <p:nvPr/>
            </p:nvCxnSpPr>
            <p:spPr bwMode="auto">
              <a:xfrm flipV="1">
                <a:off x="3806888"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34" name="Gerade Verbindung 24"/>
              <p:cNvCxnSpPr/>
              <p:nvPr/>
            </p:nvCxnSpPr>
            <p:spPr bwMode="auto">
              <a:xfrm flipV="1">
                <a:off x="3991903"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35" name="Gerade Verbindung 25"/>
              <p:cNvCxnSpPr/>
              <p:nvPr/>
            </p:nvCxnSpPr>
            <p:spPr bwMode="auto">
              <a:xfrm flipV="1">
                <a:off x="4176918"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36" name="Gerade Verbindung 26"/>
              <p:cNvCxnSpPr/>
              <p:nvPr/>
            </p:nvCxnSpPr>
            <p:spPr bwMode="auto">
              <a:xfrm flipV="1">
                <a:off x="4361933"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37" name="Gerade Verbindung 27"/>
              <p:cNvCxnSpPr/>
              <p:nvPr/>
            </p:nvCxnSpPr>
            <p:spPr bwMode="auto">
              <a:xfrm flipV="1">
                <a:off x="4546948"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38" name="Gerade Verbindung 28"/>
              <p:cNvCxnSpPr/>
              <p:nvPr/>
            </p:nvCxnSpPr>
            <p:spPr bwMode="auto">
              <a:xfrm flipV="1">
                <a:off x="4731963"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39" name="Gerade Verbindung 29"/>
              <p:cNvCxnSpPr/>
              <p:nvPr/>
            </p:nvCxnSpPr>
            <p:spPr bwMode="auto">
              <a:xfrm flipV="1">
                <a:off x="4916978"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10" name="Group 9"/>
          <p:cNvGrpSpPr/>
          <p:nvPr/>
        </p:nvGrpSpPr>
        <p:grpSpPr>
          <a:xfrm>
            <a:off x="1548958" y="4396575"/>
            <a:ext cx="5762723" cy="1505603"/>
            <a:chOff x="1548958" y="4396575"/>
            <a:chExt cx="5762723" cy="1505603"/>
          </a:xfrm>
        </p:grpSpPr>
        <p:sp>
          <p:nvSpPr>
            <p:cNvPr id="21" name="Freihandform 20"/>
            <p:cNvSpPr/>
            <p:nvPr/>
          </p:nvSpPr>
          <p:spPr bwMode="auto">
            <a:xfrm>
              <a:off x="1548958" y="4396575"/>
              <a:ext cx="5762723" cy="1505603"/>
            </a:xfrm>
            <a:custGeom>
              <a:avLst/>
              <a:gdLst>
                <a:gd name="connsiteX0" fmla="*/ 0 w 6134100"/>
                <a:gd name="connsiteY0" fmla="*/ 15240 h 15240"/>
                <a:gd name="connsiteX1" fmla="*/ 6134100 w 6134100"/>
                <a:gd name="connsiteY1" fmla="*/ 0 h 15240"/>
                <a:gd name="connsiteX2" fmla="*/ 6134100 w 6134100"/>
                <a:gd name="connsiteY2" fmla="*/ 0 h 15240"/>
                <a:gd name="connsiteX0" fmla="*/ 0 w 6134100"/>
                <a:gd name="connsiteY0" fmla="*/ 15240 h 15240"/>
                <a:gd name="connsiteX1" fmla="*/ 3009900 w 6134100"/>
                <a:gd name="connsiteY1" fmla="*/ 15240 h 15240"/>
                <a:gd name="connsiteX2" fmla="*/ 6134100 w 6134100"/>
                <a:gd name="connsiteY2" fmla="*/ 0 h 15240"/>
                <a:gd name="connsiteX3" fmla="*/ 6134100 w 6134100"/>
                <a:gd name="connsiteY3" fmla="*/ 0 h 1524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1310640 w 6134100"/>
                <a:gd name="connsiteY1" fmla="*/ 74676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495800 w 6134100"/>
                <a:gd name="connsiteY3" fmla="*/ 632460 h 1341120"/>
                <a:gd name="connsiteX4" fmla="*/ 6134100 w 6134100"/>
                <a:gd name="connsiteY4" fmla="*/ 1325880 h 1341120"/>
                <a:gd name="connsiteX5" fmla="*/ 6134100 w 6134100"/>
                <a:gd name="connsiteY5"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556760 w 6134100"/>
                <a:gd name="connsiteY3" fmla="*/ 1036320 h 1341120"/>
                <a:gd name="connsiteX4" fmla="*/ 6134100 w 6134100"/>
                <a:gd name="connsiteY4" fmla="*/ 1325880 h 1341120"/>
                <a:gd name="connsiteX5" fmla="*/ 6134100 w 6134100"/>
                <a:gd name="connsiteY5" fmla="*/ 1325880 h 1341120"/>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64"/>
                <a:gd name="connsiteX1" fmla="*/ 2987040 w 6134100"/>
                <a:gd name="connsiteY1" fmla="*/ 4 h 1341164"/>
                <a:gd name="connsiteX2" fmla="*/ 6134100 w 6134100"/>
                <a:gd name="connsiteY2" fmla="*/ 1325884 h 1341164"/>
                <a:gd name="connsiteX3" fmla="*/ 6134100 w 6134100"/>
                <a:gd name="connsiteY3" fmla="*/ 1325884 h 1341164"/>
                <a:gd name="connsiteX0" fmla="*/ 0 w 6449629"/>
                <a:gd name="connsiteY0" fmla="*/ 1341124 h 1375661"/>
                <a:gd name="connsiteX1" fmla="*/ 2987040 w 6449629"/>
                <a:gd name="connsiteY1" fmla="*/ 4 h 1375661"/>
                <a:gd name="connsiteX2" fmla="*/ 6134100 w 6449629"/>
                <a:gd name="connsiteY2" fmla="*/ 1325884 h 1375661"/>
                <a:gd name="connsiteX3" fmla="*/ 6399310 w 6449629"/>
                <a:gd name="connsiteY3" fmla="*/ 1067921 h 1375661"/>
                <a:gd name="connsiteX0" fmla="*/ 0 w 6431465"/>
                <a:gd name="connsiteY0" fmla="*/ 1341229 h 1341269"/>
                <a:gd name="connsiteX1" fmla="*/ 2987040 w 6431465"/>
                <a:gd name="connsiteY1" fmla="*/ 109 h 1341269"/>
                <a:gd name="connsiteX2" fmla="*/ 6101953 w 6431465"/>
                <a:gd name="connsiteY2" fmla="*/ 1264892 h 1341269"/>
                <a:gd name="connsiteX3" fmla="*/ 6399310 w 6431465"/>
                <a:gd name="connsiteY3" fmla="*/ 1068026 h 1341269"/>
                <a:gd name="connsiteX0" fmla="*/ 0 w 6101953"/>
                <a:gd name="connsiteY0" fmla="*/ 1341229 h 1341269"/>
                <a:gd name="connsiteX1" fmla="*/ 2987040 w 6101953"/>
                <a:gd name="connsiteY1" fmla="*/ 109 h 1341269"/>
                <a:gd name="connsiteX2" fmla="*/ 6101953 w 6101953"/>
                <a:gd name="connsiteY2" fmla="*/ 1264892 h 1341269"/>
                <a:gd name="connsiteX0" fmla="*/ 0 w 6077843"/>
                <a:gd name="connsiteY0" fmla="*/ 1341298 h 1341338"/>
                <a:gd name="connsiteX1" fmla="*/ 2987040 w 6077843"/>
                <a:gd name="connsiteY1" fmla="*/ 178 h 1341338"/>
                <a:gd name="connsiteX2" fmla="*/ 6077843 w 6077843"/>
                <a:gd name="connsiteY2" fmla="*/ 1244596 h 1341338"/>
                <a:gd name="connsiteX0" fmla="*/ 0 w 6077843"/>
                <a:gd name="connsiteY0" fmla="*/ 1341271 h 1341311"/>
                <a:gd name="connsiteX1" fmla="*/ 2987040 w 6077843"/>
                <a:gd name="connsiteY1" fmla="*/ 151 h 1341311"/>
                <a:gd name="connsiteX2" fmla="*/ 6077843 w 6077843"/>
                <a:gd name="connsiteY2" fmla="*/ 1244569 h 1341311"/>
              </a:gdLst>
              <a:ahLst/>
              <a:cxnLst>
                <a:cxn ang="0">
                  <a:pos x="connsiteX0" y="connsiteY0"/>
                </a:cxn>
                <a:cxn ang="0">
                  <a:pos x="connsiteX1" y="connsiteY1"/>
                </a:cxn>
                <a:cxn ang="0">
                  <a:pos x="connsiteX2" y="connsiteY2"/>
                </a:cxn>
              </a:cxnLst>
              <a:rect l="l" t="t" r="r" b="b"/>
              <a:pathLst>
                <a:path w="6077843" h="1341311">
                  <a:moveTo>
                    <a:pt x="0" y="1341271"/>
                  </a:moveTo>
                  <a:cubicBezTo>
                    <a:pt x="1811173" y="1349768"/>
                    <a:pt x="1974066" y="16268"/>
                    <a:pt x="2987040" y="151"/>
                  </a:cubicBezTo>
                  <a:cubicBezTo>
                    <a:pt x="4000014" y="-15966"/>
                    <a:pt x="4207189" y="1270238"/>
                    <a:pt x="6077843" y="1244569"/>
                  </a:cubicBezTo>
                </a:path>
              </a:pathLst>
            </a:custGeom>
            <a:noFill/>
            <a:ln w="12700" cap="flat" cmpd="sng" algn="ctr">
              <a:solidFill>
                <a:srgbClr val="0070C0"/>
              </a:solidFill>
              <a:prstDash val="dash"/>
              <a:round/>
              <a:headEnd type="none" w="sm" len="sm"/>
              <a:tailEnd type="none" w="sm" len="sm"/>
            </a:ln>
            <a:effectLst/>
          </p:spPr>
          <p:txBody>
            <a:bodyPr vert="horz" wrap="none" lIns="0" tIns="0" rIns="0" bIns="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cxnSp>
          <p:nvCxnSpPr>
            <p:cNvPr id="389" name="Gerade Verbindung mit Pfeil 7"/>
            <p:cNvCxnSpPr/>
            <p:nvPr/>
          </p:nvCxnSpPr>
          <p:spPr bwMode="auto">
            <a:xfrm>
              <a:off x="3227967" y="5184475"/>
              <a:ext cx="2396456" cy="0"/>
            </a:xfrm>
            <a:prstGeom prst="straightConnector1">
              <a:avLst/>
            </a:prstGeom>
            <a:solidFill>
              <a:schemeClr val="folHlink"/>
            </a:solidFill>
            <a:ln w="3175" cap="flat" cmpd="sng" algn="ctr">
              <a:solidFill>
                <a:schemeClr val="folHlink"/>
              </a:solidFill>
              <a:prstDash val="solid"/>
              <a:round/>
              <a:headEnd type="arrow"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1" name="Group 10"/>
          <p:cNvGrpSpPr/>
          <p:nvPr/>
        </p:nvGrpSpPr>
        <p:grpSpPr>
          <a:xfrm>
            <a:off x="1577947" y="5463540"/>
            <a:ext cx="5564709" cy="439774"/>
            <a:chOff x="1577947" y="5463540"/>
            <a:chExt cx="5564709" cy="439774"/>
          </a:xfrm>
        </p:grpSpPr>
        <p:sp>
          <p:nvSpPr>
            <p:cNvPr id="484" name="Freihandform 483"/>
            <p:cNvSpPr/>
            <p:nvPr/>
          </p:nvSpPr>
          <p:spPr bwMode="auto">
            <a:xfrm>
              <a:off x="1577947" y="5463540"/>
              <a:ext cx="5564709" cy="439774"/>
            </a:xfrm>
            <a:custGeom>
              <a:avLst/>
              <a:gdLst>
                <a:gd name="connsiteX0" fmla="*/ 0 w 6134100"/>
                <a:gd name="connsiteY0" fmla="*/ 15240 h 15240"/>
                <a:gd name="connsiteX1" fmla="*/ 6134100 w 6134100"/>
                <a:gd name="connsiteY1" fmla="*/ 0 h 15240"/>
                <a:gd name="connsiteX2" fmla="*/ 6134100 w 6134100"/>
                <a:gd name="connsiteY2" fmla="*/ 0 h 15240"/>
                <a:gd name="connsiteX0" fmla="*/ 0 w 6134100"/>
                <a:gd name="connsiteY0" fmla="*/ 15240 h 15240"/>
                <a:gd name="connsiteX1" fmla="*/ 3009900 w 6134100"/>
                <a:gd name="connsiteY1" fmla="*/ 15240 h 15240"/>
                <a:gd name="connsiteX2" fmla="*/ 6134100 w 6134100"/>
                <a:gd name="connsiteY2" fmla="*/ 0 h 15240"/>
                <a:gd name="connsiteX3" fmla="*/ 6134100 w 6134100"/>
                <a:gd name="connsiteY3" fmla="*/ 0 h 1524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1310640 w 6134100"/>
                <a:gd name="connsiteY1" fmla="*/ 74676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495800 w 6134100"/>
                <a:gd name="connsiteY3" fmla="*/ 632460 h 1341120"/>
                <a:gd name="connsiteX4" fmla="*/ 6134100 w 6134100"/>
                <a:gd name="connsiteY4" fmla="*/ 1325880 h 1341120"/>
                <a:gd name="connsiteX5" fmla="*/ 6134100 w 6134100"/>
                <a:gd name="connsiteY5"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556760 w 6134100"/>
                <a:gd name="connsiteY3" fmla="*/ 1036320 h 1341120"/>
                <a:gd name="connsiteX4" fmla="*/ 6134100 w 6134100"/>
                <a:gd name="connsiteY4" fmla="*/ 1325880 h 1341120"/>
                <a:gd name="connsiteX5" fmla="*/ 6134100 w 6134100"/>
                <a:gd name="connsiteY5" fmla="*/ 1325880 h 1341120"/>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64"/>
                <a:gd name="connsiteX1" fmla="*/ 2987040 w 6134100"/>
                <a:gd name="connsiteY1" fmla="*/ 4 h 1341164"/>
                <a:gd name="connsiteX2" fmla="*/ 6134100 w 6134100"/>
                <a:gd name="connsiteY2" fmla="*/ 1325884 h 1341164"/>
                <a:gd name="connsiteX3" fmla="*/ 6134100 w 6134100"/>
                <a:gd name="connsiteY3" fmla="*/ 1325884 h 1341164"/>
                <a:gd name="connsiteX0" fmla="*/ 107031 w 6241131"/>
                <a:gd name="connsiteY0" fmla="*/ 1341125 h 1442766"/>
                <a:gd name="connsiteX1" fmla="*/ 262384 w 6241131"/>
                <a:gd name="connsiteY1" fmla="*/ 1344075 h 1442766"/>
                <a:gd name="connsiteX2" fmla="*/ 3094071 w 6241131"/>
                <a:gd name="connsiteY2" fmla="*/ 5 h 1442766"/>
                <a:gd name="connsiteX3" fmla="*/ 6241131 w 6241131"/>
                <a:gd name="connsiteY3" fmla="*/ 1325885 h 1442766"/>
                <a:gd name="connsiteX4" fmla="*/ 6241131 w 6241131"/>
                <a:gd name="connsiteY4" fmla="*/ 1325885 h 1442766"/>
                <a:gd name="connsiteX0" fmla="*/ 0 w 7972466"/>
                <a:gd name="connsiteY0" fmla="*/ 1405128 h 1462299"/>
                <a:gd name="connsiteX1" fmla="*/ 1993719 w 7972466"/>
                <a:gd name="connsiteY1" fmla="*/ 1344075 h 1462299"/>
                <a:gd name="connsiteX2" fmla="*/ 4825406 w 7972466"/>
                <a:gd name="connsiteY2" fmla="*/ 5 h 1462299"/>
                <a:gd name="connsiteX3" fmla="*/ 7972466 w 7972466"/>
                <a:gd name="connsiteY3" fmla="*/ 1325885 h 1462299"/>
                <a:gd name="connsiteX4" fmla="*/ 7972466 w 7972466"/>
                <a:gd name="connsiteY4" fmla="*/ 1325885 h 1462299"/>
                <a:gd name="connsiteX0" fmla="*/ 0 w 7972466"/>
                <a:gd name="connsiteY0" fmla="*/ 1405128 h 1462299"/>
                <a:gd name="connsiteX1" fmla="*/ 1993719 w 7972466"/>
                <a:gd name="connsiteY1" fmla="*/ 1344075 h 1462299"/>
                <a:gd name="connsiteX2" fmla="*/ 4825406 w 7972466"/>
                <a:gd name="connsiteY2" fmla="*/ 5 h 1462299"/>
                <a:gd name="connsiteX3" fmla="*/ 7972466 w 7972466"/>
                <a:gd name="connsiteY3" fmla="*/ 1325885 h 1462299"/>
                <a:gd name="connsiteX4" fmla="*/ 7972466 w 7972466"/>
                <a:gd name="connsiteY4" fmla="*/ 1325885 h 1462299"/>
                <a:gd name="connsiteX0" fmla="*/ 0 w 7972466"/>
                <a:gd name="connsiteY0" fmla="*/ 1405128 h 1409339"/>
                <a:gd name="connsiteX1" fmla="*/ 1993719 w 7972466"/>
                <a:gd name="connsiteY1" fmla="*/ 1344075 h 1409339"/>
                <a:gd name="connsiteX2" fmla="*/ 4825406 w 7972466"/>
                <a:gd name="connsiteY2" fmla="*/ 5 h 1409339"/>
                <a:gd name="connsiteX3" fmla="*/ 7972466 w 7972466"/>
                <a:gd name="connsiteY3" fmla="*/ 1325885 h 1409339"/>
                <a:gd name="connsiteX4" fmla="*/ 7972466 w 7972466"/>
                <a:gd name="connsiteY4" fmla="*/ 1325885 h 1409339"/>
                <a:gd name="connsiteX0" fmla="*/ 0 w 7972466"/>
                <a:gd name="connsiteY0" fmla="*/ 1405128 h 1405131"/>
                <a:gd name="connsiteX1" fmla="*/ 1993719 w 7972466"/>
                <a:gd name="connsiteY1" fmla="*/ 1344075 h 1405131"/>
                <a:gd name="connsiteX2" fmla="*/ 4825406 w 7972466"/>
                <a:gd name="connsiteY2" fmla="*/ 5 h 1405131"/>
                <a:gd name="connsiteX3" fmla="*/ 7972466 w 7972466"/>
                <a:gd name="connsiteY3" fmla="*/ 1325885 h 1405131"/>
                <a:gd name="connsiteX4" fmla="*/ 7972466 w 7972466"/>
                <a:gd name="connsiteY4" fmla="*/ 1325885 h 1405131"/>
                <a:gd name="connsiteX0" fmla="*/ 0 w 7972466"/>
                <a:gd name="connsiteY0" fmla="*/ 1355348 h 1447593"/>
                <a:gd name="connsiteX1" fmla="*/ 1993719 w 7972466"/>
                <a:gd name="connsiteY1" fmla="*/ 1344075 h 1447593"/>
                <a:gd name="connsiteX2" fmla="*/ 4825406 w 7972466"/>
                <a:gd name="connsiteY2" fmla="*/ 5 h 1447593"/>
                <a:gd name="connsiteX3" fmla="*/ 7972466 w 7972466"/>
                <a:gd name="connsiteY3" fmla="*/ 1325885 h 1447593"/>
                <a:gd name="connsiteX4" fmla="*/ 7972466 w 7972466"/>
                <a:gd name="connsiteY4" fmla="*/ 1325885 h 1447593"/>
                <a:gd name="connsiteX0" fmla="*/ 0 w 7972466"/>
                <a:gd name="connsiteY0" fmla="*/ 1355348 h 1447593"/>
                <a:gd name="connsiteX1" fmla="*/ 1993719 w 7972466"/>
                <a:gd name="connsiteY1" fmla="*/ 1344075 h 1447593"/>
                <a:gd name="connsiteX2" fmla="*/ 4825406 w 7972466"/>
                <a:gd name="connsiteY2" fmla="*/ 5 h 1447593"/>
                <a:gd name="connsiteX3" fmla="*/ 7972466 w 7972466"/>
                <a:gd name="connsiteY3" fmla="*/ 1325885 h 1447593"/>
                <a:gd name="connsiteX4" fmla="*/ 7972466 w 7972466"/>
                <a:gd name="connsiteY4" fmla="*/ 1325885 h 1447593"/>
                <a:gd name="connsiteX0" fmla="*/ 16806 w 7989272"/>
                <a:gd name="connsiteY0" fmla="*/ 1355348 h 1820552"/>
                <a:gd name="connsiteX1" fmla="*/ 223946 w 7989272"/>
                <a:gd name="connsiteY1" fmla="*/ 1820547 h 1820552"/>
                <a:gd name="connsiteX2" fmla="*/ 2010525 w 7989272"/>
                <a:gd name="connsiteY2" fmla="*/ 1344075 h 1820552"/>
                <a:gd name="connsiteX3" fmla="*/ 4842212 w 7989272"/>
                <a:gd name="connsiteY3" fmla="*/ 5 h 1820552"/>
                <a:gd name="connsiteX4" fmla="*/ 7989272 w 7989272"/>
                <a:gd name="connsiteY4" fmla="*/ 1325885 h 1820552"/>
                <a:gd name="connsiteX5" fmla="*/ 7989272 w 7989272"/>
                <a:gd name="connsiteY5" fmla="*/ 1325885 h 1820552"/>
                <a:gd name="connsiteX0" fmla="*/ 0 w 7972466"/>
                <a:gd name="connsiteY0" fmla="*/ 1355348 h 1446932"/>
                <a:gd name="connsiteX1" fmla="*/ 1993719 w 7972466"/>
                <a:gd name="connsiteY1" fmla="*/ 1344075 h 1446932"/>
                <a:gd name="connsiteX2" fmla="*/ 4825406 w 7972466"/>
                <a:gd name="connsiteY2" fmla="*/ 5 h 1446932"/>
                <a:gd name="connsiteX3" fmla="*/ 7972466 w 7972466"/>
                <a:gd name="connsiteY3" fmla="*/ 1325885 h 1446932"/>
                <a:gd name="connsiteX4" fmla="*/ 7972466 w 7972466"/>
                <a:gd name="connsiteY4" fmla="*/ 1325885 h 1446932"/>
                <a:gd name="connsiteX0" fmla="*/ 0 w 7985412"/>
                <a:gd name="connsiteY0" fmla="*/ 1405129 h 1466059"/>
                <a:gd name="connsiteX1" fmla="*/ 2006665 w 7985412"/>
                <a:gd name="connsiteY1" fmla="*/ 1344075 h 1466059"/>
                <a:gd name="connsiteX2" fmla="*/ 4838352 w 7985412"/>
                <a:gd name="connsiteY2" fmla="*/ 5 h 1466059"/>
                <a:gd name="connsiteX3" fmla="*/ 7985412 w 7985412"/>
                <a:gd name="connsiteY3" fmla="*/ 1325885 h 1466059"/>
                <a:gd name="connsiteX4" fmla="*/ 7985412 w 7985412"/>
                <a:gd name="connsiteY4" fmla="*/ 1325885 h 1466059"/>
                <a:gd name="connsiteX0" fmla="*/ 0 w 7985412"/>
                <a:gd name="connsiteY0" fmla="*/ 1405129 h 1405129"/>
                <a:gd name="connsiteX1" fmla="*/ 2006665 w 7985412"/>
                <a:gd name="connsiteY1" fmla="*/ 1344075 h 1405129"/>
                <a:gd name="connsiteX2" fmla="*/ 4838352 w 7985412"/>
                <a:gd name="connsiteY2" fmla="*/ 5 h 1405129"/>
                <a:gd name="connsiteX3" fmla="*/ 7985412 w 7985412"/>
                <a:gd name="connsiteY3" fmla="*/ 1325885 h 1405129"/>
                <a:gd name="connsiteX4" fmla="*/ 7985412 w 7985412"/>
                <a:gd name="connsiteY4" fmla="*/ 1325885 h 1405129"/>
                <a:gd name="connsiteX0" fmla="*/ 0 w 7998358"/>
                <a:gd name="connsiteY0" fmla="*/ 1348237 h 1444504"/>
                <a:gd name="connsiteX1" fmla="*/ 2019611 w 7998358"/>
                <a:gd name="connsiteY1" fmla="*/ 1344075 h 1444504"/>
                <a:gd name="connsiteX2" fmla="*/ 4851298 w 7998358"/>
                <a:gd name="connsiteY2" fmla="*/ 5 h 1444504"/>
                <a:gd name="connsiteX3" fmla="*/ 7998358 w 7998358"/>
                <a:gd name="connsiteY3" fmla="*/ 1325885 h 1444504"/>
                <a:gd name="connsiteX4" fmla="*/ 7998358 w 7998358"/>
                <a:gd name="connsiteY4" fmla="*/ 1325885 h 1444504"/>
                <a:gd name="connsiteX0" fmla="*/ 0 w 7998358"/>
                <a:gd name="connsiteY0" fmla="*/ 1348237 h 1446121"/>
                <a:gd name="connsiteX1" fmla="*/ 2019611 w 7998358"/>
                <a:gd name="connsiteY1" fmla="*/ 1344075 h 1446121"/>
                <a:gd name="connsiteX2" fmla="*/ 4851298 w 7998358"/>
                <a:gd name="connsiteY2" fmla="*/ 5 h 1446121"/>
                <a:gd name="connsiteX3" fmla="*/ 7998358 w 7998358"/>
                <a:gd name="connsiteY3" fmla="*/ 1325885 h 1446121"/>
                <a:gd name="connsiteX4" fmla="*/ 7998358 w 7998358"/>
                <a:gd name="connsiteY4" fmla="*/ 1325885 h 1446121"/>
                <a:gd name="connsiteX0" fmla="*/ 0 w 7998358"/>
                <a:gd name="connsiteY0" fmla="*/ 1348237 h 1354980"/>
                <a:gd name="connsiteX1" fmla="*/ 2019611 w 7998358"/>
                <a:gd name="connsiteY1" fmla="*/ 1344075 h 1354980"/>
                <a:gd name="connsiteX2" fmla="*/ 4851298 w 7998358"/>
                <a:gd name="connsiteY2" fmla="*/ 5 h 1354980"/>
                <a:gd name="connsiteX3" fmla="*/ 7998358 w 7998358"/>
                <a:gd name="connsiteY3" fmla="*/ 1325885 h 1354980"/>
                <a:gd name="connsiteX4" fmla="*/ 7998358 w 7998358"/>
                <a:gd name="connsiteY4" fmla="*/ 1325885 h 1354980"/>
                <a:gd name="connsiteX0" fmla="*/ 0 w 8083710"/>
                <a:gd name="connsiteY0" fmla="*/ 1348247 h 1416187"/>
                <a:gd name="connsiteX1" fmla="*/ 2019611 w 8083710"/>
                <a:gd name="connsiteY1" fmla="*/ 1344085 h 1416187"/>
                <a:gd name="connsiteX2" fmla="*/ 4851298 w 8083710"/>
                <a:gd name="connsiteY2" fmla="*/ 15 h 1416187"/>
                <a:gd name="connsiteX3" fmla="*/ 7793634 w 8083710"/>
                <a:gd name="connsiteY3" fmla="*/ 1315640 h 1416187"/>
                <a:gd name="connsiteX4" fmla="*/ 7998358 w 8083710"/>
                <a:gd name="connsiteY4" fmla="*/ 1325895 h 1416187"/>
                <a:gd name="connsiteX5" fmla="*/ 7998358 w 8083710"/>
                <a:gd name="connsiteY5" fmla="*/ 1325895 h 1416187"/>
                <a:gd name="connsiteX0" fmla="*/ 0 w 7998358"/>
                <a:gd name="connsiteY0" fmla="*/ 1348247 h 1354990"/>
                <a:gd name="connsiteX1" fmla="*/ 2019611 w 7998358"/>
                <a:gd name="connsiteY1" fmla="*/ 1344085 h 1354990"/>
                <a:gd name="connsiteX2" fmla="*/ 4851298 w 7998358"/>
                <a:gd name="connsiteY2" fmla="*/ 15 h 1354990"/>
                <a:gd name="connsiteX3" fmla="*/ 7793634 w 7998358"/>
                <a:gd name="connsiteY3" fmla="*/ 1315640 h 1354990"/>
                <a:gd name="connsiteX4" fmla="*/ 7998358 w 7998358"/>
                <a:gd name="connsiteY4" fmla="*/ 1325895 h 1354990"/>
                <a:gd name="connsiteX5" fmla="*/ 7998358 w 7998358"/>
                <a:gd name="connsiteY5" fmla="*/ 1325895 h 1354990"/>
                <a:gd name="connsiteX0" fmla="*/ 0 w 8878702"/>
                <a:gd name="connsiteY0" fmla="*/ 1348247 h 1354990"/>
                <a:gd name="connsiteX1" fmla="*/ 2019611 w 8878702"/>
                <a:gd name="connsiteY1" fmla="*/ 1344085 h 1354990"/>
                <a:gd name="connsiteX2" fmla="*/ 4851298 w 8878702"/>
                <a:gd name="connsiteY2" fmla="*/ 15 h 1354990"/>
                <a:gd name="connsiteX3" fmla="*/ 7793634 w 8878702"/>
                <a:gd name="connsiteY3" fmla="*/ 1315640 h 1354990"/>
                <a:gd name="connsiteX4" fmla="*/ 7998358 w 8878702"/>
                <a:gd name="connsiteY4" fmla="*/ 1325895 h 1354990"/>
                <a:gd name="connsiteX5" fmla="*/ 8878702 w 8878702"/>
                <a:gd name="connsiteY5" fmla="*/ 1318784 h 1354990"/>
                <a:gd name="connsiteX0" fmla="*/ 0 w 8878702"/>
                <a:gd name="connsiteY0" fmla="*/ 1348247 h 1414001"/>
                <a:gd name="connsiteX1" fmla="*/ 2019611 w 8878702"/>
                <a:gd name="connsiteY1" fmla="*/ 1344085 h 1414001"/>
                <a:gd name="connsiteX2" fmla="*/ 4851298 w 8878702"/>
                <a:gd name="connsiteY2" fmla="*/ 15 h 1414001"/>
                <a:gd name="connsiteX3" fmla="*/ 7793634 w 8878702"/>
                <a:gd name="connsiteY3" fmla="*/ 1315640 h 1414001"/>
                <a:gd name="connsiteX4" fmla="*/ 8878702 w 8878702"/>
                <a:gd name="connsiteY4" fmla="*/ 1318784 h 1414001"/>
                <a:gd name="connsiteX0" fmla="*/ 0 w 9875562"/>
                <a:gd name="connsiteY0" fmla="*/ 1348247 h 1414001"/>
                <a:gd name="connsiteX1" fmla="*/ 2019611 w 9875562"/>
                <a:gd name="connsiteY1" fmla="*/ 1344085 h 1414001"/>
                <a:gd name="connsiteX2" fmla="*/ 4851298 w 9875562"/>
                <a:gd name="connsiteY2" fmla="*/ 15 h 1414001"/>
                <a:gd name="connsiteX3" fmla="*/ 7793634 w 9875562"/>
                <a:gd name="connsiteY3" fmla="*/ 1315640 h 1414001"/>
                <a:gd name="connsiteX4" fmla="*/ 9875562 w 9875562"/>
                <a:gd name="connsiteY4" fmla="*/ 1318784 h 1414001"/>
                <a:gd name="connsiteX0" fmla="*/ 0 w 9875562"/>
                <a:gd name="connsiteY0" fmla="*/ 1348374 h 1374793"/>
                <a:gd name="connsiteX1" fmla="*/ 2019611 w 9875562"/>
                <a:gd name="connsiteY1" fmla="*/ 1344212 h 1374793"/>
                <a:gd name="connsiteX2" fmla="*/ 4851298 w 9875562"/>
                <a:gd name="connsiteY2" fmla="*/ 142 h 1374793"/>
                <a:gd name="connsiteX3" fmla="*/ 7534709 w 9875562"/>
                <a:gd name="connsiteY3" fmla="*/ 1258875 h 1374793"/>
                <a:gd name="connsiteX4" fmla="*/ 9875562 w 9875562"/>
                <a:gd name="connsiteY4" fmla="*/ 1318911 h 1374793"/>
                <a:gd name="connsiteX0" fmla="*/ 0 w 9875562"/>
                <a:gd name="connsiteY0" fmla="*/ 1348350 h 1374769"/>
                <a:gd name="connsiteX1" fmla="*/ 2019611 w 9875562"/>
                <a:gd name="connsiteY1" fmla="*/ 1344188 h 1374769"/>
                <a:gd name="connsiteX2" fmla="*/ 4851298 w 9875562"/>
                <a:gd name="connsiteY2" fmla="*/ 118 h 1374769"/>
                <a:gd name="connsiteX3" fmla="*/ 7534709 w 9875562"/>
                <a:gd name="connsiteY3" fmla="*/ 1258851 h 1374769"/>
                <a:gd name="connsiteX4" fmla="*/ 9875562 w 9875562"/>
                <a:gd name="connsiteY4" fmla="*/ 1318887 h 1374769"/>
                <a:gd name="connsiteX0" fmla="*/ 0 w 9875562"/>
                <a:gd name="connsiteY0" fmla="*/ 1348368 h 1374787"/>
                <a:gd name="connsiteX1" fmla="*/ 2019611 w 9875562"/>
                <a:gd name="connsiteY1" fmla="*/ 1344206 h 1374787"/>
                <a:gd name="connsiteX2" fmla="*/ 4851298 w 9875562"/>
                <a:gd name="connsiteY2" fmla="*/ 136 h 1374787"/>
                <a:gd name="connsiteX3" fmla="*/ 7534709 w 9875562"/>
                <a:gd name="connsiteY3" fmla="*/ 1258869 h 1374787"/>
                <a:gd name="connsiteX4" fmla="*/ 9875562 w 9875562"/>
                <a:gd name="connsiteY4" fmla="*/ 1318905 h 1374787"/>
                <a:gd name="connsiteX0" fmla="*/ 0 w 9875562"/>
                <a:gd name="connsiteY0" fmla="*/ 1348352 h 1355095"/>
                <a:gd name="connsiteX1" fmla="*/ 2019611 w 9875562"/>
                <a:gd name="connsiteY1" fmla="*/ 1344190 h 1355095"/>
                <a:gd name="connsiteX2" fmla="*/ 4851298 w 9875562"/>
                <a:gd name="connsiteY2" fmla="*/ 120 h 1355095"/>
                <a:gd name="connsiteX3" fmla="*/ 7534709 w 9875562"/>
                <a:gd name="connsiteY3" fmla="*/ 1258853 h 1355095"/>
                <a:gd name="connsiteX4" fmla="*/ 9875562 w 9875562"/>
                <a:gd name="connsiteY4" fmla="*/ 1318889 h 1355095"/>
                <a:gd name="connsiteX0" fmla="*/ 0 w 9875562"/>
                <a:gd name="connsiteY0" fmla="*/ 1348352 h 1355095"/>
                <a:gd name="connsiteX1" fmla="*/ 2019611 w 9875562"/>
                <a:gd name="connsiteY1" fmla="*/ 1344190 h 1355095"/>
                <a:gd name="connsiteX2" fmla="*/ 4851298 w 9875562"/>
                <a:gd name="connsiteY2" fmla="*/ 120 h 1355095"/>
                <a:gd name="connsiteX3" fmla="*/ 7534709 w 9875562"/>
                <a:gd name="connsiteY3" fmla="*/ 1258853 h 1355095"/>
                <a:gd name="connsiteX4" fmla="*/ 9875562 w 9875562"/>
                <a:gd name="connsiteY4" fmla="*/ 1318889 h 1355095"/>
                <a:gd name="connsiteX0" fmla="*/ 0 w 9875562"/>
                <a:gd name="connsiteY0" fmla="*/ 1348351 h 1355094"/>
                <a:gd name="connsiteX1" fmla="*/ 2019611 w 9875562"/>
                <a:gd name="connsiteY1" fmla="*/ 1344189 h 1355094"/>
                <a:gd name="connsiteX2" fmla="*/ 4851298 w 9875562"/>
                <a:gd name="connsiteY2" fmla="*/ 119 h 1355094"/>
                <a:gd name="connsiteX3" fmla="*/ 7534709 w 9875562"/>
                <a:gd name="connsiteY3" fmla="*/ 1258852 h 1355094"/>
                <a:gd name="connsiteX4" fmla="*/ 9875562 w 9875562"/>
                <a:gd name="connsiteY4" fmla="*/ 1318888 h 1355094"/>
                <a:gd name="connsiteX0" fmla="*/ 0 w 9849670"/>
                <a:gd name="connsiteY0" fmla="*/ 1348373 h 1355116"/>
                <a:gd name="connsiteX1" fmla="*/ 2019611 w 9849670"/>
                <a:gd name="connsiteY1" fmla="*/ 1344211 h 1355116"/>
                <a:gd name="connsiteX2" fmla="*/ 4851298 w 9849670"/>
                <a:gd name="connsiteY2" fmla="*/ 141 h 1355116"/>
                <a:gd name="connsiteX3" fmla="*/ 7534709 w 9849670"/>
                <a:gd name="connsiteY3" fmla="*/ 1258874 h 1355116"/>
                <a:gd name="connsiteX4" fmla="*/ 9849670 w 9849670"/>
                <a:gd name="connsiteY4" fmla="*/ 1262018 h 1355116"/>
                <a:gd name="connsiteX0" fmla="*/ 0 w 9849670"/>
                <a:gd name="connsiteY0" fmla="*/ 1348353 h 1355096"/>
                <a:gd name="connsiteX1" fmla="*/ 2019611 w 9849670"/>
                <a:gd name="connsiteY1" fmla="*/ 1344191 h 1355096"/>
                <a:gd name="connsiteX2" fmla="*/ 4851298 w 9849670"/>
                <a:gd name="connsiteY2" fmla="*/ 121 h 1355096"/>
                <a:gd name="connsiteX3" fmla="*/ 7534709 w 9849670"/>
                <a:gd name="connsiteY3" fmla="*/ 1258854 h 1355096"/>
                <a:gd name="connsiteX4" fmla="*/ 9849670 w 9849670"/>
                <a:gd name="connsiteY4" fmla="*/ 1261998 h 1355096"/>
                <a:gd name="connsiteX0" fmla="*/ 0 w 8807411"/>
                <a:gd name="connsiteY0" fmla="*/ 1356118 h 1448949"/>
                <a:gd name="connsiteX1" fmla="*/ 977352 w 8807411"/>
                <a:gd name="connsiteY1" fmla="*/ 1344191 h 1448949"/>
                <a:gd name="connsiteX2" fmla="*/ 3809039 w 8807411"/>
                <a:gd name="connsiteY2" fmla="*/ 121 h 1448949"/>
                <a:gd name="connsiteX3" fmla="*/ 6492450 w 8807411"/>
                <a:gd name="connsiteY3" fmla="*/ 1258854 h 1448949"/>
                <a:gd name="connsiteX4" fmla="*/ 8807411 w 8807411"/>
                <a:gd name="connsiteY4" fmla="*/ 1261998 h 1448949"/>
                <a:gd name="connsiteX0" fmla="*/ 0 w 8807411"/>
                <a:gd name="connsiteY0" fmla="*/ 1356118 h 1356118"/>
                <a:gd name="connsiteX1" fmla="*/ 977352 w 8807411"/>
                <a:gd name="connsiteY1" fmla="*/ 1344191 h 1356118"/>
                <a:gd name="connsiteX2" fmla="*/ 3809039 w 8807411"/>
                <a:gd name="connsiteY2" fmla="*/ 121 h 1356118"/>
                <a:gd name="connsiteX3" fmla="*/ 6492450 w 8807411"/>
                <a:gd name="connsiteY3" fmla="*/ 1258854 h 1356118"/>
                <a:gd name="connsiteX4" fmla="*/ 8807411 w 8807411"/>
                <a:gd name="connsiteY4" fmla="*/ 1261998 h 1356118"/>
                <a:gd name="connsiteX0" fmla="*/ 0 w 7554359"/>
                <a:gd name="connsiteY0" fmla="*/ 1356138 h 1356138"/>
                <a:gd name="connsiteX1" fmla="*/ 977352 w 7554359"/>
                <a:gd name="connsiteY1" fmla="*/ 1344211 h 1356138"/>
                <a:gd name="connsiteX2" fmla="*/ 3809039 w 7554359"/>
                <a:gd name="connsiteY2" fmla="*/ 141 h 1356138"/>
                <a:gd name="connsiteX3" fmla="*/ 6492450 w 7554359"/>
                <a:gd name="connsiteY3" fmla="*/ 1258874 h 1356138"/>
                <a:gd name="connsiteX4" fmla="*/ 7554359 w 7554359"/>
                <a:gd name="connsiteY4" fmla="*/ 1262018 h 1356138"/>
                <a:gd name="connsiteX0" fmla="*/ 0 w 7554359"/>
                <a:gd name="connsiteY0" fmla="*/ 1356117 h 1356117"/>
                <a:gd name="connsiteX1" fmla="*/ 977352 w 7554359"/>
                <a:gd name="connsiteY1" fmla="*/ 1344190 h 1356117"/>
                <a:gd name="connsiteX2" fmla="*/ 3809039 w 7554359"/>
                <a:gd name="connsiteY2" fmla="*/ 120 h 1356117"/>
                <a:gd name="connsiteX3" fmla="*/ 6492450 w 7554359"/>
                <a:gd name="connsiteY3" fmla="*/ 1258853 h 1356117"/>
                <a:gd name="connsiteX4" fmla="*/ 7554359 w 7554359"/>
                <a:gd name="connsiteY4" fmla="*/ 1261997 h 1356117"/>
                <a:gd name="connsiteX0" fmla="*/ 0 w 7554359"/>
                <a:gd name="connsiteY0" fmla="*/ 1356117 h 1356117"/>
                <a:gd name="connsiteX1" fmla="*/ 977352 w 7554359"/>
                <a:gd name="connsiteY1" fmla="*/ 1344190 h 1356117"/>
                <a:gd name="connsiteX2" fmla="*/ 3809039 w 7554359"/>
                <a:gd name="connsiteY2" fmla="*/ 120 h 1356117"/>
                <a:gd name="connsiteX3" fmla="*/ 6492450 w 7554359"/>
                <a:gd name="connsiteY3" fmla="*/ 1258853 h 1356117"/>
                <a:gd name="connsiteX4" fmla="*/ 7554359 w 7554359"/>
                <a:gd name="connsiteY4" fmla="*/ 1261997 h 1356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54359" h="1356117">
                  <a:moveTo>
                    <a:pt x="0" y="1356117"/>
                  </a:moveTo>
                  <a:lnTo>
                    <a:pt x="977352" y="1344190"/>
                  </a:lnTo>
                  <a:cubicBezTo>
                    <a:pt x="2631030" y="1327826"/>
                    <a:pt x="2889856" y="14343"/>
                    <a:pt x="3809039" y="120"/>
                  </a:cubicBezTo>
                  <a:cubicBezTo>
                    <a:pt x="4728222" y="-14103"/>
                    <a:pt x="4968500" y="1242611"/>
                    <a:pt x="6492450" y="1258853"/>
                  </a:cubicBezTo>
                  <a:lnTo>
                    <a:pt x="7554359" y="1261997"/>
                  </a:lnTo>
                </a:path>
              </a:pathLst>
            </a:custGeom>
            <a:noFill/>
            <a:ln w="12700"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cxnSp>
          <p:nvCxnSpPr>
            <p:cNvPr id="392" name="Gerade Verbindung mit Pfeil 503"/>
            <p:cNvCxnSpPr/>
            <p:nvPr/>
          </p:nvCxnSpPr>
          <p:spPr bwMode="auto">
            <a:xfrm>
              <a:off x="3506415" y="5705175"/>
              <a:ext cx="1801143" cy="0"/>
            </a:xfrm>
            <a:prstGeom prst="straightConnector1">
              <a:avLst/>
            </a:prstGeom>
            <a:solidFill>
              <a:schemeClr val="folHlink"/>
            </a:solidFill>
            <a:ln w="3175" cap="flat" cmpd="sng" algn="ctr">
              <a:solidFill>
                <a:schemeClr val="folHlink"/>
              </a:solidFill>
              <a:prstDash val="solid"/>
              <a:round/>
              <a:headEnd type="arrow"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396" name="Textfeld 492"/>
          <p:cNvSpPr txBox="1"/>
          <p:nvPr/>
        </p:nvSpPr>
        <p:spPr>
          <a:xfrm>
            <a:off x="5897898" y="2208018"/>
            <a:ext cx="2797817" cy="618173"/>
          </a:xfrm>
          <a:prstGeom prst="rect">
            <a:avLst/>
          </a:prstGeom>
          <a:noFill/>
        </p:spPr>
        <p:txBody>
          <a:bodyPr wrap="none" rtlCol="0">
            <a:noAutofit/>
          </a:bodyPr>
          <a:lstStyle/>
          <a:p>
            <a:pPr eaLnBrk="0" fontAlgn="base" hangingPunct="0">
              <a:spcBef>
                <a:spcPct val="0"/>
              </a:spcBef>
              <a:spcAft>
                <a:spcPct val="0"/>
              </a:spcAft>
            </a:pPr>
            <a:r>
              <a:rPr lang="en-US" sz="1400" dirty="0">
                <a:solidFill>
                  <a:srgbClr val="000000"/>
                </a:solidFill>
              </a:rPr>
              <a:t>By collecting just the central element </a:t>
            </a:r>
          </a:p>
          <a:p>
            <a:pPr eaLnBrk="0" fontAlgn="base" hangingPunct="0">
              <a:spcBef>
                <a:spcPct val="0"/>
              </a:spcBef>
              <a:spcAft>
                <a:spcPct val="0"/>
              </a:spcAft>
            </a:pPr>
            <a:r>
              <a:rPr lang="en-US" sz="1400" dirty="0">
                <a:solidFill>
                  <a:srgbClr val="000000"/>
                </a:solidFill>
              </a:rPr>
              <a:t>the PSF is weaker but smaller</a:t>
            </a:r>
          </a:p>
        </p:txBody>
      </p:sp>
      <p:sp>
        <p:nvSpPr>
          <p:cNvPr id="3" name="Date Placeholder 2"/>
          <p:cNvSpPr>
            <a:spLocks noGrp="1"/>
          </p:cNvSpPr>
          <p:nvPr>
            <p:ph type="dt" sz="half" idx="10"/>
          </p:nvPr>
        </p:nvSpPr>
        <p:spPr/>
        <p:txBody>
          <a:bodyPr/>
          <a:lstStyle/>
          <a:p>
            <a:fld id="{A7AC8BE7-32C5-42E1-939C-8554E35E78CE}" type="datetime1">
              <a:rPr lang="de-DE" smtClean="0">
                <a:solidFill>
                  <a:srgbClr val="000000"/>
                </a:solidFill>
              </a:rPr>
              <a:pPr/>
              <a:t>28.02.2019</a:t>
            </a:fld>
            <a:endParaRPr lang="en-US" dirty="0">
              <a:solidFill>
                <a:srgbClr val="000000"/>
              </a:solidFill>
            </a:endParaRPr>
          </a:p>
        </p:txBody>
      </p:sp>
      <p:grpSp>
        <p:nvGrpSpPr>
          <p:cNvPr id="379" name="Group 378"/>
          <p:cNvGrpSpPr/>
          <p:nvPr/>
        </p:nvGrpSpPr>
        <p:grpSpPr>
          <a:xfrm>
            <a:off x="1446774" y="1499562"/>
            <a:ext cx="915164" cy="915164"/>
            <a:chOff x="1559439" y="1453047"/>
            <a:chExt cx="915164" cy="915164"/>
          </a:xfrm>
        </p:grpSpPr>
        <p:sp>
          <p:nvSpPr>
            <p:cNvPr id="380" name="Ellipse 130"/>
            <p:cNvSpPr/>
            <p:nvPr/>
          </p:nvSpPr>
          <p:spPr bwMode="auto">
            <a:xfrm flipV="1">
              <a:off x="1559439" y="1453047"/>
              <a:ext cx="915164" cy="915164"/>
            </a:xfrm>
            <a:prstGeom prst="ellipse">
              <a:avLst/>
            </a:prstGeom>
            <a:gradFill flip="none" rotWithShape="1">
              <a:gsLst>
                <a:gs pos="0">
                  <a:srgbClr val="7030A0"/>
                </a:gs>
                <a:gs pos="17000">
                  <a:srgbClr val="7030A0">
                    <a:lumMod val="74000"/>
                    <a:lumOff val="26000"/>
                  </a:srgbClr>
                </a:gs>
                <a:gs pos="61000">
                  <a:srgbClr val="FFFFFE">
                    <a:alpha val="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381" name="Ellipse 129"/>
            <p:cNvSpPr>
              <a:spLocks noChangeAspect="1"/>
            </p:cNvSpPr>
            <p:nvPr/>
          </p:nvSpPr>
          <p:spPr bwMode="auto">
            <a:xfrm>
              <a:off x="1937108" y="1821586"/>
              <a:ext cx="155448" cy="155448"/>
            </a:xfrm>
            <a:prstGeom prst="ellipse">
              <a:avLst/>
            </a:prstGeom>
            <a:noFill/>
            <a:ln w="28575" cap="flat" cmpd="sng" algn="ctr">
              <a:solidFill>
                <a:schemeClr val="tx2"/>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nvGrpSpPr>
          <p:cNvPr id="382" name="Group 381"/>
          <p:cNvGrpSpPr/>
          <p:nvPr/>
        </p:nvGrpSpPr>
        <p:grpSpPr>
          <a:xfrm>
            <a:off x="3349306" y="1507339"/>
            <a:ext cx="915164" cy="915164"/>
            <a:chOff x="1559439" y="1453047"/>
            <a:chExt cx="915164" cy="915164"/>
          </a:xfrm>
        </p:grpSpPr>
        <p:sp>
          <p:nvSpPr>
            <p:cNvPr id="383" name="Ellipse 130"/>
            <p:cNvSpPr/>
            <p:nvPr/>
          </p:nvSpPr>
          <p:spPr bwMode="auto">
            <a:xfrm flipV="1">
              <a:off x="1559439" y="1453047"/>
              <a:ext cx="915164" cy="915164"/>
            </a:xfrm>
            <a:prstGeom prst="ellipse">
              <a:avLst/>
            </a:prstGeom>
            <a:gradFill flip="none" rotWithShape="1">
              <a:gsLst>
                <a:gs pos="0">
                  <a:srgbClr val="7030A0"/>
                </a:gs>
                <a:gs pos="17000">
                  <a:srgbClr val="7030A0">
                    <a:lumMod val="74000"/>
                    <a:lumOff val="26000"/>
                  </a:srgbClr>
                </a:gs>
                <a:gs pos="61000">
                  <a:srgbClr val="FFFFFE">
                    <a:alpha val="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384" name="Ellipse 129"/>
            <p:cNvSpPr>
              <a:spLocks noChangeAspect="1"/>
            </p:cNvSpPr>
            <p:nvPr/>
          </p:nvSpPr>
          <p:spPr bwMode="auto">
            <a:xfrm>
              <a:off x="1937108" y="1821586"/>
              <a:ext cx="155448" cy="155448"/>
            </a:xfrm>
            <a:prstGeom prst="ellipse">
              <a:avLst/>
            </a:prstGeom>
            <a:noFill/>
            <a:ln w="28575" cap="flat" cmpd="sng" algn="ctr">
              <a:solidFill>
                <a:schemeClr val="tx2"/>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sp>
        <p:nvSpPr>
          <p:cNvPr id="7" name="Oval 6"/>
          <p:cNvSpPr>
            <a:spLocks noChangeAspect="1"/>
          </p:cNvSpPr>
          <p:nvPr/>
        </p:nvSpPr>
        <p:spPr bwMode="auto">
          <a:xfrm>
            <a:off x="1952056" y="3358134"/>
            <a:ext cx="169820" cy="155448"/>
          </a:xfrm>
          <a:prstGeom prst="ellipse">
            <a:avLst/>
          </a:prstGeom>
          <a:solidFill>
            <a:schemeClr val="tx1"/>
          </a:solidFill>
          <a:ln w="38100" cap="flat" cmpd="sng" algn="ctr">
            <a:solidFill>
              <a:srgbClr val="0070C0"/>
            </a:solidFill>
            <a:prstDash val="solid"/>
            <a:round/>
            <a:headEnd type="none" w="sm" len="sm"/>
            <a:tailEnd type="none" w="sm" len="sm"/>
          </a:ln>
          <a:effectLst/>
          <a:extLst/>
        </p:spPr>
        <p:txBody>
          <a:bodyPr vert="horz" wrap="none" lIns="0" tIns="0" rIns="0" bIns="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386" name="Oval 385"/>
          <p:cNvSpPr>
            <a:spLocks noChangeAspect="1"/>
          </p:cNvSpPr>
          <p:nvPr/>
        </p:nvSpPr>
        <p:spPr bwMode="auto">
          <a:xfrm>
            <a:off x="2749094" y="3346102"/>
            <a:ext cx="169820" cy="155448"/>
          </a:xfrm>
          <a:prstGeom prst="ellipse">
            <a:avLst/>
          </a:prstGeom>
          <a:solidFill>
            <a:schemeClr val="tx1"/>
          </a:solidFill>
          <a:ln w="38100" cap="flat" cmpd="sng" algn="ctr">
            <a:solidFill>
              <a:srgbClr val="0070C0"/>
            </a:solidFill>
            <a:prstDash val="solid"/>
            <a:round/>
            <a:headEnd type="none" w="sm" len="sm"/>
            <a:tailEnd type="none" w="sm" len="sm"/>
          </a:ln>
          <a:effectLst/>
          <a:extLst/>
        </p:spPr>
        <p:txBody>
          <a:bodyPr vert="horz" wrap="none" lIns="0" tIns="0" rIns="0" bIns="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387" name="Oval 386"/>
          <p:cNvSpPr>
            <a:spLocks noChangeAspect="1"/>
          </p:cNvSpPr>
          <p:nvPr/>
        </p:nvSpPr>
        <p:spPr bwMode="auto">
          <a:xfrm>
            <a:off x="3518833" y="3346102"/>
            <a:ext cx="169820" cy="155448"/>
          </a:xfrm>
          <a:prstGeom prst="ellipse">
            <a:avLst/>
          </a:prstGeom>
          <a:solidFill>
            <a:srgbClr val="0000BE"/>
          </a:solidFill>
          <a:ln w="38100" cap="flat" cmpd="sng" algn="ctr">
            <a:solidFill>
              <a:srgbClr val="0070C0"/>
            </a:solidFill>
            <a:prstDash val="solid"/>
            <a:round/>
            <a:headEnd type="none" w="sm" len="sm"/>
            <a:tailEnd type="none" w="sm" len="sm"/>
          </a:ln>
          <a:effectLst/>
          <a:extLst/>
        </p:spPr>
        <p:txBody>
          <a:bodyPr vert="horz" wrap="none" lIns="0" tIns="0" rIns="0" bIns="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388" name="Oval 387"/>
          <p:cNvSpPr>
            <a:spLocks noChangeAspect="1"/>
          </p:cNvSpPr>
          <p:nvPr/>
        </p:nvSpPr>
        <p:spPr bwMode="auto">
          <a:xfrm>
            <a:off x="4306832" y="3330420"/>
            <a:ext cx="169820" cy="155448"/>
          </a:xfrm>
          <a:prstGeom prst="ellipse">
            <a:avLst/>
          </a:prstGeom>
          <a:solidFill>
            <a:srgbClr val="00B0F0"/>
          </a:solidFill>
          <a:ln w="38100" cap="flat" cmpd="sng" algn="ctr">
            <a:solidFill>
              <a:srgbClr val="0070C0"/>
            </a:solidFill>
            <a:prstDash val="solid"/>
            <a:round/>
            <a:headEnd type="none" w="sm" len="sm"/>
            <a:tailEnd type="none" w="sm" len="sm"/>
          </a:ln>
          <a:effectLst/>
          <a:extLst/>
        </p:spPr>
        <p:txBody>
          <a:bodyPr vert="horz" wrap="none" lIns="0" tIns="0" rIns="0" bIns="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390" name="Oval 389"/>
          <p:cNvSpPr>
            <a:spLocks noChangeAspect="1"/>
          </p:cNvSpPr>
          <p:nvPr/>
        </p:nvSpPr>
        <p:spPr bwMode="auto">
          <a:xfrm>
            <a:off x="5074741" y="3330420"/>
            <a:ext cx="169820" cy="155448"/>
          </a:xfrm>
          <a:prstGeom prst="ellipse">
            <a:avLst/>
          </a:prstGeom>
          <a:solidFill>
            <a:srgbClr val="0000BE"/>
          </a:solidFill>
          <a:ln w="38100" cap="flat" cmpd="sng" algn="ctr">
            <a:solidFill>
              <a:srgbClr val="0070C0"/>
            </a:solidFill>
            <a:prstDash val="solid"/>
            <a:round/>
            <a:headEnd type="none" w="sm" len="sm"/>
            <a:tailEnd type="none" w="sm" len="sm"/>
          </a:ln>
          <a:effectLst/>
          <a:extLst/>
        </p:spPr>
        <p:txBody>
          <a:bodyPr vert="horz" wrap="none" lIns="0" tIns="0" rIns="0" bIns="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391" name="Oval 390"/>
          <p:cNvSpPr>
            <a:spLocks noChangeAspect="1"/>
          </p:cNvSpPr>
          <p:nvPr/>
        </p:nvSpPr>
        <p:spPr bwMode="auto">
          <a:xfrm>
            <a:off x="5874326" y="3342452"/>
            <a:ext cx="169820" cy="155448"/>
          </a:xfrm>
          <a:prstGeom prst="ellipse">
            <a:avLst/>
          </a:prstGeom>
          <a:solidFill>
            <a:schemeClr val="tx1"/>
          </a:solidFill>
          <a:ln w="38100" cap="flat" cmpd="sng" algn="ctr">
            <a:solidFill>
              <a:srgbClr val="0070C0"/>
            </a:solidFill>
            <a:prstDash val="solid"/>
            <a:round/>
            <a:headEnd type="none" w="sm" len="sm"/>
            <a:tailEnd type="none" w="sm" len="sm"/>
          </a:ln>
          <a:effectLst/>
          <a:extLst/>
        </p:spPr>
        <p:txBody>
          <a:bodyPr vert="horz" wrap="none" lIns="0" tIns="0" rIns="0" bIns="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393" name="Oval 392"/>
          <p:cNvSpPr>
            <a:spLocks noChangeAspect="1"/>
          </p:cNvSpPr>
          <p:nvPr/>
        </p:nvSpPr>
        <p:spPr bwMode="auto">
          <a:xfrm>
            <a:off x="6653547" y="3354484"/>
            <a:ext cx="169820" cy="155448"/>
          </a:xfrm>
          <a:prstGeom prst="ellipse">
            <a:avLst/>
          </a:prstGeom>
          <a:solidFill>
            <a:schemeClr val="tx1"/>
          </a:solidFill>
          <a:ln w="38100" cap="flat" cmpd="sng" algn="ctr">
            <a:solidFill>
              <a:srgbClr val="0070C0"/>
            </a:solidFill>
            <a:prstDash val="solid"/>
            <a:round/>
            <a:headEnd type="none" w="sm" len="sm"/>
            <a:tailEnd type="none" w="sm" len="sm"/>
          </a:ln>
          <a:effectLst/>
          <a:extLst/>
        </p:spPr>
        <p:txBody>
          <a:bodyPr vert="horz" wrap="none" lIns="0" tIns="0" rIns="0" bIns="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nvGrpSpPr>
          <p:cNvPr id="394" name="Group 393"/>
          <p:cNvGrpSpPr/>
          <p:nvPr/>
        </p:nvGrpSpPr>
        <p:grpSpPr>
          <a:xfrm>
            <a:off x="3549834" y="1503323"/>
            <a:ext cx="915164" cy="915164"/>
            <a:chOff x="1559439" y="1453047"/>
            <a:chExt cx="915164" cy="915164"/>
          </a:xfrm>
        </p:grpSpPr>
        <p:sp>
          <p:nvSpPr>
            <p:cNvPr id="395" name="Ellipse 130"/>
            <p:cNvSpPr/>
            <p:nvPr/>
          </p:nvSpPr>
          <p:spPr bwMode="auto">
            <a:xfrm flipV="1">
              <a:off x="1559439" y="1453047"/>
              <a:ext cx="915164" cy="915164"/>
            </a:xfrm>
            <a:prstGeom prst="ellipse">
              <a:avLst/>
            </a:prstGeom>
            <a:gradFill flip="none" rotWithShape="1">
              <a:gsLst>
                <a:gs pos="0">
                  <a:srgbClr val="7030A0"/>
                </a:gs>
                <a:gs pos="17000">
                  <a:srgbClr val="7030A0">
                    <a:lumMod val="74000"/>
                    <a:lumOff val="26000"/>
                  </a:srgbClr>
                </a:gs>
                <a:gs pos="61000">
                  <a:srgbClr val="FFFFFE">
                    <a:alpha val="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397" name="Ellipse 129"/>
            <p:cNvSpPr>
              <a:spLocks noChangeAspect="1"/>
            </p:cNvSpPr>
            <p:nvPr/>
          </p:nvSpPr>
          <p:spPr bwMode="auto">
            <a:xfrm>
              <a:off x="1937108" y="1821586"/>
              <a:ext cx="155448" cy="155448"/>
            </a:xfrm>
            <a:prstGeom prst="ellipse">
              <a:avLst/>
            </a:prstGeom>
            <a:noFill/>
            <a:ln w="28575" cap="flat" cmpd="sng" algn="ctr">
              <a:solidFill>
                <a:schemeClr val="tx2"/>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nvGrpSpPr>
          <p:cNvPr id="398" name="Group 397"/>
          <p:cNvGrpSpPr/>
          <p:nvPr/>
        </p:nvGrpSpPr>
        <p:grpSpPr>
          <a:xfrm>
            <a:off x="3719336" y="1503032"/>
            <a:ext cx="915164" cy="915164"/>
            <a:chOff x="1559439" y="1453047"/>
            <a:chExt cx="915164" cy="915164"/>
          </a:xfrm>
        </p:grpSpPr>
        <p:sp>
          <p:nvSpPr>
            <p:cNvPr id="399" name="Ellipse 130"/>
            <p:cNvSpPr/>
            <p:nvPr/>
          </p:nvSpPr>
          <p:spPr bwMode="auto">
            <a:xfrm flipV="1">
              <a:off x="1559439" y="1453047"/>
              <a:ext cx="915164" cy="915164"/>
            </a:xfrm>
            <a:prstGeom prst="ellipse">
              <a:avLst/>
            </a:prstGeom>
            <a:gradFill flip="none" rotWithShape="1">
              <a:gsLst>
                <a:gs pos="0">
                  <a:srgbClr val="7030A0"/>
                </a:gs>
                <a:gs pos="17000">
                  <a:srgbClr val="7030A0">
                    <a:lumMod val="74000"/>
                    <a:lumOff val="26000"/>
                  </a:srgbClr>
                </a:gs>
                <a:gs pos="61000">
                  <a:srgbClr val="FFFFFE">
                    <a:alpha val="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00" name="Ellipse 129"/>
            <p:cNvSpPr>
              <a:spLocks noChangeAspect="1"/>
            </p:cNvSpPr>
            <p:nvPr/>
          </p:nvSpPr>
          <p:spPr bwMode="auto">
            <a:xfrm>
              <a:off x="1937108" y="1821586"/>
              <a:ext cx="155448" cy="155448"/>
            </a:xfrm>
            <a:prstGeom prst="ellipse">
              <a:avLst/>
            </a:prstGeom>
            <a:solidFill>
              <a:srgbClr val="0000BE"/>
            </a:solidFill>
            <a:ln w="28575" cap="flat" cmpd="sng" algn="ctr">
              <a:solidFill>
                <a:schemeClr val="tx2"/>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nvGrpSpPr>
          <p:cNvPr id="401" name="Group 400"/>
          <p:cNvGrpSpPr/>
          <p:nvPr/>
        </p:nvGrpSpPr>
        <p:grpSpPr>
          <a:xfrm>
            <a:off x="3919864" y="1499016"/>
            <a:ext cx="915164" cy="915164"/>
            <a:chOff x="1559439" y="1453047"/>
            <a:chExt cx="915164" cy="915164"/>
          </a:xfrm>
        </p:grpSpPr>
        <p:sp>
          <p:nvSpPr>
            <p:cNvPr id="402" name="Ellipse 130"/>
            <p:cNvSpPr/>
            <p:nvPr/>
          </p:nvSpPr>
          <p:spPr bwMode="auto">
            <a:xfrm flipV="1">
              <a:off x="1559439" y="1453047"/>
              <a:ext cx="915164" cy="915164"/>
            </a:xfrm>
            <a:prstGeom prst="ellipse">
              <a:avLst/>
            </a:prstGeom>
            <a:gradFill flip="none" rotWithShape="1">
              <a:gsLst>
                <a:gs pos="0">
                  <a:srgbClr val="7030A0"/>
                </a:gs>
                <a:gs pos="17000">
                  <a:srgbClr val="7030A0">
                    <a:lumMod val="74000"/>
                    <a:lumOff val="26000"/>
                  </a:srgbClr>
                </a:gs>
                <a:gs pos="61000">
                  <a:srgbClr val="FFFFFE">
                    <a:alpha val="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03" name="Ellipse 129"/>
            <p:cNvSpPr>
              <a:spLocks noChangeAspect="1"/>
            </p:cNvSpPr>
            <p:nvPr/>
          </p:nvSpPr>
          <p:spPr bwMode="auto">
            <a:xfrm>
              <a:off x="1937108" y="1821586"/>
              <a:ext cx="155448" cy="155448"/>
            </a:xfrm>
            <a:prstGeom prst="ellipse">
              <a:avLst/>
            </a:prstGeom>
            <a:solidFill>
              <a:srgbClr val="00B0F0"/>
            </a:solidFill>
            <a:ln w="28575" cap="flat" cmpd="sng" algn="ctr">
              <a:solidFill>
                <a:schemeClr val="tx2"/>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nvGrpSpPr>
          <p:cNvPr id="404" name="Group 403"/>
          <p:cNvGrpSpPr/>
          <p:nvPr/>
        </p:nvGrpSpPr>
        <p:grpSpPr>
          <a:xfrm>
            <a:off x="4108360" y="1507032"/>
            <a:ext cx="915164" cy="915164"/>
            <a:chOff x="1559439" y="1453047"/>
            <a:chExt cx="915164" cy="915164"/>
          </a:xfrm>
        </p:grpSpPr>
        <p:sp>
          <p:nvSpPr>
            <p:cNvPr id="405" name="Ellipse 130"/>
            <p:cNvSpPr/>
            <p:nvPr/>
          </p:nvSpPr>
          <p:spPr bwMode="auto">
            <a:xfrm flipV="1">
              <a:off x="1559439" y="1453047"/>
              <a:ext cx="915164" cy="915164"/>
            </a:xfrm>
            <a:prstGeom prst="ellipse">
              <a:avLst/>
            </a:prstGeom>
            <a:gradFill flip="none" rotWithShape="1">
              <a:gsLst>
                <a:gs pos="0">
                  <a:srgbClr val="7030A0"/>
                </a:gs>
                <a:gs pos="17000">
                  <a:srgbClr val="7030A0">
                    <a:lumMod val="74000"/>
                    <a:lumOff val="26000"/>
                  </a:srgbClr>
                </a:gs>
                <a:gs pos="61000">
                  <a:srgbClr val="FFFFFE">
                    <a:alpha val="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06" name="Ellipse 129"/>
            <p:cNvSpPr>
              <a:spLocks noChangeAspect="1"/>
            </p:cNvSpPr>
            <p:nvPr/>
          </p:nvSpPr>
          <p:spPr bwMode="auto">
            <a:xfrm>
              <a:off x="1937108" y="1821586"/>
              <a:ext cx="155448" cy="155448"/>
            </a:xfrm>
            <a:prstGeom prst="ellipse">
              <a:avLst/>
            </a:prstGeom>
            <a:solidFill>
              <a:srgbClr val="0000BE"/>
            </a:solidFill>
            <a:ln w="28575" cap="flat" cmpd="sng" algn="ctr">
              <a:solidFill>
                <a:schemeClr val="tx2"/>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nvGrpSpPr>
          <p:cNvPr id="407" name="Group 406"/>
          <p:cNvGrpSpPr/>
          <p:nvPr/>
        </p:nvGrpSpPr>
        <p:grpSpPr>
          <a:xfrm>
            <a:off x="4272792" y="1515048"/>
            <a:ext cx="915164" cy="915164"/>
            <a:chOff x="1559439" y="1453047"/>
            <a:chExt cx="915164" cy="915164"/>
          </a:xfrm>
        </p:grpSpPr>
        <p:sp>
          <p:nvSpPr>
            <p:cNvPr id="408" name="Ellipse 130"/>
            <p:cNvSpPr/>
            <p:nvPr/>
          </p:nvSpPr>
          <p:spPr bwMode="auto">
            <a:xfrm flipV="1">
              <a:off x="1559439" y="1453047"/>
              <a:ext cx="915164" cy="915164"/>
            </a:xfrm>
            <a:prstGeom prst="ellipse">
              <a:avLst/>
            </a:prstGeom>
            <a:gradFill flip="none" rotWithShape="1">
              <a:gsLst>
                <a:gs pos="0">
                  <a:srgbClr val="7030A0"/>
                </a:gs>
                <a:gs pos="17000">
                  <a:srgbClr val="7030A0">
                    <a:lumMod val="74000"/>
                    <a:lumOff val="26000"/>
                  </a:srgbClr>
                </a:gs>
                <a:gs pos="61000">
                  <a:srgbClr val="FFFFFE">
                    <a:alpha val="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09" name="Ellipse 129"/>
            <p:cNvSpPr>
              <a:spLocks noChangeAspect="1"/>
            </p:cNvSpPr>
            <p:nvPr/>
          </p:nvSpPr>
          <p:spPr bwMode="auto">
            <a:xfrm>
              <a:off x="1937108" y="1821586"/>
              <a:ext cx="155448" cy="155448"/>
            </a:xfrm>
            <a:prstGeom prst="ellipse">
              <a:avLst/>
            </a:prstGeom>
            <a:noFill/>
            <a:ln w="28575" cap="flat" cmpd="sng" algn="ctr">
              <a:solidFill>
                <a:schemeClr val="tx2"/>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nvGrpSpPr>
          <p:cNvPr id="410" name="Group 409"/>
          <p:cNvGrpSpPr/>
          <p:nvPr/>
        </p:nvGrpSpPr>
        <p:grpSpPr>
          <a:xfrm>
            <a:off x="4473320" y="1523064"/>
            <a:ext cx="915164" cy="915164"/>
            <a:chOff x="1559439" y="1453047"/>
            <a:chExt cx="915164" cy="915164"/>
          </a:xfrm>
        </p:grpSpPr>
        <p:sp>
          <p:nvSpPr>
            <p:cNvPr id="411" name="Ellipse 130"/>
            <p:cNvSpPr/>
            <p:nvPr/>
          </p:nvSpPr>
          <p:spPr bwMode="auto">
            <a:xfrm flipV="1">
              <a:off x="1559439" y="1453047"/>
              <a:ext cx="915164" cy="915164"/>
            </a:xfrm>
            <a:prstGeom prst="ellipse">
              <a:avLst/>
            </a:prstGeom>
            <a:gradFill flip="none" rotWithShape="1">
              <a:gsLst>
                <a:gs pos="0">
                  <a:srgbClr val="7030A0"/>
                </a:gs>
                <a:gs pos="17000">
                  <a:srgbClr val="7030A0">
                    <a:lumMod val="74000"/>
                    <a:lumOff val="26000"/>
                  </a:srgbClr>
                </a:gs>
                <a:gs pos="61000">
                  <a:srgbClr val="FFFFFE">
                    <a:alpha val="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12" name="Ellipse 129"/>
            <p:cNvSpPr>
              <a:spLocks noChangeAspect="1"/>
            </p:cNvSpPr>
            <p:nvPr/>
          </p:nvSpPr>
          <p:spPr bwMode="auto">
            <a:xfrm>
              <a:off x="1937108" y="1821586"/>
              <a:ext cx="155448" cy="155448"/>
            </a:xfrm>
            <a:prstGeom prst="ellipse">
              <a:avLst/>
            </a:prstGeom>
            <a:noFill/>
            <a:ln w="28575" cap="flat" cmpd="sng" algn="ctr">
              <a:solidFill>
                <a:schemeClr val="tx2"/>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nvGrpSpPr>
          <p:cNvPr id="726" name="Gruppieren 1027"/>
          <p:cNvGrpSpPr/>
          <p:nvPr/>
        </p:nvGrpSpPr>
        <p:grpSpPr>
          <a:xfrm>
            <a:off x="3823748" y="1494991"/>
            <a:ext cx="1110090" cy="942393"/>
            <a:chOff x="7587534" y="2619677"/>
            <a:chExt cx="1110090" cy="942393"/>
          </a:xfrm>
        </p:grpSpPr>
        <p:sp>
          <p:nvSpPr>
            <p:cNvPr id="727" name="Ellipse 138"/>
            <p:cNvSpPr/>
            <p:nvPr/>
          </p:nvSpPr>
          <p:spPr bwMode="auto">
            <a:xfrm flipV="1">
              <a:off x="7684997" y="2646906"/>
              <a:ext cx="915164" cy="915164"/>
            </a:xfrm>
            <a:prstGeom prst="ellipse">
              <a:avLst/>
            </a:prstGeom>
            <a:gradFill flip="none" rotWithShape="1">
              <a:gsLst>
                <a:gs pos="0">
                  <a:srgbClr val="66CCFF">
                    <a:tint val="66000"/>
                    <a:satMod val="160000"/>
                  </a:srgbClr>
                </a:gs>
                <a:gs pos="34000">
                  <a:srgbClr val="66CCFF">
                    <a:tint val="44500"/>
                    <a:satMod val="160000"/>
                    <a:alpha val="61000"/>
                  </a:srgbClr>
                </a:gs>
                <a:gs pos="58000">
                  <a:srgbClr val="66CCFF">
                    <a:tint val="23500"/>
                    <a:satMod val="160000"/>
                    <a:alpha val="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28" name="Freihandform 65"/>
            <p:cNvSpPr/>
            <p:nvPr/>
          </p:nvSpPr>
          <p:spPr bwMode="auto">
            <a:xfrm>
              <a:off x="7587534" y="2619677"/>
              <a:ext cx="1110090" cy="774383"/>
            </a:xfrm>
            <a:custGeom>
              <a:avLst/>
              <a:gdLst>
                <a:gd name="connsiteX0" fmla="*/ 0 w 4119418"/>
                <a:gd name="connsiteY0" fmla="*/ 1341527 h 1396945"/>
                <a:gd name="connsiteX1" fmla="*/ 775854 w 4119418"/>
                <a:gd name="connsiteY1" fmla="*/ 1202981 h 1396945"/>
                <a:gd name="connsiteX2" fmla="*/ 1477818 w 4119418"/>
                <a:gd name="connsiteY2" fmla="*/ 279345 h 1396945"/>
                <a:gd name="connsiteX3" fmla="*/ 1911927 w 4119418"/>
                <a:gd name="connsiteY3" fmla="*/ 20727 h 1396945"/>
                <a:gd name="connsiteX4" fmla="*/ 2401454 w 4119418"/>
                <a:gd name="connsiteY4" fmla="*/ 113090 h 1396945"/>
                <a:gd name="connsiteX5" fmla="*/ 2992582 w 4119418"/>
                <a:gd name="connsiteY5" fmla="*/ 879709 h 1396945"/>
                <a:gd name="connsiteX6" fmla="*/ 3445163 w 4119418"/>
                <a:gd name="connsiteY6" fmla="*/ 1286109 h 1396945"/>
                <a:gd name="connsiteX7" fmla="*/ 4119418 w 4119418"/>
                <a:gd name="connsiteY7" fmla="*/ 1396945 h 1396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418" h="1396945">
                  <a:moveTo>
                    <a:pt x="0" y="1341527"/>
                  </a:moveTo>
                  <a:cubicBezTo>
                    <a:pt x="264775" y="1360769"/>
                    <a:pt x="529551" y="1380011"/>
                    <a:pt x="775854" y="1202981"/>
                  </a:cubicBezTo>
                  <a:cubicBezTo>
                    <a:pt x="1022157" y="1025951"/>
                    <a:pt x="1288473" y="476387"/>
                    <a:pt x="1477818" y="279345"/>
                  </a:cubicBezTo>
                  <a:cubicBezTo>
                    <a:pt x="1667164" y="82303"/>
                    <a:pt x="1757988" y="48436"/>
                    <a:pt x="1911927" y="20727"/>
                  </a:cubicBezTo>
                  <a:cubicBezTo>
                    <a:pt x="2065866" y="-6982"/>
                    <a:pt x="2221345" y="-30074"/>
                    <a:pt x="2401454" y="113090"/>
                  </a:cubicBezTo>
                  <a:cubicBezTo>
                    <a:pt x="2581563" y="256254"/>
                    <a:pt x="2818631" y="684206"/>
                    <a:pt x="2992582" y="879709"/>
                  </a:cubicBezTo>
                  <a:cubicBezTo>
                    <a:pt x="3166534" y="1075212"/>
                    <a:pt x="3257357" y="1199903"/>
                    <a:pt x="3445163" y="1286109"/>
                  </a:cubicBezTo>
                  <a:cubicBezTo>
                    <a:pt x="3632969" y="1372315"/>
                    <a:pt x="3876193" y="1384630"/>
                    <a:pt x="4119418" y="1396945"/>
                  </a:cubicBezTo>
                </a:path>
              </a:pathLst>
            </a:custGeom>
            <a:noFill/>
            <a:ln w="3175" cap="flat" cmpd="sng" algn="ctr">
              <a:solidFill>
                <a:schemeClr val="tx1"/>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29" name="Ellipse 30"/>
            <p:cNvSpPr/>
            <p:nvPr/>
          </p:nvSpPr>
          <p:spPr bwMode="auto">
            <a:xfrm flipV="1">
              <a:off x="8044026" y="3006869"/>
              <a:ext cx="175464" cy="175464"/>
            </a:xfrm>
            <a:prstGeom prst="ellipse">
              <a:avLst/>
            </a:prstGeom>
            <a:solidFill>
              <a:srgbClr val="66CCFF"/>
            </a:solidFill>
            <a:ln w="3175" cap="flat" cmpd="sng" algn="ctr">
              <a:solidFill>
                <a:srgbClr val="0070C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sp>
        <p:nvSpPr>
          <p:cNvPr id="413" name="TextBox 412"/>
          <p:cNvSpPr txBox="1"/>
          <p:nvPr/>
        </p:nvSpPr>
        <p:spPr>
          <a:xfrm>
            <a:off x="7562164" y="5080158"/>
            <a:ext cx="1280178" cy="299019"/>
          </a:xfrm>
          <a:prstGeom prst="rect">
            <a:avLst/>
          </a:prstGeom>
          <a:noFill/>
        </p:spPr>
        <p:txBody>
          <a:bodyPr wrap="square" rtlCol="0">
            <a:noAutofit/>
          </a:bodyPr>
          <a:lstStyle/>
          <a:p>
            <a:pPr eaLnBrk="0" fontAlgn="base" hangingPunct="0">
              <a:spcBef>
                <a:spcPct val="0"/>
              </a:spcBef>
              <a:spcAft>
                <a:spcPct val="0"/>
              </a:spcAft>
            </a:pPr>
            <a:r>
              <a:rPr lang="en-US" sz="1600" dirty="0">
                <a:solidFill>
                  <a:srgbClr val="000000"/>
                </a:solidFill>
              </a:rPr>
              <a:t>~170nm</a:t>
            </a:r>
          </a:p>
        </p:txBody>
      </p:sp>
      <p:sp>
        <p:nvSpPr>
          <p:cNvPr id="6" name="Slide Number Placeholder 5"/>
          <p:cNvSpPr>
            <a:spLocks noGrp="1"/>
          </p:cNvSpPr>
          <p:nvPr>
            <p:ph type="sldNum" sz="quarter" idx="11"/>
          </p:nvPr>
        </p:nvSpPr>
        <p:spPr/>
        <p:txBody>
          <a:bodyPr/>
          <a:lstStyle/>
          <a:p>
            <a:fld id="{E7106F61-AEF5-4A9D-9A53-47E3DFDE314C}" type="slidenum">
              <a:rPr lang="de-DE" smtClean="0">
                <a:solidFill>
                  <a:srgbClr val="000000"/>
                </a:solidFill>
              </a:rPr>
              <a:pPr/>
              <a:t>38</a:t>
            </a:fld>
            <a:endParaRPr lang="de-DE">
              <a:solidFill>
                <a:srgbClr val="000000"/>
              </a:solidFill>
            </a:endParaRPr>
          </a:p>
        </p:txBody>
      </p:sp>
    </p:spTree>
    <p:extLst>
      <p:ext uri="{BB962C8B-B14F-4D97-AF65-F5344CB8AC3E}">
        <p14:creationId xmlns:p14="http://schemas.microsoft.com/office/powerpoint/2010/main" val="29997248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8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9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8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8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9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8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8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0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88"/>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8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04"/>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90"/>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87"/>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407"/>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391"/>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482"/>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410"/>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92"/>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393"/>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11"/>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413"/>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nodeType="clickEffect">
                                  <p:stCondLst>
                                    <p:cond delay="0"/>
                                  </p:stCondLst>
                                  <p:childTnLst>
                                    <p:set>
                                      <p:cBhvr>
                                        <p:cTn id="6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81" grpId="0" animBg="1"/>
      <p:bldP spid="83" grpId="0" animBg="1"/>
      <p:bldP spid="87" grpId="0" animBg="1"/>
      <p:bldP spid="92" grpId="0" animBg="1"/>
      <p:bldP spid="482" grpId="0" animBg="1"/>
      <p:bldP spid="483" grpId="0" animBg="1"/>
      <p:bldP spid="7" grpId="0" animBg="1"/>
      <p:bldP spid="386" grpId="0" animBg="1"/>
      <p:bldP spid="387" grpId="0" animBg="1"/>
      <p:bldP spid="388" grpId="0" animBg="1"/>
      <p:bldP spid="390" grpId="0" animBg="1"/>
      <p:bldP spid="391" grpId="0" animBg="1"/>
      <p:bldP spid="393" grpId="0" animBg="1"/>
      <p:bldP spid="413"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bwMode="auto">
          <a:xfrm>
            <a:off x="0" y="0"/>
            <a:ext cx="914400" cy="0"/>
          </a:xfrm>
          <a:prstGeom prst="line">
            <a:avLst/>
          </a:prstGeom>
          <a:solidFill>
            <a:schemeClr val="folHlink"/>
          </a:solidFill>
          <a:ln w="0" cap="flat" cmpd="sng" algn="ctr">
            <a:solidFill>
              <a:srgbClr val="FBFFFF"/>
            </a:solidFill>
            <a:prstDash val="solid"/>
            <a:round/>
            <a:headEnd type="none" w="sm" len="sm"/>
            <a:tailEnd type="none" w="sm" len="sm"/>
          </a:ln>
          <a:effectLst/>
          <a:extLst>
            <a:ext uri="{AF507438-7753-43E0-B8FC-AC1667EBCBE1}">
              <a14:hiddenEffects xmlns:a14="http://schemas.microsoft.com/office/drawing/2010/main">
                <a:effectLst>
                  <a:outerShdw algn="ctr" rotWithShape="0">
                    <a:schemeClr val="bg2"/>
                  </a:outerShdw>
                </a:effectLst>
              </a14:hiddenEffects>
            </a:ext>
          </a:extLst>
        </p:spPr>
      </p:cxnSp>
      <p:sp>
        <p:nvSpPr>
          <p:cNvPr id="2" name="Titel 1"/>
          <p:cNvSpPr>
            <a:spLocks noGrp="1"/>
          </p:cNvSpPr>
          <p:nvPr>
            <p:ph type="title"/>
          </p:nvPr>
        </p:nvSpPr>
        <p:spPr/>
        <p:txBody>
          <a:bodyPr/>
          <a:lstStyle/>
          <a:p>
            <a:r>
              <a:rPr lang="en-US" dirty="0" err="1"/>
              <a:t>Airyscan</a:t>
            </a:r>
            <a:r>
              <a:rPr lang="en-US" dirty="0"/>
              <a:t> Detection</a:t>
            </a:r>
            <a:br>
              <a:rPr lang="en-US" dirty="0"/>
            </a:br>
            <a:r>
              <a:rPr lang="en-US" sz="1800" b="0" dirty="0">
                <a:solidFill>
                  <a:schemeClr val="tx1"/>
                </a:solidFill>
              </a:rPr>
              <a:t>Unique 32 </a:t>
            </a:r>
            <a:r>
              <a:rPr lang="en-US" sz="1800" b="0" dirty="0" err="1">
                <a:solidFill>
                  <a:schemeClr val="tx1"/>
                </a:solidFill>
              </a:rPr>
              <a:t>GaAsP</a:t>
            </a:r>
            <a:r>
              <a:rPr lang="en-US" sz="1800" b="0" dirty="0">
                <a:solidFill>
                  <a:schemeClr val="tx1"/>
                </a:solidFill>
              </a:rPr>
              <a:t>-PMT design</a:t>
            </a:r>
            <a:endParaRPr lang="en-US" sz="2000" b="0" dirty="0">
              <a:solidFill>
                <a:schemeClr val="tx1"/>
              </a:solidFill>
            </a:endParaRPr>
          </a:p>
        </p:txBody>
      </p:sp>
      <p:sp>
        <p:nvSpPr>
          <p:cNvPr id="5" name="Fußzeilenplatzhalter 4"/>
          <p:cNvSpPr>
            <a:spLocks noGrp="1"/>
          </p:cNvSpPr>
          <p:nvPr>
            <p:ph type="ftr" sz="quarter" idx="12"/>
          </p:nvPr>
        </p:nvSpPr>
        <p:spPr/>
        <p:txBody>
          <a:bodyPr/>
          <a:lstStyle/>
          <a:p>
            <a:r>
              <a:rPr lang="en-US">
                <a:solidFill>
                  <a:srgbClr val="000000"/>
                </a:solidFill>
              </a:rPr>
              <a:t>Carl Zeiss Microscopy</a:t>
            </a:r>
            <a:endParaRPr lang="en-US" dirty="0">
              <a:solidFill>
                <a:srgbClr val="000000"/>
              </a:solidFill>
            </a:endParaRPr>
          </a:p>
        </p:txBody>
      </p:sp>
      <p:pic>
        <p:nvPicPr>
          <p:cNvPr id="15" name="Grafik 14"/>
          <p:cNvPicPr preferRelativeResize="0">
            <a:picLocks/>
          </p:cNvPicPr>
          <p:nvPr/>
        </p:nvPicPr>
        <p:blipFill rotWithShape="1">
          <a:blip r:embed="rId3">
            <a:extLst>
              <a:ext uri="{28A0092B-C50C-407E-A947-70E740481C1C}">
                <a14:useLocalDpi xmlns:a14="http://schemas.microsoft.com/office/drawing/2010/main" val="0"/>
              </a:ext>
            </a:extLst>
          </a:blip>
          <a:srcRect l="59143" t="87960" r="40721"/>
          <a:stretch/>
        </p:blipFill>
        <p:spPr>
          <a:xfrm>
            <a:off x="2727276" y="1449176"/>
            <a:ext cx="2080320" cy="4942992"/>
          </a:xfrm>
          <a:prstGeom prst="rect">
            <a:avLst/>
          </a:prstGeom>
        </p:spPr>
      </p:pic>
      <p:pic>
        <p:nvPicPr>
          <p:cNvPr id="24" name="Grafik 23"/>
          <p:cNvPicPr preferRelativeResize="0">
            <a:picLocks/>
          </p:cNvPicPr>
          <p:nvPr/>
        </p:nvPicPr>
        <p:blipFill rotWithShape="1">
          <a:blip r:embed="rId4" cstate="print">
            <a:extLst>
              <a:ext uri="{28A0092B-C50C-407E-A947-70E740481C1C}">
                <a14:useLocalDpi xmlns:a14="http://schemas.microsoft.com/office/drawing/2010/main" val="0"/>
              </a:ext>
            </a:extLst>
          </a:blip>
          <a:srcRect/>
          <a:stretch/>
        </p:blipFill>
        <p:spPr>
          <a:xfrm>
            <a:off x="376399" y="1449176"/>
            <a:ext cx="3956744" cy="4942993"/>
          </a:xfrm>
          <a:prstGeom prst="rect">
            <a:avLst/>
          </a:prstGeom>
        </p:spPr>
      </p:pic>
      <p:sp>
        <p:nvSpPr>
          <p:cNvPr id="26" name="Textfeld 25"/>
          <p:cNvSpPr txBox="1"/>
          <p:nvPr/>
        </p:nvSpPr>
        <p:spPr>
          <a:xfrm>
            <a:off x="1350272" y="5457401"/>
            <a:ext cx="2123072" cy="348528"/>
          </a:xfrm>
          <a:prstGeom prst="rect">
            <a:avLst/>
          </a:prstGeom>
          <a:noFill/>
        </p:spPr>
        <p:txBody>
          <a:bodyPr wrap="square" rtlCol="0">
            <a:noAutofit/>
          </a:bodyPr>
          <a:lstStyle/>
          <a:p>
            <a:pPr eaLnBrk="0" fontAlgn="base" hangingPunct="0">
              <a:spcBef>
                <a:spcPct val="0"/>
              </a:spcBef>
              <a:spcAft>
                <a:spcPct val="0"/>
              </a:spcAft>
            </a:pPr>
            <a:r>
              <a:rPr lang="en-US" sz="1600" dirty="0">
                <a:solidFill>
                  <a:srgbClr val="66CCFF"/>
                </a:solidFill>
              </a:rPr>
              <a:t>32 </a:t>
            </a:r>
            <a:r>
              <a:rPr lang="en-US" sz="1600" dirty="0" err="1">
                <a:solidFill>
                  <a:srgbClr val="66CCFF"/>
                </a:solidFill>
              </a:rPr>
              <a:t>GaAsP</a:t>
            </a:r>
            <a:r>
              <a:rPr lang="en-US" sz="1600" dirty="0">
                <a:solidFill>
                  <a:srgbClr val="66CCFF"/>
                </a:solidFill>
              </a:rPr>
              <a:t>-PMT array</a:t>
            </a:r>
          </a:p>
        </p:txBody>
      </p:sp>
      <p:sp>
        <p:nvSpPr>
          <p:cNvPr id="27" name="Textfeld 26"/>
          <p:cNvSpPr txBox="1"/>
          <p:nvPr/>
        </p:nvSpPr>
        <p:spPr>
          <a:xfrm>
            <a:off x="2411808" y="4393776"/>
            <a:ext cx="2312197" cy="348528"/>
          </a:xfrm>
          <a:prstGeom prst="rect">
            <a:avLst/>
          </a:prstGeom>
          <a:noFill/>
        </p:spPr>
        <p:txBody>
          <a:bodyPr wrap="square" rtlCol="0">
            <a:noAutofit/>
          </a:bodyPr>
          <a:lstStyle/>
          <a:p>
            <a:pPr eaLnBrk="0" fontAlgn="base" hangingPunct="0">
              <a:spcBef>
                <a:spcPct val="0"/>
              </a:spcBef>
              <a:spcAft>
                <a:spcPct val="0"/>
              </a:spcAft>
            </a:pPr>
            <a:r>
              <a:rPr lang="en-US" sz="1600" dirty="0">
                <a:solidFill>
                  <a:srgbClr val="66CCFF"/>
                </a:solidFill>
              </a:rPr>
              <a:t>adaptive zoom optics</a:t>
            </a:r>
          </a:p>
        </p:txBody>
      </p:sp>
      <p:sp>
        <p:nvSpPr>
          <p:cNvPr id="28" name="Textfeld 27"/>
          <p:cNvSpPr txBox="1"/>
          <p:nvPr/>
        </p:nvSpPr>
        <p:spPr>
          <a:xfrm>
            <a:off x="2669760" y="2680256"/>
            <a:ext cx="1373683" cy="348528"/>
          </a:xfrm>
          <a:prstGeom prst="rect">
            <a:avLst/>
          </a:prstGeom>
          <a:noFill/>
        </p:spPr>
        <p:txBody>
          <a:bodyPr wrap="square" rtlCol="0">
            <a:noAutofit/>
          </a:bodyPr>
          <a:lstStyle/>
          <a:p>
            <a:pPr eaLnBrk="0" fontAlgn="base" hangingPunct="0">
              <a:spcBef>
                <a:spcPct val="0"/>
              </a:spcBef>
              <a:spcAft>
                <a:spcPct val="0"/>
              </a:spcAft>
            </a:pPr>
            <a:r>
              <a:rPr lang="en-US" sz="1600" dirty="0">
                <a:solidFill>
                  <a:srgbClr val="66CCFF"/>
                </a:solidFill>
              </a:rPr>
              <a:t>filter wheel</a:t>
            </a:r>
          </a:p>
        </p:txBody>
      </p:sp>
      <p:sp>
        <p:nvSpPr>
          <p:cNvPr id="29" name="Textfeld 28"/>
          <p:cNvSpPr txBox="1"/>
          <p:nvPr/>
        </p:nvSpPr>
        <p:spPr>
          <a:xfrm>
            <a:off x="2642366" y="1587958"/>
            <a:ext cx="2107515" cy="348528"/>
          </a:xfrm>
          <a:prstGeom prst="rect">
            <a:avLst/>
          </a:prstGeom>
          <a:noFill/>
        </p:spPr>
        <p:txBody>
          <a:bodyPr wrap="square" rtlCol="0">
            <a:noAutofit/>
          </a:bodyPr>
          <a:lstStyle/>
          <a:p>
            <a:pPr eaLnBrk="0" fontAlgn="base" hangingPunct="0">
              <a:spcBef>
                <a:spcPct val="0"/>
              </a:spcBef>
              <a:spcAft>
                <a:spcPct val="0"/>
              </a:spcAft>
            </a:pPr>
            <a:r>
              <a:rPr lang="en-US" sz="1600" dirty="0">
                <a:solidFill>
                  <a:srgbClr val="66CCFF"/>
                </a:solidFill>
              </a:rPr>
              <a:t>LSM 880 output port</a:t>
            </a:r>
          </a:p>
        </p:txBody>
      </p:sp>
      <p:pic>
        <p:nvPicPr>
          <p:cNvPr id="30" name="Grafik 29"/>
          <p:cNvPicPr preferRelativeResize="0">
            <a:picLocks/>
          </p:cNvPicPr>
          <p:nvPr/>
        </p:nvPicPr>
        <p:blipFill rotWithShape="1">
          <a:blip r:embed="rId5" cstate="print">
            <a:extLst>
              <a:ext uri="{28A0092B-C50C-407E-A947-70E740481C1C}">
                <a14:useLocalDpi xmlns:a14="http://schemas.microsoft.com/office/drawing/2010/main" val="0"/>
              </a:ext>
            </a:extLst>
          </a:blip>
          <a:srcRect r="73201"/>
          <a:stretch/>
        </p:blipFill>
        <p:spPr>
          <a:xfrm>
            <a:off x="532307" y="1579332"/>
            <a:ext cx="1422770" cy="2224916"/>
          </a:xfrm>
          <a:prstGeom prst="rect">
            <a:avLst/>
          </a:prstGeom>
          <a:ln>
            <a:solidFill>
              <a:schemeClr val="bg1"/>
            </a:solidFill>
          </a:ln>
        </p:spPr>
      </p:pic>
      <p:pic>
        <p:nvPicPr>
          <p:cNvPr id="31" name="Grafik 30"/>
          <p:cNvPicPr preferRelativeResize="0">
            <a:picLocks/>
          </p:cNvPicPr>
          <p:nvPr/>
        </p:nvPicPr>
        <p:blipFill rotWithShape="1">
          <a:blip r:embed="rId6" cstate="print">
            <a:extLst>
              <a:ext uri="{28A0092B-C50C-407E-A947-70E740481C1C}">
                <a14:useLocalDpi xmlns:a14="http://schemas.microsoft.com/office/drawing/2010/main" val="0"/>
              </a:ext>
            </a:extLst>
          </a:blip>
          <a:srcRect/>
          <a:stretch/>
        </p:blipFill>
        <p:spPr>
          <a:xfrm>
            <a:off x="669604" y="1682150"/>
            <a:ext cx="1154745" cy="2041090"/>
          </a:xfrm>
          <a:prstGeom prst="rect">
            <a:avLst/>
          </a:prstGeom>
        </p:spPr>
      </p:pic>
      <p:sp>
        <p:nvSpPr>
          <p:cNvPr id="3" name="Date Placeholder 2"/>
          <p:cNvSpPr>
            <a:spLocks noGrp="1"/>
          </p:cNvSpPr>
          <p:nvPr>
            <p:ph type="dt" sz="half" idx="10"/>
          </p:nvPr>
        </p:nvSpPr>
        <p:spPr/>
        <p:txBody>
          <a:bodyPr/>
          <a:lstStyle/>
          <a:p>
            <a:fld id="{E118DEF9-D6D1-4075-9B31-F8818331C0CF}" type="datetime1">
              <a:rPr lang="de-DE" smtClean="0">
                <a:solidFill>
                  <a:srgbClr val="000000"/>
                </a:solidFill>
              </a:rPr>
              <a:pPr/>
              <a:t>28.02.2019</a:t>
            </a:fld>
            <a:endParaRPr lang="en-US" dirty="0">
              <a:solidFill>
                <a:srgbClr val="000000"/>
              </a:solidFill>
            </a:endParaRPr>
          </a:p>
        </p:txBody>
      </p:sp>
      <p:sp>
        <p:nvSpPr>
          <p:cNvPr id="6" name="Slide Number Placeholder 5"/>
          <p:cNvSpPr>
            <a:spLocks noGrp="1"/>
          </p:cNvSpPr>
          <p:nvPr>
            <p:ph type="sldNum" sz="quarter" idx="11"/>
          </p:nvPr>
        </p:nvSpPr>
        <p:spPr/>
        <p:txBody>
          <a:bodyPr/>
          <a:lstStyle/>
          <a:p>
            <a:fld id="{8205D155-24A6-4D1A-8D30-537BB875DDDF}" type="slidenum">
              <a:rPr lang="en-US" smtClean="0">
                <a:solidFill>
                  <a:srgbClr val="000000"/>
                </a:solidFill>
              </a:rPr>
              <a:pPr/>
              <a:t>39</a:t>
            </a:fld>
            <a:endParaRPr lang="en-US">
              <a:solidFill>
                <a:srgbClr val="000000"/>
              </a:solidFill>
            </a:endParaRPr>
          </a:p>
        </p:txBody>
      </p:sp>
      <p:pic>
        <p:nvPicPr>
          <p:cNvPr id="32" name="Picture 2"/>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r="37754" b="66181"/>
          <a:stretch/>
        </p:blipFill>
        <p:spPr bwMode="auto">
          <a:xfrm>
            <a:off x="5169682" y="1628798"/>
            <a:ext cx="3512897" cy="1881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448425" y="4513364"/>
            <a:ext cx="1399516" cy="13273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4" name="TextBox 33"/>
          <p:cNvSpPr txBox="1"/>
          <p:nvPr/>
        </p:nvSpPr>
        <p:spPr>
          <a:xfrm>
            <a:off x="7955519" y="5658437"/>
            <a:ext cx="316523" cy="338554"/>
          </a:xfrm>
          <a:prstGeom prst="rect">
            <a:avLst/>
          </a:prstGeom>
          <a:noFill/>
        </p:spPr>
        <p:txBody>
          <a:bodyPr wrap="square" rtlCol="0">
            <a:spAutoFit/>
          </a:bodyPr>
          <a:lstStyle/>
          <a:p>
            <a:pPr eaLnBrk="0" fontAlgn="base" hangingPunct="0">
              <a:spcBef>
                <a:spcPct val="0"/>
              </a:spcBef>
              <a:spcAft>
                <a:spcPct val="0"/>
              </a:spcAft>
            </a:pPr>
            <a:r>
              <a:rPr lang="en-US" sz="1600" dirty="0">
                <a:solidFill>
                  <a:srgbClr val="000000"/>
                </a:solidFill>
              </a:rPr>
              <a:t>X</a:t>
            </a:r>
          </a:p>
        </p:txBody>
      </p:sp>
      <p:sp>
        <p:nvSpPr>
          <p:cNvPr id="35" name="TextBox 34"/>
          <p:cNvSpPr txBox="1"/>
          <p:nvPr/>
        </p:nvSpPr>
        <p:spPr>
          <a:xfrm>
            <a:off x="6290163" y="4174810"/>
            <a:ext cx="316523" cy="338554"/>
          </a:xfrm>
          <a:prstGeom prst="rect">
            <a:avLst/>
          </a:prstGeom>
          <a:noFill/>
        </p:spPr>
        <p:txBody>
          <a:bodyPr wrap="square" rtlCol="0">
            <a:spAutoFit/>
          </a:bodyPr>
          <a:lstStyle/>
          <a:p>
            <a:pPr eaLnBrk="0" fontAlgn="base" hangingPunct="0">
              <a:spcBef>
                <a:spcPct val="0"/>
              </a:spcBef>
              <a:spcAft>
                <a:spcPct val="0"/>
              </a:spcAft>
            </a:pPr>
            <a:r>
              <a:rPr lang="en-US" sz="1600" dirty="0">
                <a:solidFill>
                  <a:srgbClr val="000000"/>
                </a:solidFill>
              </a:rPr>
              <a:t>Y</a:t>
            </a:r>
          </a:p>
        </p:txBody>
      </p:sp>
      <p:sp>
        <p:nvSpPr>
          <p:cNvPr id="39" name="Oval 38"/>
          <p:cNvSpPr>
            <a:spLocks noChangeAspect="1"/>
          </p:cNvSpPr>
          <p:nvPr/>
        </p:nvSpPr>
        <p:spPr bwMode="auto">
          <a:xfrm>
            <a:off x="6915182" y="4959477"/>
            <a:ext cx="419110" cy="420512"/>
          </a:xfrm>
          <a:prstGeom prst="ellipse">
            <a:avLst/>
          </a:prstGeom>
          <a:solidFill>
            <a:srgbClr val="FFFF00"/>
          </a:solidFill>
          <a:ln w="3175" cap="flat" cmpd="sng" algn="ctr">
            <a:noFill/>
            <a:prstDash val="solid"/>
            <a:round/>
            <a:headEnd type="none" w="sm" len="sm"/>
            <a:tailEnd type="none" w="sm" len="sm"/>
          </a:ln>
          <a:effectLst/>
          <a:extLst/>
        </p:spPr>
        <p:txBody>
          <a:bodyPr vert="horz" wrap="none" lIns="0" tIns="0" rIns="0" bIns="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nvGrpSpPr>
          <p:cNvPr id="9" name="Group 8"/>
          <p:cNvGrpSpPr/>
          <p:nvPr/>
        </p:nvGrpSpPr>
        <p:grpSpPr>
          <a:xfrm>
            <a:off x="4807596" y="1393759"/>
            <a:ext cx="1563632" cy="989034"/>
            <a:chOff x="4829375" y="3028784"/>
            <a:chExt cx="1563632" cy="989034"/>
          </a:xfrm>
        </p:grpSpPr>
        <p:sp>
          <p:nvSpPr>
            <p:cNvPr id="7" name="Right Arrow 6"/>
            <p:cNvSpPr/>
            <p:nvPr/>
          </p:nvSpPr>
          <p:spPr bwMode="auto">
            <a:xfrm rot="10800000">
              <a:off x="5043055" y="3510536"/>
              <a:ext cx="849745" cy="507282"/>
            </a:xfrm>
            <a:prstGeom prst="rightArrow">
              <a:avLst/>
            </a:prstGeom>
            <a:solidFill>
              <a:srgbClr val="00B0F0"/>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 name="TextBox 7"/>
            <p:cNvSpPr txBox="1"/>
            <p:nvPr/>
          </p:nvSpPr>
          <p:spPr>
            <a:xfrm>
              <a:off x="4829375" y="3028784"/>
              <a:ext cx="1563632" cy="480291"/>
            </a:xfrm>
            <a:prstGeom prst="rect">
              <a:avLst/>
            </a:prstGeom>
            <a:noFill/>
          </p:spPr>
          <p:txBody>
            <a:bodyPr wrap="square" rtlCol="0" anchor="ctr">
              <a:noAutofit/>
            </a:bodyPr>
            <a:lstStyle/>
            <a:p>
              <a:pPr eaLnBrk="0" fontAlgn="base" hangingPunct="0">
                <a:spcBef>
                  <a:spcPct val="0"/>
                </a:spcBef>
                <a:spcAft>
                  <a:spcPct val="0"/>
                </a:spcAft>
              </a:pPr>
              <a:r>
                <a:rPr lang="en-US" sz="1600" dirty="0">
                  <a:solidFill>
                    <a:srgbClr val="000000"/>
                  </a:solidFill>
                </a:rPr>
                <a:t>Replaced with New Design</a:t>
              </a:r>
            </a:p>
          </p:txBody>
        </p:sp>
      </p:grpSp>
    </p:spTree>
    <p:extLst>
      <p:ext uri="{BB962C8B-B14F-4D97-AF65-F5344CB8AC3E}">
        <p14:creationId xmlns:p14="http://schemas.microsoft.com/office/powerpoint/2010/main" val="2200350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a:t>Spatial Resolution of Biological Imaging Techniques</a:t>
            </a:r>
          </a:p>
        </p:txBody>
      </p:sp>
      <p:pic>
        <p:nvPicPr>
          <p:cNvPr id="4" name="Content Placeholder 3"/>
          <p:cNvPicPr>
            <a:picLocks noGrp="1" noChangeAspect="1"/>
          </p:cNvPicPr>
          <p:nvPr>
            <p:ph idx="1"/>
          </p:nvPr>
        </p:nvPicPr>
        <p:blipFill rotWithShape="1">
          <a:blip r:embed="rId3">
            <a:extLst>
              <a:ext uri="{28A0092B-C50C-407E-A947-70E740481C1C}">
                <a14:useLocalDpi xmlns:a14="http://schemas.microsoft.com/office/drawing/2010/main" val="0"/>
              </a:ext>
            </a:extLst>
          </a:blip>
          <a:srcRect t="6749"/>
          <a:stretch/>
        </p:blipFill>
        <p:spPr>
          <a:xfrm>
            <a:off x="726510" y="1690689"/>
            <a:ext cx="6325643" cy="4286628"/>
          </a:xfrm>
        </p:spPr>
      </p:pic>
      <p:sp>
        <p:nvSpPr>
          <p:cNvPr id="5" name="Rectangle 4"/>
          <p:cNvSpPr/>
          <p:nvPr/>
        </p:nvSpPr>
        <p:spPr>
          <a:xfrm>
            <a:off x="5661764" y="5736921"/>
            <a:ext cx="989557" cy="33820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 name="Straight Arrow Connector 6"/>
          <p:cNvCxnSpPr/>
          <p:nvPr/>
        </p:nvCxnSpPr>
        <p:spPr>
          <a:xfrm>
            <a:off x="5736921" y="4285989"/>
            <a:ext cx="1240076" cy="0"/>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5736921" y="4893501"/>
            <a:ext cx="1240076" cy="0"/>
          </a:xfrm>
          <a:prstGeom prst="straightConnector1">
            <a:avLst/>
          </a:prstGeom>
          <a:ln w="38100">
            <a:solidFill>
              <a:schemeClr val="accent5"/>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5736921" y="5096005"/>
            <a:ext cx="1240076" cy="0"/>
          </a:xfrm>
          <a:prstGeom prst="straightConnector1">
            <a:avLst/>
          </a:prstGeom>
          <a:ln w="38100">
            <a:solidFill>
              <a:schemeClr val="accent5"/>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a:off x="5736921" y="5298509"/>
            <a:ext cx="1240076" cy="0"/>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6926893" y="3898819"/>
            <a:ext cx="2161297" cy="338554"/>
          </a:xfrm>
          <a:prstGeom prst="rect">
            <a:avLst/>
          </a:prstGeom>
          <a:noFill/>
        </p:spPr>
        <p:txBody>
          <a:bodyPr wrap="none" rtlCol="0">
            <a:spAutoFit/>
          </a:bodyPr>
          <a:lstStyle/>
          <a:p>
            <a:r>
              <a:rPr lang="en-US" sz="1600" dirty="0">
                <a:solidFill>
                  <a:srgbClr val="FF0000"/>
                </a:solidFill>
              </a:rPr>
              <a:t>“True” super-resolution</a:t>
            </a:r>
          </a:p>
        </p:txBody>
      </p:sp>
      <p:sp>
        <p:nvSpPr>
          <p:cNvPr id="14" name="TextBox 13"/>
          <p:cNvSpPr txBox="1"/>
          <p:nvPr/>
        </p:nvSpPr>
        <p:spPr>
          <a:xfrm>
            <a:off x="6976997" y="4310566"/>
            <a:ext cx="1229824" cy="338554"/>
          </a:xfrm>
          <a:prstGeom prst="rect">
            <a:avLst/>
          </a:prstGeom>
          <a:noFill/>
        </p:spPr>
        <p:txBody>
          <a:bodyPr wrap="none" rtlCol="0">
            <a:spAutoFit/>
          </a:bodyPr>
          <a:lstStyle/>
          <a:p>
            <a:r>
              <a:rPr lang="en-US" sz="1600" dirty="0">
                <a:solidFill>
                  <a:schemeClr val="accent5"/>
                </a:solidFill>
              </a:rPr>
              <a:t>“Functional”</a:t>
            </a:r>
          </a:p>
        </p:txBody>
      </p:sp>
    </p:spTree>
    <p:extLst>
      <p:ext uri="{BB962C8B-B14F-4D97-AF65-F5344CB8AC3E}">
        <p14:creationId xmlns:p14="http://schemas.microsoft.com/office/powerpoint/2010/main" val="152132511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bwMode="auto">
          <a:xfrm>
            <a:off x="0" y="0"/>
            <a:ext cx="914400" cy="0"/>
          </a:xfrm>
          <a:prstGeom prst="line">
            <a:avLst/>
          </a:prstGeom>
          <a:solidFill>
            <a:schemeClr val="folHlink"/>
          </a:solidFill>
          <a:ln w="0" cap="flat" cmpd="sng" algn="ctr">
            <a:solidFill>
              <a:srgbClr val="FBFFFF"/>
            </a:solidFill>
            <a:prstDash val="solid"/>
            <a:round/>
            <a:headEnd type="none" w="sm" len="sm"/>
            <a:tailEnd type="none" w="sm" len="sm"/>
          </a:ln>
          <a:effectLst/>
          <a:extLst>
            <a:ext uri="{AF507438-7753-43E0-B8FC-AC1667EBCBE1}">
              <a14:hiddenEffects xmlns:a14="http://schemas.microsoft.com/office/drawing/2010/main">
                <a:effectLst>
                  <a:outerShdw algn="ctr" rotWithShape="0">
                    <a:schemeClr val="bg2"/>
                  </a:outerShdw>
                </a:effectLst>
              </a14:hiddenEffects>
            </a:ext>
          </a:extLst>
        </p:spPr>
      </p:cxnSp>
      <p:sp>
        <p:nvSpPr>
          <p:cNvPr id="496" name="Textfeld 495"/>
          <p:cNvSpPr txBox="1"/>
          <p:nvPr/>
        </p:nvSpPr>
        <p:spPr>
          <a:xfrm>
            <a:off x="310842" y="2653302"/>
            <a:ext cx="928854" cy="400050"/>
          </a:xfrm>
          <a:prstGeom prst="rect">
            <a:avLst/>
          </a:prstGeom>
          <a:noFill/>
        </p:spPr>
        <p:txBody>
          <a:bodyPr wrap="none" rtlCol="0">
            <a:noAutofit/>
          </a:bodyPr>
          <a:lstStyle/>
          <a:p>
            <a:pPr eaLnBrk="0" fontAlgn="base" hangingPunct="0">
              <a:spcBef>
                <a:spcPct val="0"/>
              </a:spcBef>
              <a:spcAft>
                <a:spcPct val="0"/>
              </a:spcAft>
            </a:pPr>
            <a:r>
              <a:rPr lang="en-US" sz="1200" dirty="0">
                <a:solidFill>
                  <a:srgbClr val="000000"/>
                </a:solidFill>
              </a:rPr>
              <a:t>detection</a:t>
            </a:r>
          </a:p>
        </p:txBody>
      </p:sp>
      <p:sp>
        <p:nvSpPr>
          <p:cNvPr id="21" name="Freihandform 20"/>
          <p:cNvSpPr/>
          <p:nvPr/>
        </p:nvSpPr>
        <p:spPr bwMode="auto">
          <a:xfrm>
            <a:off x="1548958" y="4396575"/>
            <a:ext cx="5762723" cy="1505603"/>
          </a:xfrm>
          <a:custGeom>
            <a:avLst/>
            <a:gdLst>
              <a:gd name="connsiteX0" fmla="*/ 0 w 6134100"/>
              <a:gd name="connsiteY0" fmla="*/ 15240 h 15240"/>
              <a:gd name="connsiteX1" fmla="*/ 6134100 w 6134100"/>
              <a:gd name="connsiteY1" fmla="*/ 0 h 15240"/>
              <a:gd name="connsiteX2" fmla="*/ 6134100 w 6134100"/>
              <a:gd name="connsiteY2" fmla="*/ 0 h 15240"/>
              <a:gd name="connsiteX0" fmla="*/ 0 w 6134100"/>
              <a:gd name="connsiteY0" fmla="*/ 15240 h 15240"/>
              <a:gd name="connsiteX1" fmla="*/ 3009900 w 6134100"/>
              <a:gd name="connsiteY1" fmla="*/ 15240 h 15240"/>
              <a:gd name="connsiteX2" fmla="*/ 6134100 w 6134100"/>
              <a:gd name="connsiteY2" fmla="*/ 0 h 15240"/>
              <a:gd name="connsiteX3" fmla="*/ 6134100 w 6134100"/>
              <a:gd name="connsiteY3" fmla="*/ 0 h 1524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1310640 w 6134100"/>
              <a:gd name="connsiteY1" fmla="*/ 74676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495800 w 6134100"/>
              <a:gd name="connsiteY3" fmla="*/ 632460 h 1341120"/>
              <a:gd name="connsiteX4" fmla="*/ 6134100 w 6134100"/>
              <a:gd name="connsiteY4" fmla="*/ 1325880 h 1341120"/>
              <a:gd name="connsiteX5" fmla="*/ 6134100 w 6134100"/>
              <a:gd name="connsiteY5"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556760 w 6134100"/>
              <a:gd name="connsiteY3" fmla="*/ 1036320 h 1341120"/>
              <a:gd name="connsiteX4" fmla="*/ 6134100 w 6134100"/>
              <a:gd name="connsiteY4" fmla="*/ 1325880 h 1341120"/>
              <a:gd name="connsiteX5" fmla="*/ 6134100 w 6134100"/>
              <a:gd name="connsiteY5" fmla="*/ 1325880 h 1341120"/>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64"/>
              <a:gd name="connsiteX1" fmla="*/ 2987040 w 6134100"/>
              <a:gd name="connsiteY1" fmla="*/ 4 h 1341164"/>
              <a:gd name="connsiteX2" fmla="*/ 6134100 w 6134100"/>
              <a:gd name="connsiteY2" fmla="*/ 1325884 h 1341164"/>
              <a:gd name="connsiteX3" fmla="*/ 6134100 w 6134100"/>
              <a:gd name="connsiteY3" fmla="*/ 1325884 h 1341164"/>
              <a:gd name="connsiteX0" fmla="*/ 0 w 6449629"/>
              <a:gd name="connsiteY0" fmla="*/ 1341124 h 1375661"/>
              <a:gd name="connsiteX1" fmla="*/ 2987040 w 6449629"/>
              <a:gd name="connsiteY1" fmla="*/ 4 h 1375661"/>
              <a:gd name="connsiteX2" fmla="*/ 6134100 w 6449629"/>
              <a:gd name="connsiteY2" fmla="*/ 1325884 h 1375661"/>
              <a:gd name="connsiteX3" fmla="*/ 6399310 w 6449629"/>
              <a:gd name="connsiteY3" fmla="*/ 1067921 h 1375661"/>
              <a:gd name="connsiteX0" fmla="*/ 0 w 6431465"/>
              <a:gd name="connsiteY0" fmla="*/ 1341229 h 1341269"/>
              <a:gd name="connsiteX1" fmla="*/ 2987040 w 6431465"/>
              <a:gd name="connsiteY1" fmla="*/ 109 h 1341269"/>
              <a:gd name="connsiteX2" fmla="*/ 6101953 w 6431465"/>
              <a:gd name="connsiteY2" fmla="*/ 1264892 h 1341269"/>
              <a:gd name="connsiteX3" fmla="*/ 6399310 w 6431465"/>
              <a:gd name="connsiteY3" fmla="*/ 1068026 h 1341269"/>
              <a:gd name="connsiteX0" fmla="*/ 0 w 6101953"/>
              <a:gd name="connsiteY0" fmla="*/ 1341229 h 1341269"/>
              <a:gd name="connsiteX1" fmla="*/ 2987040 w 6101953"/>
              <a:gd name="connsiteY1" fmla="*/ 109 h 1341269"/>
              <a:gd name="connsiteX2" fmla="*/ 6101953 w 6101953"/>
              <a:gd name="connsiteY2" fmla="*/ 1264892 h 1341269"/>
              <a:gd name="connsiteX0" fmla="*/ 0 w 6077843"/>
              <a:gd name="connsiteY0" fmla="*/ 1341298 h 1341338"/>
              <a:gd name="connsiteX1" fmla="*/ 2987040 w 6077843"/>
              <a:gd name="connsiteY1" fmla="*/ 178 h 1341338"/>
              <a:gd name="connsiteX2" fmla="*/ 6077843 w 6077843"/>
              <a:gd name="connsiteY2" fmla="*/ 1244596 h 1341338"/>
              <a:gd name="connsiteX0" fmla="*/ 0 w 6077843"/>
              <a:gd name="connsiteY0" fmla="*/ 1341271 h 1341311"/>
              <a:gd name="connsiteX1" fmla="*/ 2987040 w 6077843"/>
              <a:gd name="connsiteY1" fmla="*/ 151 h 1341311"/>
              <a:gd name="connsiteX2" fmla="*/ 6077843 w 6077843"/>
              <a:gd name="connsiteY2" fmla="*/ 1244569 h 1341311"/>
            </a:gdLst>
            <a:ahLst/>
            <a:cxnLst>
              <a:cxn ang="0">
                <a:pos x="connsiteX0" y="connsiteY0"/>
              </a:cxn>
              <a:cxn ang="0">
                <a:pos x="connsiteX1" y="connsiteY1"/>
              </a:cxn>
              <a:cxn ang="0">
                <a:pos x="connsiteX2" y="connsiteY2"/>
              </a:cxn>
            </a:cxnLst>
            <a:rect l="l" t="t" r="r" b="b"/>
            <a:pathLst>
              <a:path w="6077843" h="1341311">
                <a:moveTo>
                  <a:pt x="0" y="1341271"/>
                </a:moveTo>
                <a:cubicBezTo>
                  <a:pt x="1811173" y="1349768"/>
                  <a:pt x="1974066" y="16268"/>
                  <a:pt x="2987040" y="151"/>
                </a:cubicBezTo>
                <a:cubicBezTo>
                  <a:pt x="4000014" y="-15966"/>
                  <a:pt x="4207189" y="1270238"/>
                  <a:pt x="6077843" y="1244569"/>
                </a:cubicBezTo>
              </a:path>
            </a:pathLst>
          </a:custGeom>
          <a:noFill/>
          <a:ln w="12700" cap="flat" cmpd="sng" algn="ctr">
            <a:solidFill>
              <a:srgbClr val="0070C0"/>
            </a:solidFill>
            <a:prstDash val="dash"/>
            <a:round/>
            <a:headEnd type="none" w="sm" len="sm"/>
            <a:tailEnd type="none" w="sm" len="sm"/>
          </a:ln>
          <a:effectLst/>
        </p:spPr>
        <p:txBody>
          <a:bodyPr vert="horz" wrap="none" lIns="0" tIns="0" rIns="0" bIns="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 name="Titel 1"/>
          <p:cNvSpPr>
            <a:spLocks noGrp="1"/>
          </p:cNvSpPr>
          <p:nvPr>
            <p:ph type="title"/>
          </p:nvPr>
        </p:nvSpPr>
        <p:spPr/>
        <p:txBody>
          <a:bodyPr/>
          <a:lstStyle/>
          <a:p>
            <a:r>
              <a:rPr lang="en-US" dirty="0" err="1"/>
              <a:t>Airyscan</a:t>
            </a:r>
            <a:r>
              <a:rPr lang="en-US" dirty="0"/>
              <a:t>: PH ~ 0.2 </a:t>
            </a:r>
            <a:r>
              <a:rPr lang="en-US" dirty="0" err="1"/>
              <a:t>A.u</a:t>
            </a:r>
            <a:r>
              <a:rPr lang="en-US" dirty="0"/>
              <a:t>. scanning without loss.</a:t>
            </a:r>
            <a:br>
              <a:rPr lang="en-US" dirty="0"/>
            </a:br>
            <a:r>
              <a:rPr lang="en-US" sz="1800" b="0" dirty="0">
                <a:solidFill>
                  <a:schemeClr val="tx1"/>
                </a:solidFill>
              </a:rPr>
              <a:t>A single element improves resolution</a:t>
            </a:r>
            <a:endParaRPr lang="en-US" sz="2000" b="0" dirty="0">
              <a:solidFill>
                <a:schemeClr val="tx1"/>
              </a:solidFill>
            </a:endParaRPr>
          </a:p>
        </p:txBody>
      </p:sp>
      <p:sp>
        <p:nvSpPr>
          <p:cNvPr id="5" name="Fußzeilenplatzhalter 4"/>
          <p:cNvSpPr>
            <a:spLocks noGrp="1"/>
          </p:cNvSpPr>
          <p:nvPr>
            <p:ph type="ftr" sz="quarter" idx="12"/>
          </p:nvPr>
        </p:nvSpPr>
        <p:spPr/>
        <p:txBody>
          <a:bodyPr/>
          <a:lstStyle/>
          <a:p>
            <a:r>
              <a:rPr lang="en-US">
                <a:solidFill>
                  <a:srgbClr val="000000"/>
                </a:solidFill>
              </a:rPr>
              <a:t>Carl Zeiss Microscopy</a:t>
            </a:r>
            <a:endParaRPr lang="en-US" dirty="0">
              <a:solidFill>
                <a:srgbClr val="000000"/>
              </a:solidFill>
            </a:endParaRPr>
          </a:p>
        </p:txBody>
      </p:sp>
      <p:sp>
        <p:nvSpPr>
          <p:cNvPr id="91" name="Textfeld 90"/>
          <p:cNvSpPr txBox="1"/>
          <p:nvPr/>
        </p:nvSpPr>
        <p:spPr>
          <a:xfrm>
            <a:off x="308803" y="1420580"/>
            <a:ext cx="1247775" cy="400050"/>
          </a:xfrm>
          <a:prstGeom prst="rect">
            <a:avLst/>
          </a:prstGeom>
          <a:noFill/>
        </p:spPr>
        <p:txBody>
          <a:bodyPr wrap="none" rtlCol="0">
            <a:noAutofit/>
          </a:bodyPr>
          <a:lstStyle/>
          <a:p>
            <a:pPr eaLnBrk="0" fontAlgn="base" hangingPunct="0">
              <a:spcBef>
                <a:spcPct val="0"/>
              </a:spcBef>
              <a:spcAft>
                <a:spcPct val="0"/>
              </a:spcAft>
            </a:pPr>
            <a:r>
              <a:rPr lang="en-US" sz="1200" dirty="0">
                <a:solidFill>
                  <a:srgbClr val="000000"/>
                </a:solidFill>
              </a:rPr>
              <a:t>PH = 1,25 </a:t>
            </a:r>
            <a:r>
              <a:rPr lang="en-US" sz="1200" dirty="0" err="1">
                <a:solidFill>
                  <a:srgbClr val="000000"/>
                </a:solidFill>
              </a:rPr>
              <a:t>a.u</a:t>
            </a:r>
            <a:r>
              <a:rPr lang="en-US" sz="1200" dirty="0">
                <a:solidFill>
                  <a:srgbClr val="000000"/>
                </a:solidFill>
              </a:rPr>
              <a:t>.</a:t>
            </a:r>
          </a:p>
        </p:txBody>
      </p:sp>
      <p:cxnSp>
        <p:nvCxnSpPr>
          <p:cNvPr id="32" name="Gerade Verbindung mit Pfeil 31"/>
          <p:cNvCxnSpPr/>
          <p:nvPr/>
        </p:nvCxnSpPr>
        <p:spPr bwMode="auto">
          <a:xfrm flipV="1">
            <a:off x="1542461" y="4168140"/>
            <a:ext cx="0" cy="1938783"/>
          </a:xfrm>
          <a:prstGeom prst="straightConnector1">
            <a:avLst/>
          </a:prstGeom>
          <a:solidFill>
            <a:schemeClr val="folHlink"/>
          </a:solidFill>
          <a:ln w="19050" cap="flat" cmpd="sng" algn="ctr">
            <a:solidFill>
              <a:srgbClr val="0070C0"/>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8" name="Gruppieren 37"/>
          <p:cNvGrpSpPr/>
          <p:nvPr/>
        </p:nvGrpSpPr>
        <p:grpSpPr>
          <a:xfrm>
            <a:off x="1363980" y="3611880"/>
            <a:ext cx="6198184" cy="213360"/>
            <a:chOff x="3646868" y="2202180"/>
            <a:chExt cx="1466152" cy="114300"/>
          </a:xfrm>
        </p:grpSpPr>
        <p:cxnSp>
          <p:nvCxnSpPr>
            <p:cNvPr id="39" name="Gerade Verbindung 38"/>
            <p:cNvCxnSpPr/>
            <p:nvPr/>
          </p:nvCxnSpPr>
          <p:spPr bwMode="auto">
            <a:xfrm>
              <a:off x="3646868" y="2263140"/>
              <a:ext cx="1466152" cy="0"/>
            </a:xfrm>
            <a:prstGeom prst="line">
              <a:avLst/>
            </a:prstGeom>
            <a:solidFill>
              <a:schemeClr val="folHlink"/>
            </a:solidFill>
            <a:ln w="19050" cap="flat" cmpd="sng" algn="ctr">
              <a:solidFill>
                <a:schemeClr val="folHlink"/>
              </a:solidFill>
              <a:prstDash val="solid"/>
              <a:round/>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0" name="Gruppieren 39"/>
            <p:cNvGrpSpPr/>
            <p:nvPr/>
          </p:nvGrpSpPr>
          <p:grpSpPr>
            <a:xfrm>
              <a:off x="3806888" y="2202180"/>
              <a:ext cx="1110090" cy="114300"/>
              <a:chOff x="3806888" y="2148840"/>
              <a:chExt cx="1110090" cy="266700"/>
            </a:xfrm>
          </p:grpSpPr>
          <p:cxnSp>
            <p:nvCxnSpPr>
              <p:cNvPr id="41" name="Gerade Verbindung 40"/>
              <p:cNvCxnSpPr/>
              <p:nvPr/>
            </p:nvCxnSpPr>
            <p:spPr bwMode="auto">
              <a:xfrm flipV="1">
                <a:off x="380688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2" name="Gerade Verbindung 41"/>
              <p:cNvCxnSpPr/>
              <p:nvPr/>
            </p:nvCxnSpPr>
            <p:spPr bwMode="auto">
              <a:xfrm flipV="1">
                <a:off x="399190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Gerade Verbindung 42"/>
              <p:cNvCxnSpPr/>
              <p:nvPr/>
            </p:nvCxnSpPr>
            <p:spPr bwMode="auto">
              <a:xfrm flipV="1">
                <a:off x="417691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Gerade Verbindung 43"/>
              <p:cNvCxnSpPr/>
              <p:nvPr/>
            </p:nvCxnSpPr>
            <p:spPr bwMode="auto">
              <a:xfrm flipV="1">
                <a:off x="436193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Gerade Verbindung 44"/>
              <p:cNvCxnSpPr/>
              <p:nvPr/>
            </p:nvCxnSpPr>
            <p:spPr bwMode="auto">
              <a:xfrm flipV="1">
                <a:off x="454694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Gerade Verbindung 45"/>
              <p:cNvCxnSpPr/>
              <p:nvPr/>
            </p:nvCxnSpPr>
            <p:spPr bwMode="auto">
              <a:xfrm flipV="1">
                <a:off x="473196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7" name="Gerade Verbindung 46"/>
              <p:cNvCxnSpPr/>
              <p:nvPr/>
            </p:nvCxnSpPr>
            <p:spPr bwMode="auto">
              <a:xfrm flipV="1">
                <a:off x="491697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50" name="Gruppieren 49"/>
          <p:cNvGrpSpPr/>
          <p:nvPr/>
        </p:nvGrpSpPr>
        <p:grpSpPr>
          <a:xfrm>
            <a:off x="1363980" y="5893562"/>
            <a:ext cx="6217920" cy="213360"/>
            <a:chOff x="3646868" y="2202180"/>
            <a:chExt cx="1466152" cy="114300"/>
          </a:xfrm>
        </p:grpSpPr>
        <p:cxnSp>
          <p:nvCxnSpPr>
            <p:cNvPr id="51" name="Gerade Verbindung 50"/>
            <p:cNvCxnSpPr/>
            <p:nvPr/>
          </p:nvCxnSpPr>
          <p:spPr bwMode="auto">
            <a:xfrm>
              <a:off x="3646868" y="2263140"/>
              <a:ext cx="1466152" cy="0"/>
            </a:xfrm>
            <a:prstGeom prst="line">
              <a:avLst/>
            </a:prstGeom>
            <a:solidFill>
              <a:schemeClr val="folHlink"/>
            </a:solidFill>
            <a:ln w="19050" cap="flat" cmpd="sng" algn="ctr">
              <a:solidFill>
                <a:schemeClr val="folHlink"/>
              </a:solidFill>
              <a:prstDash val="solid"/>
              <a:round/>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52" name="Gruppieren 51"/>
            <p:cNvGrpSpPr/>
            <p:nvPr/>
          </p:nvGrpSpPr>
          <p:grpSpPr>
            <a:xfrm>
              <a:off x="3806888" y="2202180"/>
              <a:ext cx="1110090" cy="114300"/>
              <a:chOff x="3806888" y="2148840"/>
              <a:chExt cx="1110090" cy="266700"/>
            </a:xfrm>
          </p:grpSpPr>
          <p:cxnSp>
            <p:nvCxnSpPr>
              <p:cNvPr id="53" name="Gerade Verbindung 52"/>
              <p:cNvCxnSpPr/>
              <p:nvPr/>
            </p:nvCxnSpPr>
            <p:spPr bwMode="auto">
              <a:xfrm flipV="1">
                <a:off x="380688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4" name="Gerade Verbindung 53"/>
              <p:cNvCxnSpPr/>
              <p:nvPr/>
            </p:nvCxnSpPr>
            <p:spPr bwMode="auto">
              <a:xfrm flipV="1">
                <a:off x="399190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5" name="Gerade Verbindung 54"/>
              <p:cNvCxnSpPr/>
              <p:nvPr/>
            </p:nvCxnSpPr>
            <p:spPr bwMode="auto">
              <a:xfrm flipV="1">
                <a:off x="417691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6" name="Gerade Verbindung 55"/>
              <p:cNvCxnSpPr/>
              <p:nvPr/>
            </p:nvCxnSpPr>
            <p:spPr bwMode="auto">
              <a:xfrm flipV="1">
                <a:off x="436193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7" name="Gerade Verbindung 56"/>
              <p:cNvCxnSpPr/>
              <p:nvPr/>
            </p:nvCxnSpPr>
            <p:spPr bwMode="auto">
              <a:xfrm flipV="1">
                <a:off x="454694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Gerade Verbindung 62"/>
              <p:cNvCxnSpPr/>
              <p:nvPr/>
            </p:nvCxnSpPr>
            <p:spPr bwMode="auto">
              <a:xfrm flipV="1">
                <a:off x="473196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4" name="Gerade Verbindung 63"/>
              <p:cNvCxnSpPr/>
              <p:nvPr/>
            </p:nvCxnSpPr>
            <p:spPr bwMode="auto">
              <a:xfrm flipV="1">
                <a:off x="491697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pic>
        <p:nvPicPr>
          <p:cNvPr id="102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99848"/>
          <a:stretch/>
        </p:blipFill>
        <p:spPr bwMode="auto">
          <a:xfrm>
            <a:off x="1668624" y="4167597"/>
            <a:ext cx="164684" cy="1839214"/>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80" name="Textfeld 79"/>
          <p:cNvSpPr txBox="1"/>
          <p:nvPr/>
        </p:nvSpPr>
        <p:spPr>
          <a:xfrm rot="16200000">
            <a:off x="760516" y="4880133"/>
            <a:ext cx="970597" cy="400050"/>
          </a:xfrm>
          <a:prstGeom prst="rect">
            <a:avLst/>
          </a:prstGeom>
          <a:noFill/>
        </p:spPr>
        <p:txBody>
          <a:bodyPr wrap="none" rtlCol="0">
            <a:noAutofit/>
          </a:bodyPr>
          <a:lstStyle/>
          <a:p>
            <a:pPr eaLnBrk="0" fontAlgn="base" hangingPunct="0">
              <a:spcBef>
                <a:spcPct val="0"/>
              </a:spcBef>
              <a:spcAft>
                <a:spcPct val="0"/>
              </a:spcAft>
            </a:pPr>
            <a:r>
              <a:rPr lang="en-US" sz="1600" dirty="0">
                <a:solidFill>
                  <a:srgbClr val="000000"/>
                </a:solidFill>
              </a:rPr>
              <a:t>Intensity</a:t>
            </a:r>
          </a:p>
        </p:txBody>
      </p:sp>
      <p:sp>
        <p:nvSpPr>
          <p:cNvPr id="20" name="Rechteck 19"/>
          <p:cNvSpPr/>
          <p:nvPr/>
        </p:nvSpPr>
        <p:spPr bwMode="auto">
          <a:xfrm>
            <a:off x="1964088" y="5791546"/>
            <a:ext cx="160020" cy="160020"/>
          </a:xfrm>
          <a:prstGeom prst="rect">
            <a:avLst/>
          </a:prstGeom>
          <a:solidFill>
            <a:schemeClr val="tx1"/>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1" name="Rechteck 80"/>
          <p:cNvSpPr/>
          <p:nvPr/>
        </p:nvSpPr>
        <p:spPr bwMode="auto">
          <a:xfrm>
            <a:off x="3524765" y="5572355"/>
            <a:ext cx="160020" cy="160020"/>
          </a:xfrm>
          <a:prstGeom prst="rect">
            <a:avLst/>
          </a:prstGeom>
          <a:solidFill>
            <a:srgbClr val="0000BE"/>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3" name="Rechteck 82"/>
          <p:cNvSpPr/>
          <p:nvPr/>
        </p:nvSpPr>
        <p:spPr bwMode="auto">
          <a:xfrm>
            <a:off x="4323820" y="5379177"/>
            <a:ext cx="160020" cy="160020"/>
          </a:xfrm>
          <a:prstGeom prst="rect">
            <a:avLst/>
          </a:prstGeom>
          <a:solidFill>
            <a:srgbClr val="33CCFF"/>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7" name="Rechteck 86"/>
          <p:cNvSpPr/>
          <p:nvPr/>
        </p:nvSpPr>
        <p:spPr bwMode="auto">
          <a:xfrm>
            <a:off x="5094282" y="5563303"/>
            <a:ext cx="160020" cy="160020"/>
          </a:xfrm>
          <a:prstGeom prst="rect">
            <a:avLst/>
          </a:prstGeom>
          <a:solidFill>
            <a:srgbClr val="0000BE"/>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92" name="Rechteck 91"/>
          <p:cNvSpPr/>
          <p:nvPr/>
        </p:nvSpPr>
        <p:spPr bwMode="auto">
          <a:xfrm>
            <a:off x="6670552" y="5794537"/>
            <a:ext cx="160020" cy="160020"/>
          </a:xfrm>
          <a:prstGeom prst="rect">
            <a:avLst/>
          </a:prstGeom>
          <a:solidFill>
            <a:schemeClr val="tx1"/>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cxnSp>
        <p:nvCxnSpPr>
          <p:cNvPr id="24" name="Gerade Verbindung mit Pfeil 23"/>
          <p:cNvCxnSpPr/>
          <p:nvPr/>
        </p:nvCxnSpPr>
        <p:spPr bwMode="auto">
          <a:xfrm>
            <a:off x="2040467" y="3863340"/>
            <a:ext cx="0" cy="1825336"/>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3" name="Gerade Verbindung mit Pfeil 92"/>
          <p:cNvCxnSpPr/>
          <p:nvPr/>
        </p:nvCxnSpPr>
        <p:spPr bwMode="auto">
          <a:xfrm flipH="1">
            <a:off x="2822621" y="3863340"/>
            <a:ext cx="1" cy="1825336"/>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4" name="Gerade Verbindung mit Pfeil 93"/>
          <p:cNvCxnSpPr>
            <a:endCxn id="81" idx="0"/>
          </p:cNvCxnSpPr>
          <p:nvPr/>
        </p:nvCxnSpPr>
        <p:spPr bwMode="auto">
          <a:xfrm>
            <a:off x="3604775" y="3863340"/>
            <a:ext cx="0" cy="1709015"/>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5" name="Gerade Verbindung mit Pfeil 94"/>
          <p:cNvCxnSpPr/>
          <p:nvPr/>
        </p:nvCxnSpPr>
        <p:spPr bwMode="auto">
          <a:xfrm>
            <a:off x="4386930" y="3863340"/>
            <a:ext cx="9625" cy="1515837"/>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6" name="Gerade Verbindung mit Pfeil 95"/>
          <p:cNvCxnSpPr>
            <a:endCxn id="87" idx="0"/>
          </p:cNvCxnSpPr>
          <p:nvPr/>
        </p:nvCxnSpPr>
        <p:spPr bwMode="auto">
          <a:xfrm>
            <a:off x="5169084" y="3863340"/>
            <a:ext cx="5208" cy="1699963"/>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7" name="Gerade Verbindung mit Pfeil 96"/>
          <p:cNvCxnSpPr>
            <a:endCxn id="482" idx="0"/>
          </p:cNvCxnSpPr>
          <p:nvPr/>
        </p:nvCxnSpPr>
        <p:spPr bwMode="auto">
          <a:xfrm>
            <a:off x="5951174" y="3863340"/>
            <a:ext cx="15194" cy="1905132"/>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8" name="Gerade Verbindung mit Pfeil 97"/>
          <p:cNvCxnSpPr/>
          <p:nvPr/>
        </p:nvCxnSpPr>
        <p:spPr bwMode="auto">
          <a:xfrm>
            <a:off x="6733392" y="3863340"/>
            <a:ext cx="0" cy="1905132"/>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2" name="Textfeld 131"/>
          <p:cNvSpPr txBox="1"/>
          <p:nvPr/>
        </p:nvSpPr>
        <p:spPr>
          <a:xfrm>
            <a:off x="308803" y="2053310"/>
            <a:ext cx="1133476" cy="400050"/>
          </a:xfrm>
          <a:prstGeom prst="rect">
            <a:avLst/>
          </a:prstGeom>
          <a:noFill/>
        </p:spPr>
        <p:txBody>
          <a:bodyPr wrap="none" rtlCol="0">
            <a:noAutofit/>
          </a:bodyPr>
          <a:lstStyle/>
          <a:p>
            <a:pPr eaLnBrk="0" fontAlgn="base" hangingPunct="0">
              <a:spcBef>
                <a:spcPct val="0"/>
              </a:spcBef>
              <a:spcAft>
                <a:spcPct val="0"/>
              </a:spcAft>
            </a:pPr>
            <a:r>
              <a:rPr lang="en-US" sz="1200" dirty="0">
                <a:solidFill>
                  <a:srgbClr val="000000"/>
                </a:solidFill>
              </a:rPr>
              <a:t>excitation</a:t>
            </a:r>
          </a:p>
        </p:txBody>
      </p:sp>
      <p:sp>
        <p:nvSpPr>
          <p:cNvPr id="1027" name="Freihandform 1026"/>
          <p:cNvSpPr/>
          <p:nvPr/>
        </p:nvSpPr>
        <p:spPr bwMode="auto">
          <a:xfrm>
            <a:off x="411480" y="1653540"/>
            <a:ext cx="1104900" cy="121920"/>
          </a:xfrm>
          <a:custGeom>
            <a:avLst/>
            <a:gdLst>
              <a:gd name="connsiteX0" fmla="*/ 0 w 1203960"/>
              <a:gd name="connsiteY0" fmla="*/ 0 h 243840"/>
              <a:gd name="connsiteX1" fmla="*/ 670560 w 1203960"/>
              <a:gd name="connsiteY1" fmla="*/ 0 h 243840"/>
              <a:gd name="connsiteX2" fmla="*/ 1203960 w 1203960"/>
              <a:gd name="connsiteY2" fmla="*/ 243840 h 243840"/>
              <a:gd name="connsiteX0" fmla="*/ 0 w 1234440"/>
              <a:gd name="connsiteY0" fmla="*/ 0 h 160020"/>
              <a:gd name="connsiteX1" fmla="*/ 670560 w 1234440"/>
              <a:gd name="connsiteY1" fmla="*/ 0 h 160020"/>
              <a:gd name="connsiteX2" fmla="*/ 1234440 w 1234440"/>
              <a:gd name="connsiteY2" fmla="*/ 160020 h 160020"/>
              <a:gd name="connsiteX0" fmla="*/ 0 w 1104900"/>
              <a:gd name="connsiteY0" fmla="*/ 0 h 121920"/>
              <a:gd name="connsiteX1" fmla="*/ 670560 w 1104900"/>
              <a:gd name="connsiteY1" fmla="*/ 0 h 121920"/>
              <a:gd name="connsiteX2" fmla="*/ 1104900 w 1104900"/>
              <a:gd name="connsiteY2" fmla="*/ 121920 h 121920"/>
            </a:gdLst>
            <a:ahLst/>
            <a:cxnLst>
              <a:cxn ang="0">
                <a:pos x="connsiteX0" y="connsiteY0"/>
              </a:cxn>
              <a:cxn ang="0">
                <a:pos x="connsiteX1" y="connsiteY1"/>
              </a:cxn>
              <a:cxn ang="0">
                <a:pos x="connsiteX2" y="connsiteY2"/>
              </a:cxn>
            </a:cxnLst>
            <a:rect l="l" t="t" r="r" b="b"/>
            <a:pathLst>
              <a:path w="1104900" h="121920">
                <a:moveTo>
                  <a:pt x="0" y="0"/>
                </a:moveTo>
                <a:lnTo>
                  <a:pt x="670560" y="0"/>
                </a:lnTo>
                <a:lnTo>
                  <a:pt x="1104900" y="121920"/>
                </a:lnTo>
              </a:path>
            </a:pathLst>
          </a:custGeom>
          <a:noFill/>
          <a:ln w="3175"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37" name="Freihandform 136"/>
          <p:cNvSpPr/>
          <p:nvPr/>
        </p:nvSpPr>
        <p:spPr bwMode="auto">
          <a:xfrm flipV="1">
            <a:off x="411480" y="1924518"/>
            <a:ext cx="1575468" cy="361481"/>
          </a:xfrm>
          <a:custGeom>
            <a:avLst/>
            <a:gdLst>
              <a:gd name="connsiteX0" fmla="*/ 0 w 1203960"/>
              <a:gd name="connsiteY0" fmla="*/ 0 h 243840"/>
              <a:gd name="connsiteX1" fmla="*/ 670560 w 1203960"/>
              <a:gd name="connsiteY1" fmla="*/ 0 h 243840"/>
              <a:gd name="connsiteX2" fmla="*/ 1203960 w 1203960"/>
              <a:gd name="connsiteY2" fmla="*/ 243840 h 243840"/>
              <a:gd name="connsiteX0" fmla="*/ 0 w 1234440"/>
              <a:gd name="connsiteY0" fmla="*/ 0 h 160020"/>
              <a:gd name="connsiteX1" fmla="*/ 670560 w 1234440"/>
              <a:gd name="connsiteY1" fmla="*/ 0 h 160020"/>
              <a:gd name="connsiteX2" fmla="*/ 1234440 w 1234440"/>
              <a:gd name="connsiteY2" fmla="*/ 160020 h 160020"/>
            </a:gdLst>
            <a:ahLst/>
            <a:cxnLst>
              <a:cxn ang="0">
                <a:pos x="connsiteX0" y="connsiteY0"/>
              </a:cxn>
              <a:cxn ang="0">
                <a:pos x="connsiteX1" y="connsiteY1"/>
              </a:cxn>
              <a:cxn ang="0">
                <a:pos x="connsiteX2" y="connsiteY2"/>
              </a:cxn>
            </a:cxnLst>
            <a:rect l="l" t="t" r="r" b="b"/>
            <a:pathLst>
              <a:path w="1234440" h="160020">
                <a:moveTo>
                  <a:pt x="0" y="0"/>
                </a:moveTo>
                <a:lnTo>
                  <a:pt x="670560" y="0"/>
                </a:lnTo>
                <a:lnTo>
                  <a:pt x="1234440" y="160020"/>
                </a:lnTo>
              </a:path>
            </a:pathLst>
          </a:custGeom>
          <a:noFill/>
          <a:ln w="3175"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nvGrpSpPr>
          <p:cNvPr id="6" name="Gruppieren 5"/>
          <p:cNvGrpSpPr/>
          <p:nvPr/>
        </p:nvGrpSpPr>
        <p:grpSpPr>
          <a:xfrm>
            <a:off x="1484623" y="1384386"/>
            <a:ext cx="1046394" cy="1046394"/>
            <a:chOff x="1484623" y="1384386"/>
            <a:chExt cx="1046394" cy="1046394"/>
          </a:xfrm>
        </p:grpSpPr>
        <p:grpSp>
          <p:nvGrpSpPr>
            <p:cNvPr id="129" name="Gruppieren 128"/>
            <p:cNvGrpSpPr/>
            <p:nvPr/>
          </p:nvGrpSpPr>
          <p:grpSpPr>
            <a:xfrm>
              <a:off x="1484623" y="1384386"/>
              <a:ext cx="1046394" cy="1046394"/>
              <a:chOff x="1249679" y="1384386"/>
              <a:chExt cx="1046394" cy="1046394"/>
            </a:xfrm>
          </p:grpSpPr>
          <p:sp>
            <p:nvSpPr>
              <p:cNvPr id="130" name="Ellipse 129"/>
              <p:cNvSpPr/>
              <p:nvPr/>
            </p:nvSpPr>
            <p:spPr bwMode="auto">
              <a:xfrm>
                <a:off x="1249679" y="1384386"/>
                <a:ext cx="1046394" cy="1046394"/>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31" name="Ellipse 130"/>
              <p:cNvSpPr/>
              <p:nvPr/>
            </p:nvSpPr>
            <p:spPr bwMode="auto">
              <a:xfrm flipV="1">
                <a:off x="1317282" y="1454590"/>
                <a:ext cx="915164" cy="915164"/>
              </a:xfrm>
              <a:prstGeom prst="ellipse">
                <a:avLst/>
              </a:prstGeom>
              <a:gradFill flip="none" rotWithShape="1">
                <a:gsLst>
                  <a:gs pos="0">
                    <a:srgbClr val="7030A0"/>
                  </a:gs>
                  <a:gs pos="33500">
                    <a:srgbClr val="B898D0">
                      <a:alpha val="79000"/>
                    </a:srgbClr>
                  </a:gs>
                  <a:gs pos="72000">
                    <a:srgbClr val="FFFFFE">
                      <a:alpha val="0"/>
                      <a:lumMod val="0"/>
                      <a:lumOff val="10000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nvGrpSpPr>
            <p:cNvPr id="180" name="Gruppieren 179"/>
            <p:cNvGrpSpPr/>
            <p:nvPr/>
          </p:nvGrpSpPr>
          <p:grpSpPr>
            <a:xfrm>
              <a:off x="1493990" y="1445270"/>
              <a:ext cx="1033538" cy="939724"/>
              <a:chOff x="386078" y="2179778"/>
              <a:chExt cx="3657046" cy="3325098"/>
            </a:xfrm>
            <a:noFill/>
          </p:grpSpPr>
          <p:sp>
            <p:nvSpPr>
              <p:cNvPr id="181" name="Sechseck 180"/>
              <p:cNvSpPr/>
              <p:nvPr/>
            </p:nvSpPr>
            <p:spPr bwMode="auto">
              <a:xfrm>
                <a:off x="1893455"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82" name="Sechseck 181"/>
              <p:cNvSpPr/>
              <p:nvPr/>
            </p:nvSpPr>
            <p:spPr bwMode="auto">
              <a:xfrm>
                <a:off x="2392220" y="328814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83" name="Sechseck 182"/>
              <p:cNvSpPr/>
              <p:nvPr/>
            </p:nvSpPr>
            <p:spPr bwMode="auto">
              <a:xfrm>
                <a:off x="239222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84" name="Sechseck 183"/>
              <p:cNvSpPr/>
              <p:nvPr/>
            </p:nvSpPr>
            <p:spPr bwMode="auto">
              <a:xfrm>
                <a:off x="1893455"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85" name="Sechseck 184"/>
              <p:cNvSpPr/>
              <p:nvPr/>
            </p:nvSpPr>
            <p:spPr bwMode="auto">
              <a:xfrm>
                <a:off x="139469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86" name="Sechseck 185"/>
              <p:cNvSpPr/>
              <p:nvPr/>
            </p:nvSpPr>
            <p:spPr bwMode="auto">
              <a:xfrm>
                <a:off x="1394690" y="328814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87" name="Sechseck 186"/>
              <p:cNvSpPr/>
              <p:nvPr/>
            </p:nvSpPr>
            <p:spPr bwMode="auto">
              <a:xfrm>
                <a:off x="1893455" y="3565236"/>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88" name="Sechseck 187"/>
              <p:cNvSpPr/>
              <p:nvPr/>
            </p:nvSpPr>
            <p:spPr bwMode="auto">
              <a:xfrm>
                <a:off x="239222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89" name="Sechseck 188"/>
              <p:cNvSpPr/>
              <p:nvPr/>
            </p:nvSpPr>
            <p:spPr bwMode="auto">
              <a:xfrm>
                <a:off x="2897352"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90" name="Sechseck 189"/>
              <p:cNvSpPr/>
              <p:nvPr/>
            </p:nvSpPr>
            <p:spPr bwMode="auto">
              <a:xfrm>
                <a:off x="2897352" y="356523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91" name="Sechseck 190"/>
              <p:cNvSpPr/>
              <p:nvPr/>
            </p:nvSpPr>
            <p:spPr bwMode="auto">
              <a:xfrm>
                <a:off x="2897352"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92" name="Sechseck 191"/>
              <p:cNvSpPr/>
              <p:nvPr/>
            </p:nvSpPr>
            <p:spPr bwMode="auto">
              <a:xfrm>
                <a:off x="2404843"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93" name="Sechseck 192"/>
              <p:cNvSpPr/>
              <p:nvPr/>
            </p:nvSpPr>
            <p:spPr bwMode="auto">
              <a:xfrm>
                <a:off x="1893455"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94" name="Sechseck 193"/>
              <p:cNvSpPr/>
              <p:nvPr/>
            </p:nvSpPr>
            <p:spPr bwMode="auto">
              <a:xfrm>
                <a:off x="1394690"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95" name="Sechseck 194"/>
              <p:cNvSpPr/>
              <p:nvPr/>
            </p:nvSpPr>
            <p:spPr bwMode="auto">
              <a:xfrm>
                <a:off x="888998" y="301408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96" name="Sechseck 195"/>
              <p:cNvSpPr/>
              <p:nvPr/>
            </p:nvSpPr>
            <p:spPr bwMode="auto">
              <a:xfrm>
                <a:off x="888998" y="356826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97" name="Sechseck 196"/>
              <p:cNvSpPr/>
              <p:nvPr/>
            </p:nvSpPr>
            <p:spPr bwMode="auto">
              <a:xfrm>
                <a:off x="888998" y="4122446"/>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98" name="Sechseck 197"/>
              <p:cNvSpPr/>
              <p:nvPr/>
            </p:nvSpPr>
            <p:spPr bwMode="auto">
              <a:xfrm>
                <a:off x="139469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99" name="Sechseck 198"/>
              <p:cNvSpPr/>
              <p:nvPr/>
            </p:nvSpPr>
            <p:spPr bwMode="auto">
              <a:xfrm>
                <a:off x="1893455"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00" name="Sechseck 199"/>
              <p:cNvSpPr/>
              <p:nvPr/>
            </p:nvSpPr>
            <p:spPr bwMode="auto">
              <a:xfrm>
                <a:off x="2392220" y="217977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01" name="Sechseck 200"/>
              <p:cNvSpPr/>
              <p:nvPr/>
            </p:nvSpPr>
            <p:spPr bwMode="auto">
              <a:xfrm>
                <a:off x="2897352"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02" name="Sechseck 201"/>
              <p:cNvSpPr/>
              <p:nvPr/>
            </p:nvSpPr>
            <p:spPr bwMode="auto">
              <a:xfrm>
                <a:off x="1394690" y="218713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03" name="Sechseck 202"/>
              <p:cNvSpPr/>
              <p:nvPr/>
            </p:nvSpPr>
            <p:spPr bwMode="auto">
              <a:xfrm>
                <a:off x="888998"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04" name="Sechseck 203"/>
              <p:cNvSpPr/>
              <p:nvPr/>
            </p:nvSpPr>
            <p:spPr bwMode="auto">
              <a:xfrm>
                <a:off x="386078" y="329117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05" name="Sechseck 204"/>
              <p:cNvSpPr/>
              <p:nvPr/>
            </p:nvSpPr>
            <p:spPr bwMode="auto">
              <a:xfrm>
                <a:off x="386078" y="384536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06" name="Sechseck 205"/>
              <p:cNvSpPr/>
              <p:nvPr/>
            </p:nvSpPr>
            <p:spPr bwMode="auto">
              <a:xfrm>
                <a:off x="888998"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07" name="Sechseck 206"/>
              <p:cNvSpPr/>
              <p:nvPr/>
            </p:nvSpPr>
            <p:spPr bwMode="auto">
              <a:xfrm>
                <a:off x="1394690" y="495069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08" name="Sechseck 207"/>
              <p:cNvSpPr/>
              <p:nvPr/>
            </p:nvSpPr>
            <p:spPr bwMode="auto">
              <a:xfrm>
                <a:off x="2404843" y="494919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09" name="Sechseck 208"/>
              <p:cNvSpPr/>
              <p:nvPr/>
            </p:nvSpPr>
            <p:spPr bwMode="auto">
              <a:xfrm>
                <a:off x="2897352" y="46736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10" name="Sechseck 209"/>
              <p:cNvSpPr/>
              <p:nvPr/>
            </p:nvSpPr>
            <p:spPr bwMode="auto">
              <a:xfrm>
                <a:off x="3400272" y="384232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11" name="Sechseck 210"/>
              <p:cNvSpPr/>
              <p:nvPr/>
            </p:nvSpPr>
            <p:spPr bwMode="auto">
              <a:xfrm>
                <a:off x="3400272" y="32865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12" name="Sechseck 211"/>
              <p:cNvSpPr/>
              <p:nvPr/>
            </p:nvSpPr>
            <p:spPr bwMode="auto">
              <a:xfrm>
                <a:off x="3400272" y="273092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sp>
        <p:nvSpPr>
          <p:cNvPr id="214" name="Freihandform 213"/>
          <p:cNvSpPr/>
          <p:nvPr/>
        </p:nvSpPr>
        <p:spPr bwMode="auto">
          <a:xfrm flipV="1">
            <a:off x="411480" y="2331283"/>
            <a:ext cx="1367559" cy="350015"/>
          </a:xfrm>
          <a:custGeom>
            <a:avLst/>
            <a:gdLst>
              <a:gd name="connsiteX0" fmla="*/ 0 w 1203960"/>
              <a:gd name="connsiteY0" fmla="*/ 0 h 243840"/>
              <a:gd name="connsiteX1" fmla="*/ 670560 w 1203960"/>
              <a:gd name="connsiteY1" fmla="*/ 0 h 243840"/>
              <a:gd name="connsiteX2" fmla="*/ 1203960 w 1203960"/>
              <a:gd name="connsiteY2" fmla="*/ 243840 h 243840"/>
              <a:gd name="connsiteX0" fmla="*/ 0 w 1234440"/>
              <a:gd name="connsiteY0" fmla="*/ 0 h 160020"/>
              <a:gd name="connsiteX1" fmla="*/ 670560 w 1234440"/>
              <a:gd name="connsiteY1" fmla="*/ 0 h 160020"/>
              <a:gd name="connsiteX2" fmla="*/ 1234440 w 1234440"/>
              <a:gd name="connsiteY2" fmla="*/ 160020 h 160020"/>
            </a:gdLst>
            <a:ahLst/>
            <a:cxnLst>
              <a:cxn ang="0">
                <a:pos x="connsiteX0" y="connsiteY0"/>
              </a:cxn>
              <a:cxn ang="0">
                <a:pos x="connsiteX1" y="connsiteY1"/>
              </a:cxn>
              <a:cxn ang="0">
                <a:pos x="connsiteX2" y="connsiteY2"/>
              </a:cxn>
            </a:cxnLst>
            <a:rect l="l" t="t" r="r" b="b"/>
            <a:pathLst>
              <a:path w="1234440" h="160020">
                <a:moveTo>
                  <a:pt x="0" y="0"/>
                </a:moveTo>
                <a:lnTo>
                  <a:pt x="670560" y="0"/>
                </a:lnTo>
                <a:lnTo>
                  <a:pt x="1234440" y="160020"/>
                </a:lnTo>
              </a:path>
            </a:pathLst>
          </a:custGeom>
          <a:noFill/>
          <a:ln w="3175"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75" name="Sechseck 474"/>
          <p:cNvSpPr/>
          <p:nvPr/>
        </p:nvSpPr>
        <p:spPr bwMode="auto">
          <a:xfrm>
            <a:off x="1951781" y="3366594"/>
            <a:ext cx="181680" cy="156620"/>
          </a:xfrm>
          <a:prstGeom prst="hexagon">
            <a:avLst/>
          </a:prstGeom>
          <a:solidFill>
            <a:schemeClr val="tx1"/>
          </a:solidFill>
          <a:ln w="38100"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76" name="Sechseck 475"/>
          <p:cNvSpPr/>
          <p:nvPr/>
        </p:nvSpPr>
        <p:spPr bwMode="auto">
          <a:xfrm>
            <a:off x="2718957" y="3358622"/>
            <a:ext cx="181680" cy="156620"/>
          </a:xfrm>
          <a:prstGeom prst="hexagon">
            <a:avLst/>
          </a:prstGeom>
          <a:solidFill>
            <a:srgbClr val="0F0000"/>
          </a:solidFill>
          <a:ln w="38100"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77" name="Sechseck 476"/>
          <p:cNvSpPr/>
          <p:nvPr/>
        </p:nvSpPr>
        <p:spPr bwMode="auto">
          <a:xfrm>
            <a:off x="3506415" y="3334070"/>
            <a:ext cx="181680" cy="156620"/>
          </a:xfrm>
          <a:prstGeom prst="hexagon">
            <a:avLst/>
          </a:prstGeom>
          <a:solidFill>
            <a:srgbClr val="0000BE"/>
          </a:solidFill>
          <a:ln w="38100"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78" name="Sechseck 477"/>
          <p:cNvSpPr/>
          <p:nvPr/>
        </p:nvSpPr>
        <p:spPr bwMode="auto">
          <a:xfrm>
            <a:off x="4317758" y="3343805"/>
            <a:ext cx="181680" cy="156620"/>
          </a:xfrm>
          <a:prstGeom prst="hexagon">
            <a:avLst/>
          </a:prstGeom>
          <a:solidFill>
            <a:srgbClr val="33CCFF"/>
          </a:solidFill>
          <a:ln w="38100"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79" name="Sechseck 478"/>
          <p:cNvSpPr/>
          <p:nvPr/>
        </p:nvSpPr>
        <p:spPr bwMode="auto">
          <a:xfrm>
            <a:off x="5084757" y="3334070"/>
            <a:ext cx="181680" cy="156620"/>
          </a:xfrm>
          <a:prstGeom prst="hexagon">
            <a:avLst/>
          </a:prstGeom>
          <a:solidFill>
            <a:srgbClr val="0000BE"/>
          </a:solidFill>
          <a:ln w="38100"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80" name="Sechseck 479"/>
          <p:cNvSpPr/>
          <p:nvPr/>
        </p:nvSpPr>
        <p:spPr bwMode="auto">
          <a:xfrm>
            <a:off x="5860334" y="3358622"/>
            <a:ext cx="181680" cy="156620"/>
          </a:xfrm>
          <a:prstGeom prst="hexagon">
            <a:avLst/>
          </a:prstGeom>
          <a:solidFill>
            <a:srgbClr val="0F0000"/>
          </a:solidFill>
          <a:ln w="38100"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81" name="Sechseck 480"/>
          <p:cNvSpPr/>
          <p:nvPr/>
        </p:nvSpPr>
        <p:spPr bwMode="auto">
          <a:xfrm>
            <a:off x="6642552" y="3358622"/>
            <a:ext cx="181680" cy="156620"/>
          </a:xfrm>
          <a:prstGeom prst="hexagon">
            <a:avLst/>
          </a:prstGeom>
          <a:solidFill>
            <a:srgbClr val="0F0000"/>
          </a:solidFill>
          <a:ln w="38100"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82" name="Rechteck 481"/>
          <p:cNvSpPr/>
          <p:nvPr/>
        </p:nvSpPr>
        <p:spPr bwMode="auto">
          <a:xfrm>
            <a:off x="5886358" y="5768472"/>
            <a:ext cx="160020" cy="160020"/>
          </a:xfrm>
          <a:prstGeom prst="rect">
            <a:avLst/>
          </a:prstGeom>
          <a:solidFill>
            <a:schemeClr val="tx1"/>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83" name="Rechteck 482"/>
          <p:cNvSpPr/>
          <p:nvPr/>
        </p:nvSpPr>
        <p:spPr bwMode="auto">
          <a:xfrm>
            <a:off x="2733458" y="5773420"/>
            <a:ext cx="160020" cy="160020"/>
          </a:xfrm>
          <a:prstGeom prst="rect">
            <a:avLst/>
          </a:prstGeom>
          <a:solidFill>
            <a:schemeClr val="tx1"/>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84" name="Freihandform 483"/>
          <p:cNvSpPr/>
          <p:nvPr/>
        </p:nvSpPr>
        <p:spPr bwMode="auto">
          <a:xfrm>
            <a:off x="1577947" y="5463540"/>
            <a:ext cx="5564709" cy="439774"/>
          </a:xfrm>
          <a:custGeom>
            <a:avLst/>
            <a:gdLst>
              <a:gd name="connsiteX0" fmla="*/ 0 w 6134100"/>
              <a:gd name="connsiteY0" fmla="*/ 15240 h 15240"/>
              <a:gd name="connsiteX1" fmla="*/ 6134100 w 6134100"/>
              <a:gd name="connsiteY1" fmla="*/ 0 h 15240"/>
              <a:gd name="connsiteX2" fmla="*/ 6134100 w 6134100"/>
              <a:gd name="connsiteY2" fmla="*/ 0 h 15240"/>
              <a:gd name="connsiteX0" fmla="*/ 0 w 6134100"/>
              <a:gd name="connsiteY0" fmla="*/ 15240 h 15240"/>
              <a:gd name="connsiteX1" fmla="*/ 3009900 w 6134100"/>
              <a:gd name="connsiteY1" fmla="*/ 15240 h 15240"/>
              <a:gd name="connsiteX2" fmla="*/ 6134100 w 6134100"/>
              <a:gd name="connsiteY2" fmla="*/ 0 h 15240"/>
              <a:gd name="connsiteX3" fmla="*/ 6134100 w 6134100"/>
              <a:gd name="connsiteY3" fmla="*/ 0 h 1524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1310640 w 6134100"/>
              <a:gd name="connsiteY1" fmla="*/ 74676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495800 w 6134100"/>
              <a:gd name="connsiteY3" fmla="*/ 632460 h 1341120"/>
              <a:gd name="connsiteX4" fmla="*/ 6134100 w 6134100"/>
              <a:gd name="connsiteY4" fmla="*/ 1325880 h 1341120"/>
              <a:gd name="connsiteX5" fmla="*/ 6134100 w 6134100"/>
              <a:gd name="connsiteY5"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556760 w 6134100"/>
              <a:gd name="connsiteY3" fmla="*/ 1036320 h 1341120"/>
              <a:gd name="connsiteX4" fmla="*/ 6134100 w 6134100"/>
              <a:gd name="connsiteY4" fmla="*/ 1325880 h 1341120"/>
              <a:gd name="connsiteX5" fmla="*/ 6134100 w 6134100"/>
              <a:gd name="connsiteY5" fmla="*/ 1325880 h 1341120"/>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64"/>
              <a:gd name="connsiteX1" fmla="*/ 2987040 w 6134100"/>
              <a:gd name="connsiteY1" fmla="*/ 4 h 1341164"/>
              <a:gd name="connsiteX2" fmla="*/ 6134100 w 6134100"/>
              <a:gd name="connsiteY2" fmla="*/ 1325884 h 1341164"/>
              <a:gd name="connsiteX3" fmla="*/ 6134100 w 6134100"/>
              <a:gd name="connsiteY3" fmla="*/ 1325884 h 1341164"/>
              <a:gd name="connsiteX0" fmla="*/ 107031 w 6241131"/>
              <a:gd name="connsiteY0" fmla="*/ 1341125 h 1442766"/>
              <a:gd name="connsiteX1" fmla="*/ 262384 w 6241131"/>
              <a:gd name="connsiteY1" fmla="*/ 1344075 h 1442766"/>
              <a:gd name="connsiteX2" fmla="*/ 3094071 w 6241131"/>
              <a:gd name="connsiteY2" fmla="*/ 5 h 1442766"/>
              <a:gd name="connsiteX3" fmla="*/ 6241131 w 6241131"/>
              <a:gd name="connsiteY3" fmla="*/ 1325885 h 1442766"/>
              <a:gd name="connsiteX4" fmla="*/ 6241131 w 6241131"/>
              <a:gd name="connsiteY4" fmla="*/ 1325885 h 1442766"/>
              <a:gd name="connsiteX0" fmla="*/ 0 w 7972466"/>
              <a:gd name="connsiteY0" fmla="*/ 1405128 h 1462299"/>
              <a:gd name="connsiteX1" fmla="*/ 1993719 w 7972466"/>
              <a:gd name="connsiteY1" fmla="*/ 1344075 h 1462299"/>
              <a:gd name="connsiteX2" fmla="*/ 4825406 w 7972466"/>
              <a:gd name="connsiteY2" fmla="*/ 5 h 1462299"/>
              <a:gd name="connsiteX3" fmla="*/ 7972466 w 7972466"/>
              <a:gd name="connsiteY3" fmla="*/ 1325885 h 1462299"/>
              <a:gd name="connsiteX4" fmla="*/ 7972466 w 7972466"/>
              <a:gd name="connsiteY4" fmla="*/ 1325885 h 1462299"/>
              <a:gd name="connsiteX0" fmla="*/ 0 w 7972466"/>
              <a:gd name="connsiteY0" fmla="*/ 1405128 h 1462299"/>
              <a:gd name="connsiteX1" fmla="*/ 1993719 w 7972466"/>
              <a:gd name="connsiteY1" fmla="*/ 1344075 h 1462299"/>
              <a:gd name="connsiteX2" fmla="*/ 4825406 w 7972466"/>
              <a:gd name="connsiteY2" fmla="*/ 5 h 1462299"/>
              <a:gd name="connsiteX3" fmla="*/ 7972466 w 7972466"/>
              <a:gd name="connsiteY3" fmla="*/ 1325885 h 1462299"/>
              <a:gd name="connsiteX4" fmla="*/ 7972466 w 7972466"/>
              <a:gd name="connsiteY4" fmla="*/ 1325885 h 1462299"/>
              <a:gd name="connsiteX0" fmla="*/ 0 w 7972466"/>
              <a:gd name="connsiteY0" fmla="*/ 1405128 h 1409339"/>
              <a:gd name="connsiteX1" fmla="*/ 1993719 w 7972466"/>
              <a:gd name="connsiteY1" fmla="*/ 1344075 h 1409339"/>
              <a:gd name="connsiteX2" fmla="*/ 4825406 w 7972466"/>
              <a:gd name="connsiteY2" fmla="*/ 5 h 1409339"/>
              <a:gd name="connsiteX3" fmla="*/ 7972466 w 7972466"/>
              <a:gd name="connsiteY3" fmla="*/ 1325885 h 1409339"/>
              <a:gd name="connsiteX4" fmla="*/ 7972466 w 7972466"/>
              <a:gd name="connsiteY4" fmla="*/ 1325885 h 1409339"/>
              <a:gd name="connsiteX0" fmla="*/ 0 w 7972466"/>
              <a:gd name="connsiteY0" fmla="*/ 1405128 h 1405131"/>
              <a:gd name="connsiteX1" fmla="*/ 1993719 w 7972466"/>
              <a:gd name="connsiteY1" fmla="*/ 1344075 h 1405131"/>
              <a:gd name="connsiteX2" fmla="*/ 4825406 w 7972466"/>
              <a:gd name="connsiteY2" fmla="*/ 5 h 1405131"/>
              <a:gd name="connsiteX3" fmla="*/ 7972466 w 7972466"/>
              <a:gd name="connsiteY3" fmla="*/ 1325885 h 1405131"/>
              <a:gd name="connsiteX4" fmla="*/ 7972466 w 7972466"/>
              <a:gd name="connsiteY4" fmla="*/ 1325885 h 1405131"/>
              <a:gd name="connsiteX0" fmla="*/ 0 w 7972466"/>
              <a:gd name="connsiteY0" fmla="*/ 1355348 h 1447593"/>
              <a:gd name="connsiteX1" fmla="*/ 1993719 w 7972466"/>
              <a:gd name="connsiteY1" fmla="*/ 1344075 h 1447593"/>
              <a:gd name="connsiteX2" fmla="*/ 4825406 w 7972466"/>
              <a:gd name="connsiteY2" fmla="*/ 5 h 1447593"/>
              <a:gd name="connsiteX3" fmla="*/ 7972466 w 7972466"/>
              <a:gd name="connsiteY3" fmla="*/ 1325885 h 1447593"/>
              <a:gd name="connsiteX4" fmla="*/ 7972466 w 7972466"/>
              <a:gd name="connsiteY4" fmla="*/ 1325885 h 1447593"/>
              <a:gd name="connsiteX0" fmla="*/ 0 w 7972466"/>
              <a:gd name="connsiteY0" fmla="*/ 1355348 h 1447593"/>
              <a:gd name="connsiteX1" fmla="*/ 1993719 w 7972466"/>
              <a:gd name="connsiteY1" fmla="*/ 1344075 h 1447593"/>
              <a:gd name="connsiteX2" fmla="*/ 4825406 w 7972466"/>
              <a:gd name="connsiteY2" fmla="*/ 5 h 1447593"/>
              <a:gd name="connsiteX3" fmla="*/ 7972466 w 7972466"/>
              <a:gd name="connsiteY3" fmla="*/ 1325885 h 1447593"/>
              <a:gd name="connsiteX4" fmla="*/ 7972466 w 7972466"/>
              <a:gd name="connsiteY4" fmla="*/ 1325885 h 1447593"/>
              <a:gd name="connsiteX0" fmla="*/ 16806 w 7989272"/>
              <a:gd name="connsiteY0" fmla="*/ 1355348 h 1820552"/>
              <a:gd name="connsiteX1" fmla="*/ 223946 w 7989272"/>
              <a:gd name="connsiteY1" fmla="*/ 1820547 h 1820552"/>
              <a:gd name="connsiteX2" fmla="*/ 2010525 w 7989272"/>
              <a:gd name="connsiteY2" fmla="*/ 1344075 h 1820552"/>
              <a:gd name="connsiteX3" fmla="*/ 4842212 w 7989272"/>
              <a:gd name="connsiteY3" fmla="*/ 5 h 1820552"/>
              <a:gd name="connsiteX4" fmla="*/ 7989272 w 7989272"/>
              <a:gd name="connsiteY4" fmla="*/ 1325885 h 1820552"/>
              <a:gd name="connsiteX5" fmla="*/ 7989272 w 7989272"/>
              <a:gd name="connsiteY5" fmla="*/ 1325885 h 1820552"/>
              <a:gd name="connsiteX0" fmla="*/ 0 w 7972466"/>
              <a:gd name="connsiteY0" fmla="*/ 1355348 h 1446932"/>
              <a:gd name="connsiteX1" fmla="*/ 1993719 w 7972466"/>
              <a:gd name="connsiteY1" fmla="*/ 1344075 h 1446932"/>
              <a:gd name="connsiteX2" fmla="*/ 4825406 w 7972466"/>
              <a:gd name="connsiteY2" fmla="*/ 5 h 1446932"/>
              <a:gd name="connsiteX3" fmla="*/ 7972466 w 7972466"/>
              <a:gd name="connsiteY3" fmla="*/ 1325885 h 1446932"/>
              <a:gd name="connsiteX4" fmla="*/ 7972466 w 7972466"/>
              <a:gd name="connsiteY4" fmla="*/ 1325885 h 1446932"/>
              <a:gd name="connsiteX0" fmla="*/ 0 w 7985412"/>
              <a:gd name="connsiteY0" fmla="*/ 1405129 h 1466059"/>
              <a:gd name="connsiteX1" fmla="*/ 2006665 w 7985412"/>
              <a:gd name="connsiteY1" fmla="*/ 1344075 h 1466059"/>
              <a:gd name="connsiteX2" fmla="*/ 4838352 w 7985412"/>
              <a:gd name="connsiteY2" fmla="*/ 5 h 1466059"/>
              <a:gd name="connsiteX3" fmla="*/ 7985412 w 7985412"/>
              <a:gd name="connsiteY3" fmla="*/ 1325885 h 1466059"/>
              <a:gd name="connsiteX4" fmla="*/ 7985412 w 7985412"/>
              <a:gd name="connsiteY4" fmla="*/ 1325885 h 1466059"/>
              <a:gd name="connsiteX0" fmla="*/ 0 w 7985412"/>
              <a:gd name="connsiteY0" fmla="*/ 1405129 h 1405129"/>
              <a:gd name="connsiteX1" fmla="*/ 2006665 w 7985412"/>
              <a:gd name="connsiteY1" fmla="*/ 1344075 h 1405129"/>
              <a:gd name="connsiteX2" fmla="*/ 4838352 w 7985412"/>
              <a:gd name="connsiteY2" fmla="*/ 5 h 1405129"/>
              <a:gd name="connsiteX3" fmla="*/ 7985412 w 7985412"/>
              <a:gd name="connsiteY3" fmla="*/ 1325885 h 1405129"/>
              <a:gd name="connsiteX4" fmla="*/ 7985412 w 7985412"/>
              <a:gd name="connsiteY4" fmla="*/ 1325885 h 1405129"/>
              <a:gd name="connsiteX0" fmla="*/ 0 w 7998358"/>
              <a:gd name="connsiteY0" fmla="*/ 1348237 h 1444504"/>
              <a:gd name="connsiteX1" fmla="*/ 2019611 w 7998358"/>
              <a:gd name="connsiteY1" fmla="*/ 1344075 h 1444504"/>
              <a:gd name="connsiteX2" fmla="*/ 4851298 w 7998358"/>
              <a:gd name="connsiteY2" fmla="*/ 5 h 1444504"/>
              <a:gd name="connsiteX3" fmla="*/ 7998358 w 7998358"/>
              <a:gd name="connsiteY3" fmla="*/ 1325885 h 1444504"/>
              <a:gd name="connsiteX4" fmla="*/ 7998358 w 7998358"/>
              <a:gd name="connsiteY4" fmla="*/ 1325885 h 1444504"/>
              <a:gd name="connsiteX0" fmla="*/ 0 w 7998358"/>
              <a:gd name="connsiteY0" fmla="*/ 1348237 h 1446121"/>
              <a:gd name="connsiteX1" fmla="*/ 2019611 w 7998358"/>
              <a:gd name="connsiteY1" fmla="*/ 1344075 h 1446121"/>
              <a:gd name="connsiteX2" fmla="*/ 4851298 w 7998358"/>
              <a:gd name="connsiteY2" fmla="*/ 5 h 1446121"/>
              <a:gd name="connsiteX3" fmla="*/ 7998358 w 7998358"/>
              <a:gd name="connsiteY3" fmla="*/ 1325885 h 1446121"/>
              <a:gd name="connsiteX4" fmla="*/ 7998358 w 7998358"/>
              <a:gd name="connsiteY4" fmla="*/ 1325885 h 1446121"/>
              <a:gd name="connsiteX0" fmla="*/ 0 w 7998358"/>
              <a:gd name="connsiteY0" fmla="*/ 1348237 h 1354980"/>
              <a:gd name="connsiteX1" fmla="*/ 2019611 w 7998358"/>
              <a:gd name="connsiteY1" fmla="*/ 1344075 h 1354980"/>
              <a:gd name="connsiteX2" fmla="*/ 4851298 w 7998358"/>
              <a:gd name="connsiteY2" fmla="*/ 5 h 1354980"/>
              <a:gd name="connsiteX3" fmla="*/ 7998358 w 7998358"/>
              <a:gd name="connsiteY3" fmla="*/ 1325885 h 1354980"/>
              <a:gd name="connsiteX4" fmla="*/ 7998358 w 7998358"/>
              <a:gd name="connsiteY4" fmla="*/ 1325885 h 1354980"/>
              <a:gd name="connsiteX0" fmla="*/ 0 w 8083710"/>
              <a:gd name="connsiteY0" fmla="*/ 1348247 h 1416187"/>
              <a:gd name="connsiteX1" fmla="*/ 2019611 w 8083710"/>
              <a:gd name="connsiteY1" fmla="*/ 1344085 h 1416187"/>
              <a:gd name="connsiteX2" fmla="*/ 4851298 w 8083710"/>
              <a:gd name="connsiteY2" fmla="*/ 15 h 1416187"/>
              <a:gd name="connsiteX3" fmla="*/ 7793634 w 8083710"/>
              <a:gd name="connsiteY3" fmla="*/ 1315640 h 1416187"/>
              <a:gd name="connsiteX4" fmla="*/ 7998358 w 8083710"/>
              <a:gd name="connsiteY4" fmla="*/ 1325895 h 1416187"/>
              <a:gd name="connsiteX5" fmla="*/ 7998358 w 8083710"/>
              <a:gd name="connsiteY5" fmla="*/ 1325895 h 1416187"/>
              <a:gd name="connsiteX0" fmla="*/ 0 w 7998358"/>
              <a:gd name="connsiteY0" fmla="*/ 1348247 h 1354990"/>
              <a:gd name="connsiteX1" fmla="*/ 2019611 w 7998358"/>
              <a:gd name="connsiteY1" fmla="*/ 1344085 h 1354990"/>
              <a:gd name="connsiteX2" fmla="*/ 4851298 w 7998358"/>
              <a:gd name="connsiteY2" fmla="*/ 15 h 1354990"/>
              <a:gd name="connsiteX3" fmla="*/ 7793634 w 7998358"/>
              <a:gd name="connsiteY3" fmla="*/ 1315640 h 1354990"/>
              <a:gd name="connsiteX4" fmla="*/ 7998358 w 7998358"/>
              <a:gd name="connsiteY4" fmla="*/ 1325895 h 1354990"/>
              <a:gd name="connsiteX5" fmla="*/ 7998358 w 7998358"/>
              <a:gd name="connsiteY5" fmla="*/ 1325895 h 1354990"/>
              <a:gd name="connsiteX0" fmla="*/ 0 w 8878702"/>
              <a:gd name="connsiteY0" fmla="*/ 1348247 h 1354990"/>
              <a:gd name="connsiteX1" fmla="*/ 2019611 w 8878702"/>
              <a:gd name="connsiteY1" fmla="*/ 1344085 h 1354990"/>
              <a:gd name="connsiteX2" fmla="*/ 4851298 w 8878702"/>
              <a:gd name="connsiteY2" fmla="*/ 15 h 1354990"/>
              <a:gd name="connsiteX3" fmla="*/ 7793634 w 8878702"/>
              <a:gd name="connsiteY3" fmla="*/ 1315640 h 1354990"/>
              <a:gd name="connsiteX4" fmla="*/ 7998358 w 8878702"/>
              <a:gd name="connsiteY4" fmla="*/ 1325895 h 1354990"/>
              <a:gd name="connsiteX5" fmla="*/ 8878702 w 8878702"/>
              <a:gd name="connsiteY5" fmla="*/ 1318784 h 1354990"/>
              <a:gd name="connsiteX0" fmla="*/ 0 w 8878702"/>
              <a:gd name="connsiteY0" fmla="*/ 1348247 h 1414001"/>
              <a:gd name="connsiteX1" fmla="*/ 2019611 w 8878702"/>
              <a:gd name="connsiteY1" fmla="*/ 1344085 h 1414001"/>
              <a:gd name="connsiteX2" fmla="*/ 4851298 w 8878702"/>
              <a:gd name="connsiteY2" fmla="*/ 15 h 1414001"/>
              <a:gd name="connsiteX3" fmla="*/ 7793634 w 8878702"/>
              <a:gd name="connsiteY3" fmla="*/ 1315640 h 1414001"/>
              <a:gd name="connsiteX4" fmla="*/ 8878702 w 8878702"/>
              <a:gd name="connsiteY4" fmla="*/ 1318784 h 1414001"/>
              <a:gd name="connsiteX0" fmla="*/ 0 w 9875562"/>
              <a:gd name="connsiteY0" fmla="*/ 1348247 h 1414001"/>
              <a:gd name="connsiteX1" fmla="*/ 2019611 w 9875562"/>
              <a:gd name="connsiteY1" fmla="*/ 1344085 h 1414001"/>
              <a:gd name="connsiteX2" fmla="*/ 4851298 w 9875562"/>
              <a:gd name="connsiteY2" fmla="*/ 15 h 1414001"/>
              <a:gd name="connsiteX3" fmla="*/ 7793634 w 9875562"/>
              <a:gd name="connsiteY3" fmla="*/ 1315640 h 1414001"/>
              <a:gd name="connsiteX4" fmla="*/ 9875562 w 9875562"/>
              <a:gd name="connsiteY4" fmla="*/ 1318784 h 1414001"/>
              <a:gd name="connsiteX0" fmla="*/ 0 w 9875562"/>
              <a:gd name="connsiteY0" fmla="*/ 1348374 h 1374793"/>
              <a:gd name="connsiteX1" fmla="*/ 2019611 w 9875562"/>
              <a:gd name="connsiteY1" fmla="*/ 1344212 h 1374793"/>
              <a:gd name="connsiteX2" fmla="*/ 4851298 w 9875562"/>
              <a:gd name="connsiteY2" fmla="*/ 142 h 1374793"/>
              <a:gd name="connsiteX3" fmla="*/ 7534709 w 9875562"/>
              <a:gd name="connsiteY3" fmla="*/ 1258875 h 1374793"/>
              <a:gd name="connsiteX4" fmla="*/ 9875562 w 9875562"/>
              <a:gd name="connsiteY4" fmla="*/ 1318911 h 1374793"/>
              <a:gd name="connsiteX0" fmla="*/ 0 w 9875562"/>
              <a:gd name="connsiteY0" fmla="*/ 1348350 h 1374769"/>
              <a:gd name="connsiteX1" fmla="*/ 2019611 w 9875562"/>
              <a:gd name="connsiteY1" fmla="*/ 1344188 h 1374769"/>
              <a:gd name="connsiteX2" fmla="*/ 4851298 w 9875562"/>
              <a:gd name="connsiteY2" fmla="*/ 118 h 1374769"/>
              <a:gd name="connsiteX3" fmla="*/ 7534709 w 9875562"/>
              <a:gd name="connsiteY3" fmla="*/ 1258851 h 1374769"/>
              <a:gd name="connsiteX4" fmla="*/ 9875562 w 9875562"/>
              <a:gd name="connsiteY4" fmla="*/ 1318887 h 1374769"/>
              <a:gd name="connsiteX0" fmla="*/ 0 w 9875562"/>
              <a:gd name="connsiteY0" fmla="*/ 1348368 h 1374787"/>
              <a:gd name="connsiteX1" fmla="*/ 2019611 w 9875562"/>
              <a:gd name="connsiteY1" fmla="*/ 1344206 h 1374787"/>
              <a:gd name="connsiteX2" fmla="*/ 4851298 w 9875562"/>
              <a:gd name="connsiteY2" fmla="*/ 136 h 1374787"/>
              <a:gd name="connsiteX3" fmla="*/ 7534709 w 9875562"/>
              <a:gd name="connsiteY3" fmla="*/ 1258869 h 1374787"/>
              <a:gd name="connsiteX4" fmla="*/ 9875562 w 9875562"/>
              <a:gd name="connsiteY4" fmla="*/ 1318905 h 1374787"/>
              <a:gd name="connsiteX0" fmla="*/ 0 w 9875562"/>
              <a:gd name="connsiteY0" fmla="*/ 1348352 h 1355095"/>
              <a:gd name="connsiteX1" fmla="*/ 2019611 w 9875562"/>
              <a:gd name="connsiteY1" fmla="*/ 1344190 h 1355095"/>
              <a:gd name="connsiteX2" fmla="*/ 4851298 w 9875562"/>
              <a:gd name="connsiteY2" fmla="*/ 120 h 1355095"/>
              <a:gd name="connsiteX3" fmla="*/ 7534709 w 9875562"/>
              <a:gd name="connsiteY3" fmla="*/ 1258853 h 1355095"/>
              <a:gd name="connsiteX4" fmla="*/ 9875562 w 9875562"/>
              <a:gd name="connsiteY4" fmla="*/ 1318889 h 1355095"/>
              <a:gd name="connsiteX0" fmla="*/ 0 w 9875562"/>
              <a:gd name="connsiteY0" fmla="*/ 1348352 h 1355095"/>
              <a:gd name="connsiteX1" fmla="*/ 2019611 w 9875562"/>
              <a:gd name="connsiteY1" fmla="*/ 1344190 h 1355095"/>
              <a:gd name="connsiteX2" fmla="*/ 4851298 w 9875562"/>
              <a:gd name="connsiteY2" fmla="*/ 120 h 1355095"/>
              <a:gd name="connsiteX3" fmla="*/ 7534709 w 9875562"/>
              <a:gd name="connsiteY3" fmla="*/ 1258853 h 1355095"/>
              <a:gd name="connsiteX4" fmla="*/ 9875562 w 9875562"/>
              <a:gd name="connsiteY4" fmla="*/ 1318889 h 1355095"/>
              <a:gd name="connsiteX0" fmla="*/ 0 w 9875562"/>
              <a:gd name="connsiteY0" fmla="*/ 1348351 h 1355094"/>
              <a:gd name="connsiteX1" fmla="*/ 2019611 w 9875562"/>
              <a:gd name="connsiteY1" fmla="*/ 1344189 h 1355094"/>
              <a:gd name="connsiteX2" fmla="*/ 4851298 w 9875562"/>
              <a:gd name="connsiteY2" fmla="*/ 119 h 1355094"/>
              <a:gd name="connsiteX3" fmla="*/ 7534709 w 9875562"/>
              <a:gd name="connsiteY3" fmla="*/ 1258852 h 1355094"/>
              <a:gd name="connsiteX4" fmla="*/ 9875562 w 9875562"/>
              <a:gd name="connsiteY4" fmla="*/ 1318888 h 1355094"/>
              <a:gd name="connsiteX0" fmla="*/ 0 w 9849670"/>
              <a:gd name="connsiteY0" fmla="*/ 1348373 h 1355116"/>
              <a:gd name="connsiteX1" fmla="*/ 2019611 w 9849670"/>
              <a:gd name="connsiteY1" fmla="*/ 1344211 h 1355116"/>
              <a:gd name="connsiteX2" fmla="*/ 4851298 w 9849670"/>
              <a:gd name="connsiteY2" fmla="*/ 141 h 1355116"/>
              <a:gd name="connsiteX3" fmla="*/ 7534709 w 9849670"/>
              <a:gd name="connsiteY3" fmla="*/ 1258874 h 1355116"/>
              <a:gd name="connsiteX4" fmla="*/ 9849670 w 9849670"/>
              <a:gd name="connsiteY4" fmla="*/ 1262018 h 1355116"/>
              <a:gd name="connsiteX0" fmla="*/ 0 w 9849670"/>
              <a:gd name="connsiteY0" fmla="*/ 1348353 h 1355096"/>
              <a:gd name="connsiteX1" fmla="*/ 2019611 w 9849670"/>
              <a:gd name="connsiteY1" fmla="*/ 1344191 h 1355096"/>
              <a:gd name="connsiteX2" fmla="*/ 4851298 w 9849670"/>
              <a:gd name="connsiteY2" fmla="*/ 121 h 1355096"/>
              <a:gd name="connsiteX3" fmla="*/ 7534709 w 9849670"/>
              <a:gd name="connsiteY3" fmla="*/ 1258854 h 1355096"/>
              <a:gd name="connsiteX4" fmla="*/ 9849670 w 9849670"/>
              <a:gd name="connsiteY4" fmla="*/ 1261998 h 1355096"/>
              <a:gd name="connsiteX0" fmla="*/ 0 w 8807411"/>
              <a:gd name="connsiteY0" fmla="*/ 1356118 h 1448949"/>
              <a:gd name="connsiteX1" fmla="*/ 977352 w 8807411"/>
              <a:gd name="connsiteY1" fmla="*/ 1344191 h 1448949"/>
              <a:gd name="connsiteX2" fmla="*/ 3809039 w 8807411"/>
              <a:gd name="connsiteY2" fmla="*/ 121 h 1448949"/>
              <a:gd name="connsiteX3" fmla="*/ 6492450 w 8807411"/>
              <a:gd name="connsiteY3" fmla="*/ 1258854 h 1448949"/>
              <a:gd name="connsiteX4" fmla="*/ 8807411 w 8807411"/>
              <a:gd name="connsiteY4" fmla="*/ 1261998 h 1448949"/>
              <a:gd name="connsiteX0" fmla="*/ 0 w 8807411"/>
              <a:gd name="connsiteY0" fmla="*/ 1356118 h 1356118"/>
              <a:gd name="connsiteX1" fmla="*/ 977352 w 8807411"/>
              <a:gd name="connsiteY1" fmla="*/ 1344191 h 1356118"/>
              <a:gd name="connsiteX2" fmla="*/ 3809039 w 8807411"/>
              <a:gd name="connsiteY2" fmla="*/ 121 h 1356118"/>
              <a:gd name="connsiteX3" fmla="*/ 6492450 w 8807411"/>
              <a:gd name="connsiteY3" fmla="*/ 1258854 h 1356118"/>
              <a:gd name="connsiteX4" fmla="*/ 8807411 w 8807411"/>
              <a:gd name="connsiteY4" fmla="*/ 1261998 h 1356118"/>
              <a:gd name="connsiteX0" fmla="*/ 0 w 7554359"/>
              <a:gd name="connsiteY0" fmla="*/ 1356138 h 1356138"/>
              <a:gd name="connsiteX1" fmla="*/ 977352 w 7554359"/>
              <a:gd name="connsiteY1" fmla="*/ 1344211 h 1356138"/>
              <a:gd name="connsiteX2" fmla="*/ 3809039 w 7554359"/>
              <a:gd name="connsiteY2" fmla="*/ 141 h 1356138"/>
              <a:gd name="connsiteX3" fmla="*/ 6492450 w 7554359"/>
              <a:gd name="connsiteY3" fmla="*/ 1258874 h 1356138"/>
              <a:gd name="connsiteX4" fmla="*/ 7554359 w 7554359"/>
              <a:gd name="connsiteY4" fmla="*/ 1262018 h 1356138"/>
              <a:gd name="connsiteX0" fmla="*/ 0 w 7554359"/>
              <a:gd name="connsiteY0" fmla="*/ 1356117 h 1356117"/>
              <a:gd name="connsiteX1" fmla="*/ 977352 w 7554359"/>
              <a:gd name="connsiteY1" fmla="*/ 1344190 h 1356117"/>
              <a:gd name="connsiteX2" fmla="*/ 3809039 w 7554359"/>
              <a:gd name="connsiteY2" fmla="*/ 120 h 1356117"/>
              <a:gd name="connsiteX3" fmla="*/ 6492450 w 7554359"/>
              <a:gd name="connsiteY3" fmla="*/ 1258853 h 1356117"/>
              <a:gd name="connsiteX4" fmla="*/ 7554359 w 7554359"/>
              <a:gd name="connsiteY4" fmla="*/ 1261997 h 1356117"/>
              <a:gd name="connsiteX0" fmla="*/ 0 w 7554359"/>
              <a:gd name="connsiteY0" fmla="*/ 1356117 h 1356117"/>
              <a:gd name="connsiteX1" fmla="*/ 977352 w 7554359"/>
              <a:gd name="connsiteY1" fmla="*/ 1344190 h 1356117"/>
              <a:gd name="connsiteX2" fmla="*/ 3809039 w 7554359"/>
              <a:gd name="connsiteY2" fmla="*/ 120 h 1356117"/>
              <a:gd name="connsiteX3" fmla="*/ 6492450 w 7554359"/>
              <a:gd name="connsiteY3" fmla="*/ 1258853 h 1356117"/>
              <a:gd name="connsiteX4" fmla="*/ 7554359 w 7554359"/>
              <a:gd name="connsiteY4" fmla="*/ 1261997 h 1356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54359" h="1356117">
                <a:moveTo>
                  <a:pt x="0" y="1356117"/>
                </a:moveTo>
                <a:lnTo>
                  <a:pt x="977352" y="1344190"/>
                </a:lnTo>
                <a:cubicBezTo>
                  <a:pt x="2631030" y="1327826"/>
                  <a:pt x="2889856" y="14343"/>
                  <a:pt x="3809039" y="120"/>
                </a:cubicBezTo>
                <a:cubicBezTo>
                  <a:pt x="4728222" y="-14103"/>
                  <a:pt x="4968500" y="1242611"/>
                  <a:pt x="6492450" y="1258853"/>
                </a:cubicBezTo>
                <a:lnTo>
                  <a:pt x="7554359" y="1261997"/>
                </a:lnTo>
              </a:path>
            </a:pathLst>
          </a:custGeom>
          <a:noFill/>
          <a:ln w="12700"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93" name="Textfeld 492"/>
          <p:cNvSpPr txBox="1"/>
          <p:nvPr/>
        </p:nvSpPr>
        <p:spPr>
          <a:xfrm>
            <a:off x="5840203" y="1344453"/>
            <a:ext cx="2797817" cy="618173"/>
          </a:xfrm>
          <a:prstGeom prst="rect">
            <a:avLst/>
          </a:prstGeom>
          <a:noFill/>
        </p:spPr>
        <p:txBody>
          <a:bodyPr wrap="none" rtlCol="0">
            <a:noAutofit/>
          </a:bodyPr>
          <a:lstStyle/>
          <a:p>
            <a:pPr eaLnBrk="0" fontAlgn="base" hangingPunct="0">
              <a:spcBef>
                <a:spcPct val="0"/>
              </a:spcBef>
              <a:spcAft>
                <a:spcPct val="0"/>
              </a:spcAft>
            </a:pPr>
            <a:r>
              <a:rPr lang="en-US" sz="1400" dirty="0">
                <a:solidFill>
                  <a:srgbClr val="000000"/>
                </a:solidFill>
              </a:rPr>
              <a:t>A point-like emitter generates a </a:t>
            </a:r>
          </a:p>
          <a:p>
            <a:pPr eaLnBrk="0" fontAlgn="base" hangingPunct="0">
              <a:spcBef>
                <a:spcPct val="0"/>
              </a:spcBef>
              <a:spcAft>
                <a:spcPct val="0"/>
              </a:spcAft>
            </a:pPr>
            <a:r>
              <a:rPr lang="en-US" sz="1400" dirty="0">
                <a:solidFill>
                  <a:srgbClr val="000000"/>
                </a:solidFill>
              </a:rPr>
              <a:t>diffraction limited pattern (~ PSF)</a:t>
            </a:r>
          </a:p>
        </p:txBody>
      </p:sp>
      <p:sp>
        <p:nvSpPr>
          <p:cNvPr id="494" name="Textfeld 493"/>
          <p:cNvSpPr txBox="1"/>
          <p:nvPr/>
        </p:nvSpPr>
        <p:spPr>
          <a:xfrm>
            <a:off x="7165886" y="3724546"/>
            <a:ext cx="733425" cy="400050"/>
          </a:xfrm>
          <a:prstGeom prst="rect">
            <a:avLst/>
          </a:prstGeom>
          <a:noFill/>
        </p:spPr>
        <p:txBody>
          <a:bodyPr wrap="none" rtlCol="0">
            <a:noAutofit/>
          </a:bodyPr>
          <a:lstStyle/>
          <a:p>
            <a:pPr eaLnBrk="0" fontAlgn="base" hangingPunct="0">
              <a:spcBef>
                <a:spcPct val="0"/>
              </a:spcBef>
              <a:spcAft>
                <a:spcPct val="0"/>
              </a:spcAft>
            </a:pPr>
            <a:r>
              <a:rPr lang="en-US" sz="1200" dirty="0">
                <a:solidFill>
                  <a:srgbClr val="000000"/>
                </a:solidFill>
              </a:rPr>
              <a:t>scan</a:t>
            </a:r>
          </a:p>
        </p:txBody>
      </p:sp>
      <p:sp>
        <p:nvSpPr>
          <p:cNvPr id="495" name="Textfeld 494"/>
          <p:cNvSpPr txBox="1"/>
          <p:nvPr/>
        </p:nvSpPr>
        <p:spPr>
          <a:xfrm>
            <a:off x="7165886" y="6006811"/>
            <a:ext cx="733425" cy="400050"/>
          </a:xfrm>
          <a:prstGeom prst="rect">
            <a:avLst/>
          </a:prstGeom>
          <a:noFill/>
        </p:spPr>
        <p:txBody>
          <a:bodyPr wrap="none" rtlCol="0">
            <a:noAutofit/>
          </a:bodyPr>
          <a:lstStyle/>
          <a:p>
            <a:pPr eaLnBrk="0" fontAlgn="base" hangingPunct="0">
              <a:spcBef>
                <a:spcPct val="0"/>
              </a:spcBef>
              <a:spcAft>
                <a:spcPct val="0"/>
              </a:spcAft>
            </a:pPr>
            <a:r>
              <a:rPr lang="en-US" sz="1200" dirty="0">
                <a:solidFill>
                  <a:srgbClr val="000000"/>
                </a:solidFill>
              </a:rPr>
              <a:t>scan</a:t>
            </a:r>
          </a:p>
        </p:txBody>
      </p:sp>
      <p:sp>
        <p:nvSpPr>
          <p:cNvPr id="506" name="Sechseck 505"/>
          <p:cNvSpPr/>
          <p:nvPr/>
        </p:nvSpPr>
        <p:spPr bwMode="auto">
          <a:xfrm>
            <a:off x="734134" y="3053352"/>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07" name="Textfeld 506"/>
          <p:cNvSpPr txBox="1"/>
          <p:nvPr/>
        </p:nvSpPr>
        <p:spPr>
          <a:xfrm>
            <a:off x="485018" y="3161146"/>
            <a:ext cx="928854" cy="400050"/>
          </a:xfrm>
          <a:prstGeom prst="rect">
            <a:avLst/>
          </a:prstGeom>
          <a:noFill/>
        </p:spPr>
        <p:txBody>
          <a:bodyPr wrap="none" rtlCol="0">
            <a:noAutofit/>
          </a:bodyPr>
          <a:lstStyle/>
          <a:p>
            <a:pPr eaLnBrk="0" fontAlgn="base" hangingPunct="0">
              <a:spcBef>
                <a:spcPct val="0"/>
              </a:spcBef>
              <a:spcAft>
                <a:spcPct val="0"/>
              </a:spcAft>
            </a:pPr>
            <a:r>
              <a:rPr lang="en-US" sz="1200" dirty="0">
                <a:solidFill>
                  <a:srgbClr val="000000"/>
                </a:solidFill>
              </a:rPr>
              <a:t>subunit </a:t>
            </a:r>
          </a:p>
          <a:p>
            <a:pPr eaLnBrk="0" fontAlgn="base" hangingPunct="0">
              <a:spcBef>
                <a:spcPct val="0"/>
              </a:spcBef>
              <a:spcAft>
                <a:spcPct val="0"/>
              </a:spcAft>
            </a:pPr>
            <a:r>
              <a:rPr lang="en-US" sz="1200" dirty="0">
                <a:solidFill>
                  <a:srgbClr val="000000"/>
                </a:solidFill>
              </a:rPr>
              <a:t>~ 0.2 </a:t>
            </a:r>
            <a:r>
              <a:rPr lang="en-US" sz="1200" dirty="0" err="1">
                <a:solidFill>
                  <a:srgbClr val="000000"/>
                </a:solidFill>
              </a:rPr>
              <a:t>A.u</a:t>
            </a:r>
            <a:r>
              <a:rPr lang="en-US" sz="1200" dirty="0">
                <a:solidFill>
                  <a:srgbClr val="000000"/>
                </a:solidFill>
              </a:rPr>
              <a:t>.</a:t>
            </a:r>
          </a:p>
        </p:txBody>
      </p:sp>
      <p:cxnSp>
        <p:nvCxnSpPr>
          <p:cNvPr id="60" name="Gerade Verbindung mit Pfeil 59"/>
          <p:cNvCxnSpPr>
            <a:endCxn id="506" idx="3"/>
          </p:cNvCxnSpPr>
          <p:nvPr/>
        </p:nvCxnSpPr>
        <p:spPr bwMode="auto">
          <a:xfrm>
            <a:off x="450321" y="3131662"/>
            <a:ext cx="283813" cy="0"/>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5" name="Gerade Verbindung mit Pfeil 64"/>
          <p:cNvCxnSpPr>
            <a:endCxn id="506" idx="0"/>
          </p:cNvCxnSpPr>
          <p:nvPr/>
        </p:nvCxnSpPr>
        <p:spPr bwMode="auto">
          <a:xfrm flipH="1">
            <a:off x="915814" y="3131662"/>
            <a:ext cx="313638" cy="0"/>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99" name="Gruppieren 251"/>
          <p:cNvGrpSpPr/>
          <p:nvPr/>
        </p:nvGrpSpPr>
        <p:grpSpPr>
          <a:xfrm>
            <a:off x="3472224" y="1442763"/>
            <a:ext cx="1046394" cy="1046394"/>
            <a:chOff x="1484623" y="1384386"/>
            <a:chExt cx="1046394" cy="1046394"/>
          </a:xfrm>
        </p:grpSpPr>
        <p:grpSp>
          <p:nvGrpSpPr>
            <p:cNvPr id="501" name="Gruppieren 252"/>
            <p:cNvGrpSpPr/>
            <p:nvPr/>
          </p:nvGrpSpPr>
          <p:grpSpPr>
            <a:xfrm>
              <a:off x="1484623" y="1384386"/>
              <a:ext cx="1046394" cy="1046394"/>
              <a:chOff x="1249679" y="1384386"/>
              <a:chExt cx="1046394" cy="1046394"/>
            </a:xfrm>
          </p:grpSpPr>
          <p:sp>
            <p:nvSpPr>
              <p:cNvPr id="539" name="Ellipse 286"/>
              <p:cNvSpPr/>
              <p:nvPr/>
            </p:nvSpPr>
            <p:spPr bwMode="auto">
              <a:xfrm>
                <a:off x="1249679" y="1384386"/>
                <a:ext cx="1046394" cy="1046394"/>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40" name="Ellipse 287"/>
              <p:cNvSpPr/>
              <p:nvPr/>
            </p:nvSpPr>
            <p:spPr bwMode="auto">
              <a:xfrm flipV="1">
                <a:off x="1317282" y="1454590"/>
                <a:ext cx="915164" cy="915164"/>
              </a:xfrm>
              <a:prstGeom prst="ellipse">
                <a:avLst/>
              </a:prstGeom>
              <a:gradFill flip="none" rotWithShape="1">
                <a:gsLst>
                  <a:gs pos="0">
                    <a:srgbClr val="7030A0"/>
                  </a:gs>
                  <a:gs pos="33500">
                    <a:srgbClr val="B898D0">
                      <a:alpha val="79000"/>
                    </a:srgbClr>
                  </a:gs>
                  <a:gs pos="72000">
                    <a:srgbClr val="FFFFFE">
                      <a:alpha val="0"/>
                      <a:lumMod val="0"/>
                      <a:lumOff val="10000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nvGrpSpPr>
            <p:cNvPr id="502" name="Gruppieren 253"/>
            <p:cNvGrpSpPr/>
            <p:nvPr/>
          </p:nvGrpSpPr>
          <p:grpSpPr>
            <a:xfrm>
              <a:off x="1493990" y="1445270"/>
              <a:ext cx="1033538" cy="939724"/>
              <a:chOff x="386078" y="2179778"/>
              <a:chExt cx="3657046" cy="3325098"/>
            </a:xfrm>
            <a:noFill/>
          </p:grpSpPr>
          <p:sp>
            <p:nvSpPr>
              <p:cNvPr id="503" name="Sechseck 254"/>
              <p:cNvSpPr/>
              <p:nvPr/>
            </p:nvSpPr>
            <p:spPr bwMode="auto">
              <a:xfrm>
                <a:off x="1893455"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08" name="Sechseck 255"/>
              <p:cNvSpPr/>
              <p:nvPr/>
            </p:nvSpPr>
            <p:spPr bwMode="auto">
              <a:xfrm>
                <a:off x="2392220" y="328814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09" name="Sechseck 256"/>
              <p:cNvSpPr/>
              <p:nvPr/>
            </p:nvSpPr>
            <p:spPr bwMode="auto">
              <a:xfrm>
                <a:off x="239222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10" name="Sechseck 257"/>
              <p:cNvSpPr/>
              <p:nvPr/>
            </p:nvSpPr>
            <p:spPr bwMode="auto">
              <a:xfrm>
                <a:off x="1893455"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11" name="Sechseck 258"/>
              <p:cNvSpPr/>
              <p:nvPr/>
            </p:nvSpPr>
            <p:spPr bwMode="auto">
              <a:xfrm>
                <a:off x="139469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12" name="Sechseck 259"/>
              <p:cNvSpPr/>
              <p:nvPr/>
            </p:nvSpPr>
            <p:spPr bwMode="auto">
              <a:xfrm>
                <a:off x="1394690" y="328814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13" name="Sechseck 260"/>
              <p:cNvSpPr/>
              <p:nvPr/>
            </p:nvSpPr>
            <p:spPr bwMode="auto">
              <a:xfrm>
                <a:off x="1893455" y="3565236"/>
                <a:ext cx="642852" cy="554182"/>
              </a:xfrm>
              <a:prstGeom prst="hexagon">
                <a:avLst/>
              </a:prstGeom>
              <a:solidFill>
                <a:srgbClr val="0F0000"/>
              </a:solidFill>
              <a:ln w="38100" cap="flat" cmpd="sng" algn="ctr">
                <a:solidFill>
                  <a:srgbClr val="0070C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14" name="Sechseck 261"/>
              <p:cNvSpPr/>
              <p:nvPr/>
            </p:nvSpPr>
            <p:spPr bwMode="auto">
              <a:xfrm>
                <a:off x="239222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15" name="Sechseck 262"/>
              <p:cNvSpPr/>
              <p:nvPr/>
            </p:nvSpPr>
            <p:spPr bwMode="auto">
              <a:xfrm>
                <a:off x="2897352"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16" name="Sechseck 263"/>
              <p:cNvSpPr/>
              <p:nvPr/>
            </p:nvSpPr>
            <p:spPr bwMode="auto">
              <a:xfrm>
                <a:off x="2897352" y="356523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17" name="Sechseck 264"/>
              <p:cNvSpPr/>
              <p:nvPr/>
            </p:nvSpPr>
            <p:spPr bwMode="auto">
              <a:xfrm>
                <a:off x="2897352"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18" name="Sechseck 265"/>
              <p:cNvSpPr/>
              <p:nvPr/>
            </p:nvSpPr>
            <p:spPr bwMode="auto">
              <a:xfrm>
                <a:off x="2404843"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19" name="Sechseck 266"/>
              <p:cNvSpPr/>
              <p:nvPr/>
            </p:nvSpPr>
            <p:spPr bwMode="auto">
              <a:xfrm>
                <a:off x="1893455"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20" name="Sechseck 267"/>
              <p:cNvSpPr/>
              <p:nvPr/>
            </p:nvSpPr>
            <p:spPr bwMode="auto">
              <a:xfrm>
                <a:off x="1394690"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21" name="Sechseck 268"/>
              <p:cNvSpPr/>
              <p:nvPr/>
            </p:nvSpPr>
            <p:spPr bwMode="auto">
              <a:xfrm>
                <a:off x="888998" y="301408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22" name="Sechseck 269"/>
              <p:cNvSpPr/>
              <p:nvPr/>
            </p:nvSpPr>
            <p:spPr bwMode="auto">
              <a:xfrm>
                <a:off x="888998" y="3568264"/>
                <a:ext cx="642852" cy="554182"/>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23" name="Sechseck 270"/>
              <p:cNvSpPr/>
              <p:nvPr/>
            </p:nvSpPr>
            <p:spPr bwMode="auto">
              <a:xfrm>
                <a:off x="888998" y="4122446"/>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24" name="Sechseck 271"/>
              <p:cNvSpPr/>
              <p:nvPr/>
            </p:nvSpPr>
            <p:spPr bwMode="auto">
              <a:xfrm>
                <a:off x="139469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25" name="Sechseck 272"/>
              <p:cNvSpPr/>
              <p:nvPr/>
            </p:nvSpPr>
            <p:spPr bwMode="auto">
              <a:xfrm>
                <a:off x="1893455"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26" name="Sechseck 273"/>
              <p:cNvSpPr/>
              <p:nvPr/>
            </p:nvSpPr>
            <p:spPr bwMode="auto">
              <a:xfrm>
                <a:off x="2392220" y="217977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27" name="Sechseck 274"/>
              <p:cNvSpPr/>
              <p:nvPr/>
            </p:nvSpPr>
            <p:spPr bwMode="auto">
              <a:xfrm>
                <a:off x="2897352"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28" name="Sechseck 275"/>
              <p:cNvSpPr/>
              <p:nvPr/>
            </p:nvSpPr>
            <p:spPr bwMode="auto">
              <a:xfrm>
                <a:off x="1394690" y="218713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29" name="Sechseck 276"/>
              <p:cNvSpPr/>
              <p:nvPr/>
            </p:nvSpPr>
            <p:spPr bwMode="auto">
              <a:xfrm>
                <a:off x="888998"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30" name="Sechseck 277"/>
              <p:cNvSpPr/>
              <p:nvPr/>
            </p:nvSpPr>
            <p:spPr bwMode="auto">
              <a:xfrm>
                <a:off x="386078" y="329117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31" name="Sechseck 278"/>
              <p:cNvSpPr/>
              <p:nvPr/>
            </p:nvSpPr>
            <p:spPr bwMode="auto">
              <a:xfrm>
                <a:off x="386078" y="384536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32" name="Sechseck 279"/>
              <p:cNvSpPr/>
              <p:nvPr/>
            </p:nvSpPr>
            <p:spPr bwMode="auto">
              <a:xfrm>
                <a:off x="888998"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33" name="Sechseck 280"/>
              <p:cNvSpPr/>
              <p:nvPr/>
            </p:nvSpPr>
            <p:spPr bwMode="auto">
              <a:xfrm>
                <a:off x="1394690" y="495069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34" name="Sechseck 281"/>
              <p:cNvSpPr/>
              <p:nvPr/>
            </p:nvSpPr>
            <p:spPr bwMode="auto">
              <a:xfrm>
                <a:off x="2404843" y="494919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35" name="Sechseck 282"/>
              <p:cNvSpPr/>
              <p:nvPr/>
            </p:nvSpPr>
            <p:spPr bwMode="auto">
              <a:xfrm>
                <a:off x="2897352" y="46736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36" name="Sechseck 283"/>
              <p:cNvSpPr/>
              <p:nvPr/>
            </p:nvSpPr>
            <p:spPr bwMode="auto">
              <a:xfrm>
                <a:off x="3400272" y="384232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37" name="Sechseck 284"/>
              <p:cNvSpPr/>
              <p:nvPr/>
            </p:nvSpPr>
            <p:spPr bwMode="auto">
              <a:xfrm>
                <a:off x="3400272" y="32865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38" name="Sechseck 285"/>
              <p:cNvSpPr/>
              <p:nvPr/>
            </p:nvSpPr>
            <p:spPr bwMode="auto">
              <a:xfrm>
                <a:off x="3400272" y="273092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grpSp>
        <p:nvGrpSpPr>
          <p:cNvPr id="541" name="Gruppieren 288"/>
          <p:cNvGrpSpPr/>
          <p:nvPr/>
        </p:nvGrpSpPr>
        <p:grpSpPr>
          <a:xfrm>
            <a:off x="3659137" y="1442763"/>
            <a:ext cx="1046394" cy="1046394"/>
            <a:chOff x="1484623" y="1384386"/>
            <a:chExt cx="1046394" cy="1046394"/>
          </a:xfrm>
        </p:grpSpPr>
        <p:grpSp>
          <p:nvGrpSpPr>
            <p:cNvPr id="542" name="Gruppieren 289"/>
            <p:cNvGrpSpPr/>
            <p:nvPr/>
          </p:nvGrpSpPr>
          <p:grpSpPr>
            <a:xfrm>
              <a:off x="1484623" y="1384386"/>
              <a:ext cx="1046394" cy="1046394"/>
              <a:chOff x="1249679" y="1384386"/>
              <a:chExt cx="1046394" cy="1046394"/>
            </a:xfrm>
          </p:grpSpPr>
          <p:sp>
            <p:nvSpPr>
              <p:cNvPr id="576" name="Ellipse 323"/>
              <p:cNvSpPr/>
              <p:nvPr/>
            </p:nvSpPr>
            <p:spPr bwMode="auto">
              <a:xfrm>
                <a:off x="1249679" y="1384386"/>
                <a:ext cx="1046394" cy="1046394"/>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77" name="Ellipse 324"/>
              <p:cNvSpPr/>
              <p:nvPr/>
            </p:nvSpPr>
            <p:spPr bwMode="auto">
              <a:xfrm flipV="1">
                <a:off x="1317282" y="1454590"/>
                <a:ext cx="915164" cy="915164"/>
              </a:xfrm>
              <a:prstGeom prst="ellipse">
                <a:avLst/>
              </a:prstGeom>
              <a:gradFill flip="none" rotWithShape="1">
                <a:gsLst>
                  <a:gs pos="0">
                    <a:srgbClr val="7030A0"/>
                  </a:gs>
                  <a:gs pos="33500">
                    <a:srgbClr val="B898D0">
                      <a:alpha val="79000"/>
                    </a:srgbClr>
                  </a:gs>
                  <a:gs pos="72000">
                    <a:srgbClr val="FFFFFE">
                      <a:alpha val="0"/>
                      <a:lumMod val="0"/>
                      <a:lumOff val="10000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nvGrpSpPr>
            <p:cNvPr id="543" name="Gruppieren 290"/>
            <p:cNvGrpSpPr/>
            <p:nvPr/>
          </p:nvGrpSpPr>
          <p:grpSpPr>
            <a:xfrm>
              <a:off x="1493990" y="1445270"/>
              <a:ext cx="1033538" cy="939724"/>
              <a:chOff x="386078" y="2179778"/>
              <a:chExt cx="3657046" cy="3325098"/>
            </a:xfrm>
            <a:noFill/>
          </p:grpSpPr>
          <p:sp>
            <p:nvSpPr>
              <p:cNvPr id="544" name="Sechseck 291"/>
              <p:cNvSpPr/>
              <p:nvPr/>
            </p:nvSpPr>
            <p:spPr bwMode="auto">
              <a:xfrm>
                <a:off x="1893455"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45" name="Sechseck 292"/>
              <p:cNvSpPr/>
              <p:nvPr/>
            </p:nvSpPr>
            <p:spPr bwMode="auto">
              <a:xfrm>
                <a:off x="2392220" y="328814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46" name="Sechseck 293"/>
              <p:cNvSpPr/>
              <p:nvPr/>
            </p:nvSpPr>
            <p:spPr bwMode="auto">
              <a:xfrm>
                <a:off x="239222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47" name="Sechseck 294"/>
              <p:cNvSpPr/>
              <p:nvPr/>
            </p:nvSpPr>
            <p:spPr bwMode="auto">
              <a:xfrm>
                <a:off x="1893455"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48" name="Sechseck 295"/>
              <p:cNvSpPr/>
              <p:nvPr/>
            </p:nvSpPr>
            <p:spPr bwMode="auto">
              <a:xfrm>
                <a:off x="139469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49" name="Sechseck 296"/>
              <p:cNvSpPr/>
              <p:nvPr/>
            </p:nvSpPr>
            <p:spPr bwMode="auto">
              <a:xfrm>
                <a:off x="1394690" y="3288144"/>
                <a:ext cx="642852" cy="554182"/>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50" name="Sechseck 297"/>
              <p:cNvSpPr/>
              <p:nvPr/>
            </p:nvSpPr>
            <p:spPr bwMode="auto">
              <a:xfrm>
                <a:off x="1893455" y="3565236"/>
                <a:ext cx="642852" cy="554182"/>
              </a:xfrm>
              <a:prstGeom prst="hexagon">
                <a:avLst/>
              </a:prstGeom>
              <a:solidFill>
                <a:srgbClr val="0000BE"/>
              </a:solidFill>
              <a:ln w="38100" cap="flat" cmpd="sng" algn="ctr">
                <a:solidFill>
                  <a:srgbClr val="0070C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51" name="Sechseck 298"/>
              <p:cNvSpPr/>
              <p:nvPr/>
            </p:nvSpPr>
            <p:spPr bwMode="auto">
              <a:xfrm>
                <a:off x="239222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52" name="Sechseck 299"/>
              <p:cNvSpPr/>
              <p:nvPr/>
            </p:nvSpPr>
            <p:spPr bwMode="auto">
              <a:xfrm>
                <a:off x="2897352"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53" name="Sechseck 300"/>
              <p:cNvSpPr/>
              <p:nvPr/>
            </p:nvSpPr>
            <p:spPr bwMode="auto">
              <a:xfrm>
                <a:off x="2897352" y="356523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54" name="Sechseck 301"/>
              <p:cNvSpPr/>
              <p:nvPr/>
            </p:nvSpPr>
            <p:spPr bwMode="auto">
              <a:xfrm>
                <a:off x="2897352"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55" name="Sechseck 302"/>
              <p:cNvSpPr/>
              <p:nvPr/>
            </p:nvSpPr>
            <p:spPr bwMode="auto">
              <a:xfrm>
                <a:off x="2404843"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56" name="Sechseck 303"/>
              <p:cNvSpPr/>
              <p:nvPr/>
            </p:nvSpPr>
            <p:spPr bwMode="auto">
              <a:xfrm>
                <a:off x="1893455"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57" name="Sechseck 304"/>
              <p:cNvSpPr/>
              <p:nvPr/>
            </p:nvSpPr>
            <p:spPr bwMode="auto">
              <a:xfrm>
                <a:off x="1394690"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58" name="Sechseck 305"/>
              <p:cNvSpPr/>
              <p:nvPr/>
            </p:nvSpPr>
            <p:spPr bwMode="auto">
              <a:xfrm>
                <a:off x="888998" y="301408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59" name="Sechseck 306"/>
              <p:cNvSpPr/>
              <p:nvPr/>
            </p:nvSpPr>
            <p:spPr bwMode="auto">
              <a:xfrm>
                <a:off x="888998" y="356826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60" name="Sechseck 307"/>
              <p:cNvSpPr/>
              <p:nvPr/>
            </p:nvSpPr>
            <p:spPr bwMode="auto">
              <a:xfrm>
                <a:off x="888998" y="4122446"/>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61" name="Sechseck 308"/>
              <p:cNvSpPr/>
              <p:nvPr/>
            </p:nvSpPr>
            <p:spPr bwMode="auto">
              <a:xfrm>
                <a:off x="139469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62" name="Sechseck 309"/>
              <p:cNvSpPr/>
              <p:nvPr/>
            </p:nvSpPr>
            <p:spPr bwMode="auto">
              <a:xfrm>
                <a:off x="1893455"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63" name="Sechseck 310"/>
              <p:cNvSpPr/>
              <p:nvPr/>
            </p:nvSpPr>
            <p:spPr bwMode="auto">
              <a:xfrm>
                <a:off x="2392220" y="217977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64" name="Sechseck 311"/>
              <p:cNvSpPr/>
              <p:nvPr/>
            </p:nvSpPr>
            <p:spPr bwMode="auto">
              <a:xfrm>
                <a:off x="2897352"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65" name="Sechseck 312"/>
              <p:cNvSpPr/>
              <p:nvPr/>
            </p:nvSpPr>
            <p:spPr bwMode="auto">
              <a:xfrm>
                <a:off x="1394690" y="218713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66" name="Sechseck 313"/>
              <p:cNvSpPr/>
              <p:nvPr/>
            </p:nvSpPr>
            <p:spPr bwMode="auto">
              <a:xfrm>
                <a:off x="888998"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67" name="Sechseck 314"/>
              <p:cNvSpPr/>
              <p:nvPr/>
            </p:nvSpPr>
            <p:spPr bwMode="auto">
              <a:xfrm>
                <a:off x="386078" y="329117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68" name="Sechseck 315"/>
              <p:cNvSpPr/>
              <p:nvPr/>
            </p:nvSpPr>
            <p:spPr bwMode="auto">
              <a:xfrm>
                <a:off x="386078" y="384536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69" name="Sechseck 316"/>
              <p:cNvSpPr/>
              <p:nvPr/>
            </p:nvSpPr>
            <p:spPr bwMode="auto">
              <a:xfrm>
                <a:off x="888998"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70" name="Sechseck 317"/>
              <p:cNvSpPr/>
              <p:nvPr/>
            </p:nvSpPr>
            <p:spPr bwMode="auto">
              <a:xfrm>
                <a:off x="1394690" y="495069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71" name="Sechseck 318"/>
              <p:cNvSpPr/>
              <p:nvPr/>
            </p:nvSpPr>
            <p:spPr bwMode="auto">
              <a:xfrm>
                <a:off x="2404843" y="494919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72" name="Sechseck 319"/>
              <p:cNvSpPr/>
              <p:nvPr/>
            </p:nvSpPr>
            <p:spPr bwMode="auto">
              <a:xfrm>
                <a:off x="2897352" y="46736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73" name="Sechseck 320"/>
              <p:cNvSpPr/>
              <p:nvPr/>
            </p:nvSpPr>
            <p:spPr bwMode="auto">
              <a:xfrm>
                <a:off x="3400272" y="384232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74" name="Sechseck 321"/>
              <p:cNvSpPr/>
              <p:nvPr/>
            </p:nvSpPr>
            <p:spPr bwMode="auto">
              <a:xfrm>
                <a:off x="3400272" y="32865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75" name="Sechseck 322"/>
              <p:cNvSpPr/>
              <p:nvPr/>
            </p:nvSpPr>
            <p:spPr bwMode="auto">
              <a:xfrm>
                <a:off x="3400272" y="273092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grpSp>
        <p:nvGrpSpPr>
          <p:cNvPr id="578" name="Gruppieren 325"/>
          <p:cNvGrpSpPr/>
          <p:nvPr/>
        </p:nvGrpSpPr>
        <p:grpSpPr>
          <a:xfrm>
            <a:off x="3846049" y="1448478"/>
            <a:ext cx="1046394" cy="1046394"/>
            <a:chOff x="1484623" y="1384386"/>
            <a:chExt cx="1046394" cy="1046394"/>
          </a:xfrm>
        </p:grpSpPr>
        <p:grpSp>
          <p:nvGrpSpPr>
            <p:cNvPr id="579" name="Gruppieren 326"/>
            <p:cNvGrpSpPr/>
            <p:nvPr/>
          </p:nvGrpSpPr>
          <p:grpSpPr>
            <a:xfrm>
              <a:off x="1484623" y="1384386"/>
              <a:ext cx="1046394" cy="1046394"/>
              <a:chOff x="1249679" y="1384386"/>
              <a:chExt cx="1046394" cy="1046394"/>
            </a:xfrm>
          </p:grpSpPr>
          <p:sp>
            <p:nvSpPr>
              <p:cNvPr id="613" name="Ellipse 360"/>
              <p:cNvSpPr/>
              <p:nvPr/>
            </p:nvSpPr>
            <p:spPr bwMode="auto">
              <a:xfrm>
                <a:off x="1249679" y="1384386"/>
                <a:ext cx="1046394" cy="1046394"/>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14" name="Ellipse 361"/>
              <p:cNvSpPr/>
              <p:nvPr/>
            </p:nvSpPr>
            <p:spPr bwMode="auto">
              <a:xfrm flipV="1">
                <a:off x="1317282" y="1454590"/>
                <a:ext cx="915164" cy="915164"/>
              </a:xfrm>
              <a:prstGeom prst="ellipse">
                <a:avLst/>
              </a:prstGeom>
              <a:gradFill flip="none" rotWithShape="1">
                <a:gsLst>
                  <a:gs pos="0">
                    <a:srgbClr val="7030A0"/>
                  </a:gs>
                  <a:gs pos="33500">
                    <a:srgbClr val="B898D0">
                      <a:alpha val="79000"/>
                    </a:srgbClr>
                  </a:gs>
                  <a:gs pos="72000">
                    <a:srgbClr val="FFFFFE">
                      <a:alpha val="0"/>
                      <a:lumMod val="0"/>
                      <a:lumOff val="10000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nvGrpSpPr>
            <p:cNvPr id="580" name="Gruppieren 327"/>
            <p:cNvGrpSpPr/>
            <p:nvPr/>
          </p:nvGrpSpPr>
          <p:grpSpPr>
            <a:xfrm>
              <a:off x="1493990" y="1445270"/>
              <a:ext cx="1033538" cy="939724"/>
              <a:chOff x="386078" y="2179778"/>
              <a:chExt cx="3657046" cy="3325098"/>
            </a:xfrm>
            <a:noFill/>
          </p:grpSpPr>
          <p:sp>
            <p:nvSpPr>
              <p:cNvPr id="581" name="Sechseck 328"/>
              <p:cNvSpPr/>
              <p:nvPr/>
            </p:nvSpPr>
            <p:spPr bwMode="auto">
              <a:xfrm>
                <a:off x="1893455"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82" name="Sechseck 329"/>
              <p:cNvSpPr/>
              <p:nvPr/>
            </p:nvSpPr>
            <p:spPr bwMode="auto">
              <a:xfrm>
                <a:off x="2392220" y="328814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83" name="Sechseck 330"/>
              <p:cNvSpPr/>
              <p:nvPr/>
            </p:nvSpPr>
            <p:spPr bwMode="auto">
              <a:xfrm>
                <a:off x="239222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84" name="Sechseck 331"/>
              <p:cNvSpPr/>
              <p:nvPr/>
            </p:nvSpPr>
            <p:spPr bwMode="auto">
              <a:xfrm>
                <a:off x="1893455"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85" name="Sechseck 332"/>
              <p:cNvSpPr/>
              <p:nvPr/>
            </p:nvSpPr>
            <p:spPr bwMode="auto">
              <a:xfrm>
                <a:off x="139469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86" name="Sechseck 333"/>
              <p:cNvSpPr/>
              <p:nvPr/>
            </p:nvSpPr>
            <p:spPr bwMode="auto">
              <a:xfrm>
                <a:off x="1394690" y="328814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87" name="Sechseck 334"/>
              <p:cNvSpPr/>
              <p:nvPr/>
            </p:nvSpPr>
            <p:spPr bwMode="auto">
              <a:xfrm>
                <a:off x="1893455" y="3565236"/>
                <a:ext cx="642852" cy="554182"/>
              </a:xfrm>
              <a:prstGeom prst="hexagon">
                <a:avLst/>
              </a:prstGeom>
              <a:solidFill>
                <a:srgbClr val="33CCFF"/>
              </a:solidFill>
              <a:ln w="38100" cap="flat" cmpd="sng" algn="ctr">
                <a:solidFill>
                  <a:srgbClr val="0070C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88" name="Sechseck 335"/>
              <p:cNvSpPr/>
              <p:nvPr/>
            </p:nvSpPr>
            <p:spPr bwMode="auto">
              <a:xfrm>
                <a:off x="239222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89" name="Sechseck 336"/>
              <p:cNvSpPr/>
              <p:nvPr/>
            </p:nvSpPr>
            <p:spPr bwMode="auto">
              <a:xfrm>
                <a:off x="2897352"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90" name="Sechseck 337"/>
              <p:cNvSpPr/>
              <p:nvPr/>
            </p:nvSpPr>
            <p:spPr bwMode="auto">
              <a:xfrm>
                <a:off x="2897352" y="356523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91" name="Sechseck 338"/>
              <p:cNvSpPr/>
              <p:nvPr/>
            </p:nvSpPr>
            <p:spPr bwMode="auto">
              <a:xfrm>
                <a:off x="2897352"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92" name="Sechseck 339"/>
              <p:cNvSpPr/>
              <p:nvPr/>
            </p:nvSpPr>
            <p:spPr bwMode="auto">
              <a:xfrm>
                <a:off x="2404843"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93" name="Sechseck 340"/>
              <p:cNvSpPr/>
              <p:nvPr/>
            </p:nvSpPr>
            <p:spPr bwMode="auto">
              <a:xfrm>
                <a:off x="1893455"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94" name="Sechseck 341"/>
              <p:cNvSpPr/>
              <p:nvPr/>
            </p:nvSpPr>
            <p:spPr bwMode="auto">
              <a:xfrm>
                <a:off x="1394690"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95" name="Sechseck 342"/>
              <p:cNvSpPr/>
              <p:nvPr/>
            </p:nvSpPr>
            <p:spPr bwMode="auto">
              <a:xfrm>
                <a:off x="888998" y="301408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96" name="Sechseck 343"/>
              <p:cNvSpPr/>
              <p:nvPr/>
            </p:nvSpPr>
            <p:spPr bwMode="auto">
              <a:xfrm>
                <a:off x="888998" y="356826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97" name="Sechseck 344"/>
              <p:cNvSpPr/>
              <p:nvPr/>
            </p:nvSpPr>
            <p:spPr bwMode="auto">
              <a:xfrm>
                <a:off x="888998" y="4122446"/>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98" name="Sechseck 345"/>
              <p:cNvSpPr/>
              <p:nvPr/>
            </p:nvSpPr>
            <p:spPr bwMode="auto">
              <a:xfrm>
                <a:off x="139469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99" name="Sechseck 346"/>
              <p:cNvSpPr/>
              <p:nvPr/>
            </p:nvSpPr>
            <p:spPr bwMode="auto">
              <a:xfrm>
                <a:off x="1893455"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00" name="Sechseck 347"/>
              <p:cNvSpPr/>
              <p:nvPr/>
            </p:nvSpPr>
            <p:spPr bwMode="auto">
              <a:xfrm>
                <a:off x="2392220" y="217977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01" name="Sechseck 348"/>
              <p:cNvSpPr/>
              <p:nvPr/>
            </p:nvSpPr>
            <p:spPr bwMode="auto">
              <a:xfrm>
                <a:off x="2897352"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02" name="Sechseck 349"/>
              <p:cNvSpPr/>
              <p:nvPr/>
            </p:nvSpPr>
            <p:spPr bwMode="auto">
              <a:xfrm>
                <a:off x="1394690" y="218713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03" name="Sechseck 350"/>
              <p:cNvSpPr/>
              <p:nvPr/>
            </p:nvSpPr>
            <p:spPr bwMode="auto">
              <a:xfrm>
                <a:off x="888998"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04" name="Sechseck 351"/>
              <p:cNvSpPr/>
              <p:nvPr/>
            </p:nvSpPr>
            <p:spPr bwMode="auto">
              <a:xfrm>
                <a:off x="386078" y="329117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05" name="Sechseck 352"/>
              <p:cNvSpPr/>
              <p:nvPr/>
            </p:nvSpPr>
            <p:spPr bwMode="auto">
              <a:xfrm>
                <a:off x="386078" y="384536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06" name="Sechseck 353"/>
              <p:cNvSpPr/>
              <p:nvPr/>
            </p:nvSpPr>
            <p:spPr bwMode="auto">
              <a:xfrm>
                <a:off x="888998"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07" name="Sechseck 354"/>
              <p:cNvSpPr/>
              <p:nvPr/>
            </p:nvSpPr>
            <p:spPr bwMode="auto">
              <a:xfrm>
                <a:off x="1394690" y="495069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08" name="Sechseck 355"/>
              <p:cNvSpPr/>
              <p:nvPr/>
            </p:nvSpPr>
            <p:spPr bwMode="auto">
              <a:xfrm>
                <a:off x="2404843" y="494919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09" name="Sechseck 356"/>
              <p:cNvSpPr/>
              <p:nvPr/>
            </p:nvSpPr>
            <p:spPr bwMode="auto">
              <a:xfrm>
                <a:off x="2897352" y="46736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10" name="Sechseck 357"/>
              <p:cNvSpPr/>
              <p:nvPr/>
            </p:nvSpPr>
            <p:spPr bwMode="auto">
              <a:xfrm>
                <a:off x="3400272" y="384232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11" name="Sechseck 358"/>
              <p:cNvSpPr/>
              <p:nvPr/>
            </p:nvSpPr>
            <p:spPr bwMode="auto">
              <a:xfrm>
                <a:off x="3400272" y="32865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12" name="Sechseck 359"/>
              <p:cNvSpPr/>
              <p:nvPr/>
            </p:nvSpPr>
            <p:spPr bwMode="auto">
              <a:xfrm>
                <a:off x="3400272" y="273092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grpSp>
        <p:nvGrpSpPr>
          <p:cNvPr id="615" name="Gruppieren 362"/>
          <p:cNvGrpSpPr/>
          <p:nvPr/>
        </p:nvGrpSpPr>
        <p:grpSpPr>
          <a:xfrm>
            <a:off x="4032962" y="1448573"/>
            <a:ext cx="1046394" cy="1046394"/>
            <a:chOff x="1484623" y="1384386"/>
            <a:chExt cx="1046394" cy="1046394"/>
          </a:xfrm>
        </p:grpSpPr>
        <p:grpSp>
          <p:nvGrpSpPr>
            <p:cNvPr id="616" name="Gruppieren 363"/>
            <p:cNvGrpSpPr/>
            <p:nvPr/>
          </p:nvGrpSpPr>
          <p:grpSpPr>
            <a:xfrm>
              <a:off x="1484623" y="1384386"/>
              <a:ext cx="1046394" cy="1046394"/>
              <a:chOff x="1249679" y="1384386"/>
              <a:chExt cx="1046394" cy="1046394"/>
            </a:xfrm>
          </p:grpSpPr>
          <p:sp>
            <p:nvSpPr>
              <p:cNvPr id="650" name="Ellipse 397"/>
              <p:cNvSpPr/>
              <p:nvPr/>
            </p:nvSpPr>
            <p:spPr bwMode="auto">
              <a:xfrm>
                <a:off x="1249679" y="1384386"/>
                <a:ext cx="1046394" cy="1046394"/>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51" name="Ellipse 398"/>
              <p:cNvSpPr/>
              <p:nvPr/>
            </p:nvSpPr>
            <p:spPr bwMode="auto">
              <a:xfrm flipV="1">
                <a:off x="1317282" y="1454590"/>
                <a:ext cx="915164" cy="915164"/>
              </a:xfrm>
              <a:prstGeom prst="ellipse">
                <a:avLst/>
              </a:prstGeom>
              <a:gradFill flip="none" rotWithShape="1">
                <a:gsLst>
                  <a:gs pos="0">
                    <a:srgbClr val="7030A0"/>
                  </a:gs>
                  <a:gs pos="33500">
                    <a:srgbClr val="B898D0">
                      <a:alpha val="79000"/>
                    </a:srgbClr>
                  </a:gs>
                  <a:gs pos="72000">
                    <a:srgbClr val="FFFFFE">
                      <a:alpha val="0"/>
                      <a:lumMod val="0"/>
                      <a:lumOff val="10000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nvGrpSpPr>
            <p:cNvPr id="617" name="Gruppieren 364"/>
            <p:cNvGrpSpPr/>
            <p:nvPr/>
          </p:nvGrpSpPr>
          <p:grpSpPr>
            <a:xfrm>
              <a:off x="1493990" y="1445270"/>
              <a:ext cx="1033538" cy="939724"/>
              <a:chOff x="386078" y="2179778"/>
              <a:chExt cx="3657046" cy="3325098"/>
            </a:xfrm>
            <a:noFill/>
          </p:grpSpPr>
          <p:sp>
            <p:nvSpPr>
              <p:cNvPr id="618" name="Sechseck 365"/>
              <p:cNvSpPr/>
              <p:nvPr/>
            </p:nvSpPr>
            <p:spPr bwMode="auto">
              <a:xfrm>
                <a:off x="1893455"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19" name="Sechseck 366"/>
              <p:cNvSpPr/>
              <p:nvPr/>
            </p:nvSpPr>
            <p:spPr bwMode="auto">
              <a:xfrm>
                <a:off x="2392220" y="3288142"/>
                <a:ext cx="642852" cy="554182"/>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20" name="Sechseck 367"/>
              <p:cNvSpPr/>
              <p:nvPr/>
            </p:nvSpPr>
            <p:spPr bwMode="auto">
              <a:xfrm>
                <a:off x="239222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21" name="Sechseck 368"/>
              <p:cNvSpPr/>
              <p:nvPr/>
            </p:nvSpPr>
            <p:spPr bwMode="auto">
              <a:xfrm>
                <a:off x="1893455"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22" name="Sechseck 369"/>
              <p:cNvSpPr/>
              <p:nvPr/>
            </p:nvSpPr>
            <p:spPr bwMode="auto">
              <a:xfrm>
                <a:off x="139469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23" name="Sechseck 370"/>
              <p:cNvSpPr/>
              <p:nvPr/>
            </p:nvSpPr>
            <p:spPr bwMode="auto">
              <a:xfrm>
                <a:off x="1394690" y="328814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24" name="Sechseck 371"/>
              <p:cNvSpPr/>
              <p:nvPr/>
            </p:nvSpPr>
            <p:spPr bwMode="auto">
              <a:xfrm>
                <a:off x="1893455" y="3565236"/>
                <a:ext cx="642852" cy="554182"/>
              </a:xfrm>
              <a:prstGeom prst="hexagon">
                <a:avLst/>
              </a:prstGeom>
              <a:solidFill>
                <a:srgbClr val="0000BE"/>
              </a:solidFill>
              <a:ln w="38100"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25" name="Sechseck 372"/>
              <p:cNvSpPr/>
              <p:nvPr/>
            </p:nvSpPr>
            <p:spPr bwMode="auto">
              <a:xfrm>
                <a:off x="239222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26" name="Sechseck 373"/>
              <p:cNvSpPr/>
              <p:nvPr/>
            </p:nvSpPr>
            <p:spPr bwMode="auto">
              <a:xfrm>
                <a:off x="2897352"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27" name="Sechseck 374"/>
              <p:cNvSpPr/>
              <p:nvPr/>
            </p:nvSpPr>
            <p:spPr bwMode="auto">
              <a:xfrm>
                <a:off x="2897352" y="356523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28" name="Sechseck 375"/>
              <p:cNvSpPr/>
              <p:nvPr/>
            </p:nvSpPr>
            <p:spPr bwMode="auto">
              <a:xfrm>
                <a:off x="2897352"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29" name="Sechseck 376"/>
              <p:cNvSpPr/>
              <p:nvPr/>
            </p:nvSpPr>
            <p:spPr bwMode="auto">
              <a:xfrm>
                <a:off x="2404843"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30" name="Sechseck 377"/>
              <p:cNvSpPr/>
              <p:nvPr/>
            </p:nvSpPr>
            <p:spPr bwMode="auto">
              <a:xfrm>
                <a:off x="1893455"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31" name="Sechseck 378"/>
              <p:cNvSpPr/>
              <p:nvPr/>
            </p:nvSpPr>
            <p:spPr bwMode="auto">
              <a:xfrm>
                <a:off x="1394690"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32" name="Sechseck 379"/>
              <p:cNvSpPr/>
              <p:nvPr/>
            </p:nvSpPr>
            <p:spPr bwMode="auto">
              <a:xfrm>
                <a:off x="888998" y="301408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33" name="Sechseck 380"/>
              <p:cNvSpPr/>
              <p:nvPr/>
            </p:nvSpPr>
            <p:spPr bwMode="auto">
              <a:xfrm>
                <a:off x="888998" y="356826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34" name="Sechseck 381"/>
              <p:cNvSpPr/>
              <p:nvPr/>
            </p:nvSpPr>
            <p:spPr bwMode="auto">
              <a:xfrm>
                <a:off x="888998" y="4122446"/>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35" name="Sechseck 382"/>
              <p:cNvSpPr/>
              <p:nvPr/>
            </p:nvSpPr>
            <p:spPr bwMode="auto">
              <a:xfrm>
                <a:off x="139469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36" name="Sechseck 383"/>
              <p:cNvSpPr/>
              <p:nvPr/>
            </p:nvSpPr>
            <p:spPr bwMode="auto">
              <a:xfrm>
                <a:off x="1893455"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37" name="Sechseck 384"/>
              <p:cNvSpPr/>
              <p:nvPr/>
            </p:nvSpPr>
            <p:spPr bwMode="auto">
              <a:xfrm>
                <a:off x="2392220" y="217977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38" name="Sechseck 385"/>
              <p:cNvSpPr/>
              <p:nvPr/>
            </p:nvSpPr>
            <p:spPr bwMode="auto">
              <a:xfrm>
                <a:off x="2897352"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39" name="Sechseck 386"/>
              <p:cNvSpPr/>
              <p:nvPr/>
            </p:nvSpPr>
            <p:spPr bwMode="auto">
              <a:xfrm>
                <a:off x="1394690" y="218713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40" name="Sechseck 387"/>
              <p:cNvSpPr/>
              <p:nvPr/>
            </p:nvSpPr>
            <p:spPr bwMode="auto">
              <a:xfrm>
                <a:off x="888998"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41" name="Sechseck 388"/>
              <p:cNvSpPr/>
              <p:nvPr/>
            </p:nvSpPr>
            <p:spPr bwMode="auto">
              <a:xfrm>
                <a:off x="386078" y="329117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42" name="Sechseck 389"/>
              <p:cNvSpPr/>
              <p:nvPr/>
            </p:nvSpPr>
            <p:spPr bwMode="auto">
              <a:xfrm>
                <a:off x="386078" y="384536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43" name="Sechseck 390"/>
              <p:cNvSpPr/>
              <p:nvPr/>
            </p:nvSpPr>
            <p:spPr bwMode="auto">
              <a:xfrm>
                <a:off x="888998"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44" name="Sechseck 391"/>
              <p:cNvSpPr/>
              <p:nvPr/>
            </p:nvSpPr>
            <p:spPr bwMode="auto">
              <a:xfrm>
                <a:off x="1394690" y="495069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45" name="Sechseck 392"/>
              <p:cNvSpPr/>
              <p:nvPr/>
            </p:nvSpPr>
            <p:spPr bwMode="auto">
              <a:xfrm>
                <a:off x="2404843" y="494919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46" name="Sechseck 393"/>
              <p:cNvSpPr/>
              <p:nvPr/>
            </p:nvSpPr>
            <p:spPr bwMode="auto">
              <a:xfrm>
                <a:off x="2897352" y="46736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47" name="Sechseck 394"/>
              <p:cNvSpPr/>
              <p:nvPr/>
            </p:nvSpPr>
            <p:spPr bwMode="auto">
              <a:xfrm>
                <a:off x="3400272" y="384232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48" name="Sechseck 395"/>
              <p:cNvSpPr/>
              <p:nvPr/>
            </p:nvSpPr>
            <p:spPr bwMode="auto">
              <a:xfrm>
                <a:off x="3400272" y="32865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49" name="Sechseck 396"/>
              <p:cNvSpPr/>
              <p:nvPr/>
            </p:nvSpPr>
            <p:spPr bwMode="auto">
              <a:xfrm>
                <a:off x="3400272" y="273092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grpSp>
        <p:nvGrpSpPr>
          <p:cNvPr id="652" name="Gruppieren 399"/>
          <p:cNvGrpSpPr/>
          <p:nvPr/>
        </p:nvGrpSpPr>
        <p:grpSpPr>
          <a:xfrm>
            <a:off x="4219874" y="1444668"/>
            <a:ext cx="1046394" cy="1046394"/>
            <a:chOff x="1484623" y="1384386"/>
            <a:chExt cx="1046394" cy="1046394"/>
          </a:xfrm>
        </p:grpSpPr>
        <p:grpSp>
          <p:nvGrpSpPr>
            <p:cNvPr id="653" name="Gruppieren 400"/>
            <p:cNvGrpSpPr/>
            <p:nvPr/>
          </p:nvGrpSpPr>
          <p:grpSpPr>
            <a:xfrm>
              <a:off x="1484623" y="1384386"/>
              <a:ext cx="1046394" cy="1046394"/>
              <a:chOff x="1249679" y="1384386"/>
              <a:chExt cx="1046394" cy="1046394"/>
            </a:xfrm>
          </p:grpSpPr>
          <p:sp>
            <p:nvSpPr>
              <p:cNvPr id="687" name="Ellipse 434"/>
              <p:cNvSpPr/>
              <p:nvPr/>
            </p:nvSpPr>
            <p:spPr bwMode="auto">
              <a:xfrm>
                <a:off x="1249679" y="1384386"/>
                <a:ext cx="1046394" cy="1046394"/>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88" name="Ellipse 435"/>
              <p:cNvSpPr/>
              <p:nvPr/>
            </p:nvSpPr>
            <p:spPr bwMode="auto">
              <a:xfrm flipV="1">
                <a:off x="1317282" y="1454590"/>
                <a:ext cx="915164" cy="915164"/>
              </a:xfrm>
              <a:prstGeom prst="ellipse">
                <a:avLst/>
              </a:prstGeom>
              <a:gradFill flip="none" rotWithShape="1">
                <a:gsLst>
                  <a:gs pos="0">
                    <a:srgbClr val="7030A0"/>
                  </a:gs>
                  <a:gs pos="33500">
                    <a:srgbClr val="B898D0">
                      <a:alpha val="79000"/>
                    </a:srgbClr>
                  </a:gs>
                  <a:gs pos="72000">
                    <a:srgbClr val="FFFFFE">
                      <a:alpha val="0"/>
                      <a:lumMod val="0"/>
                      <a:lumOff val="10000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nvGrpSpPr>
            <p:cNvPr id="654" name="Gruppieren 401"/>
            <p:cNvGrpSpPr/>
            <p:nvPr/>
          </p:nvGrpSpPr>
          <p:grpSpPr>
            <a:xfrm>
              <a:off x="1493990" y="1445270"/>
              <a:ext cx="1033538" cy="939724"/>
              <a:chOff x="386078" y="2179778"/>
              <a:chExt cx="3657046" cy="3325098"/>
            </a:xfrm>
            <a:noFill/>
          </p:grpSpPr>
          <p:sp>
            <p:nvSpPr>
              <p:cNvPr id="655" name="Sechseck 402"/>
              <p:cNvSpPr/>
              <p:nvPr/>
            </p:nvSpPr>
            <p:spPr bwMode="auto">
              <a:xfrm>
                <a:off x="1893455"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56" name="Sechseck 403"/>
              <p:cNvSpPr/>
              <p:nvPr/>
            </p:nvSpPr>
            <p:spPr bwMode="auto">
              <a:xfrm>
                <a:off x="2392220" y="328814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57" name="Sechseck 404"/>
              <p:cNvSpPr/>
              <p:nvPr/>
            </p:nvSpPr>
            <p:spPr bwMode="auto">
              <a:xfrm>
                <a:off x="239222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58" name="Sechseck 405"/>
              <p:cNvSpPr/>
              <p:nvPr/>
            </p:nvSpPr>
            <p:spPr bwMode="auto">
              <a:xfrm>
                <a:off x="1893455"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59" name="Sechseck 406"/>
              <p:cNvSpPr/>
              <p:nvPr/>
            </p:nvSpPr>
            <p:spPr bwMode="auto">
              <a:xfrm>
                <a:off x="139469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60" name="Sechseck 407"/>
              <p:cNvSpPr/>
              <p:nvPr/>
            </p:nvSpPr>
            <p:spPr bwMode="auto">
              <a:xfrm>
                <a:off x="1394690" y="328814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61" name="Sechseck 408"/>
              <p:cNvSpPr/>
              <p:nvPr/>
            </p:nvSpPr>
            <p:spPr bwMode="auto">
              <a:xfrm>
                <a:off x="1893455" y="3565236"/>
                <a:ext cx="642852" cy="554182"/>
              </a:xfrm>
              <a:prstGeom prst="hexagon">
                <a:avLst/>
              </a:prstGeom>
              <a:solidFill>
                <a:schemeClr val="tx1"/>
              </a:solidFill>
              <a:ln w="38100" cap="flat" cmpd="sng" algn="ctr">
                <a:solidFill>
                  <a:srgbClr val="0070C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62" name="Sechseck 409"/>
              <p:cNvSpPr/>
              <p:nvPr/>
            </p:nvSpPr>
            <p:spPr bwMode="auto">
              <a:xfrm>
                <a:off x="239222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63" name="Sechseck 410"/>
              <p:cNvSpPr/>
              <p:nvPr/>
            </p:nvSpPr>
            <p:spPr bwMode="auto">
              <a:xfrm>
                <a:off x="2897352"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64" name="Sechseck 411"/>
              <p:cNvSpPr/>
              <p:nvPr/>
            </p:nvSpPr>
            <p:spPr bwMode="auto">
              <a:xfrm>
                <a:off x="2897352" y="3565239"/>
                <a:ext cx="642852" cy="554182"/>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65" name="Sechseck 412"/>
              <p:cNvSpPr/>
              <p:nvPr/>
            </p:nvSpPr>
            <p:spPr bwMode="auto">
              <a:xfrm>
                <a:off x="2897352"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66" name="Sechseck 413"/>
              <p:cNvSpPr/>
              <p:nvPr/>
            </p:nvSpPr>
            <p:spPr bwMode="auto">
              <a:xfrm>
                <a:off x="2404843"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67" name="Sechseck 414"/>
              <p:cNvSpPr/>
              <p:nvPr/>
            </p:nvSpPr>
            <p:spPr bwMode="auto">
              <a:xfrm>
                <a:off x="1893455"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68" name="Sechseck 415"/>
              <p:cNvSpPr/>
              <p:nvPr/>
            </p:nvSpPr>
            <p:spPr bwMode="auto">
              <a:xfrm>
                <a:off x="1394690"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69" name="Sechseck 416"/>
              <p:cNvSpPr/>
              <p:nvPr/>
            </p:nvSpPr>
            <p:spPr bwMode="auto">
              <a:xfrm>
                <a:off x="888998" y="301408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70" name="Sechseck 417"/>
              <p:cNvSpPr/>
              <p:nvPr/>
            </p:nvSpPr>
            <p:spPr bwMode="auto">
              <a:xfrm>
                <a:off x="888998" y="356826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71" name="Sechseck 418"/>
              <p:cNvSpPr/>
              <p:nvPr/>
            </p:nvSpPr>
            <p:spPr bwMode="auto">
              <a:xfrm>
                <a:off x="888998" y="4122446"/>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72" name="Sechseck 419"/>
              <p:cNvSpPr/>
              <p:nvPr/>
            </p:nvSpPr>
            <p:spPr bwMode="auto">
              <a:xfrm>
                <a:off x="139469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73" name="Sechseck 420"/>
              <p:cNvSpPr/>
              <p:nvPr/>
            </p:nvSpPr>
            <p:spPr bwMode="auto">
              <a:xfrm>
                <a:off x="1893455"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74" name="Sechseck 421"/>
              <p:cNvSpPr/>
              <p:nvPr/>
            </p:nvSpPr>
            <p:spPr bwMode="auto">
              <a:xfrm>
                <a:off x="2392220" y="217977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75" name="Sechseck 422"/>
              <p:cNvSpPr/>
              <p:nvPr/>
            </p:nvSpPr>
            <p:spPr bwMode="auto">
              <a:xfrm>
                <a:off x="2897352"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76" name="Sechseck 423"/>
              <p:cNvSpPr/>
              <p:nvPr/>
            </p:nvSpPr>
            <p:spPr bwMode="auto">
              <a:xfrm>
                <a:off x="1394690" y="218713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77" name="Sechseck 424"/>
              <p:cNvSpPr/>
              <p:nvPr/>
            </p:nvSpPr>
            <p:spPr bwMode="auto">
              <a:xfrm>
                <a:off x="888998"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78" name="Sechseck 425"/>
              <p:cNvSpPr/>
              <p:nvPr/>
            </p:nvSpPr>
            <p:spPr bwMode="auto">
              <a:xfrm>
                <a:off x="386078" y="329117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79" name="Sechseck 426"/>
              <p:cNvSpPr/>
              <p:nvPr/>
            </p:nvSpPr>
            <p:spPr bwMode="auto">
              <a:xfrm>
                <a:off x="386078" y="384536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80" name="Sechseck 427"/>
              <p:cNvSpPr/>
              <p:nvPr/>
            </p:nvSpPr>
            <p:spPr bwMode="auto">
              <a:xfrm>
                <a:off x="888998"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81" name="Sechseck 428"/>
              <p:cNvSpPr/>
              <p:nvPr/>
            </p:nvSpPr>
            <p:spPr bwMode="auto">
              <a:xfrm>
                <a:off x="1394690" y="495069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82" name="Sechseck 429"/>
              <p:cNvSpPr/>
              <p:nvPr/>
            </p:nvSpPr>
            <p:spPr bwMode="auto">
              <a:xfrm>
                <a:off x="2404843" y="494919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83" name="Sechseck 430"/>
              <p:cNvSpPr/>
              <p:nvPr/>
            </p:nvSpPr>
            <p:spPr bwMode="auto">
              <a:xfrm>
                <a:off x="2897352" y="46736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84" name="Sechseck 431"/>
              <p:cNvSpPr/>
              <p:nvPr/>
            </p:nvSpPr>
            <p:spPr bwMode="auto">
              <a:xfrm>
                <a:off x="3400272" y="384232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85" name="Sechseck 432"/>
              <p:cNvSpPr/>
              <p:nvPr/>
            </p:nvSpPr>
            <p:spPr bwMode="auto">
              <a:xfrm>
                <a:off x="3400272" y="32865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86" name="Sechseck 433"/>
              <p:cNvSpPr/>
              <p:nvPr/>
            </p:nvSpPr>
            <p:spPr bwMode="auto">
              <a:xfrm>
                <a:off x="3400272" y="273092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grpSp>
        <p:nvGrpSpPr>
          <p:cNvPr id="689" name="Gruppieren 436"/>
          <p:cNvGrpSpPr/>
          <p:nvPr/>
        </p:nvGrpSpPr>
        <p:grpSpPr>
          <a:xfrm>
            <a:off x="4406786" y="1444668"/>
            <a:ext cx="1046394" cy="1046394"/>
            <a:chOff x="1484623" y="1384386"/>
            <a:chExt cx="1046394" cy="1046394"/>
          </a:xfrm>
        </p:grpSpPr>
        <p:grpSp>
          <p:nvGrpSpPr>
            <p:cNvPr id="690" name="Gruppieren 437"/>
            <p:cNvGrpSpPr/>
            <p:nvPr/>
          </p:nvGrpSpPr>
          <p:grpSpPr>
            <a:xfrm>
              <a:off x="1484623" y="1384386"/>
              <a:ext cx="1046394" cy="1046394"/>
              <a:chOff x="1249679" y="1384386"/>
              <a:chExt cx="1046394" cy="1046394"/>
            </a:xfrm>
          </p:grpSpPr>
          <p:sp>
            <p:nvSpPr>
              <p:cNvPr id="724" name="Ellipse 471"/>
              <p:cNvSpPr/>
              <p:nvPr/>
            </p:nvSpPr>
            <p:spPr bwMode="auto">
              <a:xfrm>
                <a:off x="1249679" y="1384386"/>
                <a:ext cx="1046394" cy="1046394"/>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25" name="Ellipse 472"/>
              <p:cNvSpPr/>
              <p:nvPr/>
            </p:nvSpPr>
            <p:spPr bwMode="auto">
              <a:xfrm flipV="1">
                <a:off x="1317282" y="1454590"/>
                <a:ext cx="915164" cy="915164"/>
              </a:xfrm>
              <a:prstGeom prst="ellipse">
                <a:avLst/>
              </a:prstGeom>
              <a:gradFill flip="none" rotWithShape="1">
                <a:gsLst>
                  <a:gs pos="0">
                    <a:srgbClr val="7030A0"/>
                  </a:gs>
                  <a:gs pos="33500">
                    <a:srgbClr val="B898D0">
                      <a:alpha val="79000"/>
                    </a:srgbClr>
                  </a:gs>
                  <a:gs pos="72000">
                    <a:srgbClr val="FFFFFE">
                      <a:alpha val="0"/>
                      <a:lumMod val="0"/>
                      <a:lumOff val="10000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nvGrpSpPr>
            <p:cNvPr id="691" name="Gruppieren 438"/>
            <p:cNvGrpSpPr/>
            <p:nvPr/>
          </p:nvGrpSpPr>
          <p:grpSpPr>
            <a:xfrm>
              <a:off x="1493990" y="1445270"/>
              <a:ext cx="1033538" cy="939724"/>
              <a:chOff x="386078" y="2179778"/>
              <a:chExt cx="3657046" cy="3325098"/>
            </a:xfrm>
            <a:noFill/>
          </p:grpSpPr>
          <p:sp>
            <p:nvSpPr>
              <p:cNvPr id="692" name="Sechseck 439"/>
              <p:cNvSpPr/>
              <p:nvPr/>
            </p:nvSpPr>
            <p:spPr bwMode="auto">
              <a:xfrm>
                <a:off x="1893455"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93" name="Sechseck 440"/>
              <p:cNvSpPr/>
              <p:nvPr/>
            </p:nvSpPr>
            <p:spPr bwMode="auto">
              <a:xfrm>
                <a:off x="2392220" y="328814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94" name="Sechseck 441"/>
              <p:cNvSpPr/>
              <p:nvPr/>
            </p:nvSpPr>
            <p:spPr bwMode="auto">
              <a:xfrm>
                <a:off x="239222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95" name="Sechseck 442"/>
              <p:cNvSpPr/>
              <p:nvPr/>
            </p:nvSpPr>
            <p:spPr bwMode="auto">
              <a:xfrm>
                <a:off x="1893455"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96" name="Sechseck 443"/>
              <p:cNvSpPr/>
              <p:nvPr/>
            </p:nvSpPr>
            <p:spPr bwMode="auto">
              <a:xfrm>
                <a:off x="139469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97" name="Sechseck 444"/>
              <p:cNvSpPr/>
              <p:nvPr/>
            </p:nvSpPr>
            <p:spPr bwMode="auto">
              <a:xfrm>
                <a:off x="1394690" y="328814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98" name="Sechseck 445"/>
              <p:cNvSpPr/>
              <p:nvPr/>
            </p:nvSpPr>
            <p:spPr bwMode="auto">
              <a:xfrm>
                <a:off x="1893455" y="3565236"/>
                <a:ext cx="642852" cy="554182"/>
              </a:xfrm>
              <a:prstGeom prst="hexagon">
                <a:avLst/>
              </a:prstGeom>
              <a:solidFill>
                <a:schemeClr val="tx1"/>
              </a:solidFill>
              <a:ln w="38100" cap="flat" cmpd="sng" algn="ctr">
                <a:solidFill>
                  <a:srgbClr val="0070C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699" name="Sechseck 446"/>
              <p:cNvSpPr/>
              <p:nvPr/>
            </p:nvSpPr>
            <p:spPr bwMode="auto">
              <a:xfrm>
                <a:off x="239222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00" name="Sechseck 447"/>
              <p:cNvSpPr/>
              <p:nvPr/>
            </p:nvSpPr>
            <p:spPr bwMode="auto">
              <a:xfrm>
                <a:off x="2897352"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01" name="Sechseck 448"/>
              <p:cNvSpPr/>
              <p:nvPr/>
            </p:nvSpPr>
            <p:spPr bwMode="auto">
              <a:xfrm>
                <a:off x="2897352" y="356523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02" name="Sechseck 449"/>
              <p:cNvSpPr/>
              <p:nvPr/>
            </p:nvSpPr>
            <p:spPr bwMode="auto">
              <a:xfrm>
                <a:off x="2897352"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03" name="Sechseck 450"/>
              <p:cNvSpPr/>
              <p:nvPr/>
            </p:nvSpPr>
            <p:spPr bwMode="auto">
              <a:xfrm>
                <a:off x="2404843"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04" name="Sechseck 451"/>
              <p:cNvSpPr/>
              <p:nvPr/>
            </p:nvSpPr>
            <p:spPr bwMode="auto">
              <a:xfrm>
                <a:off x="1893455"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05" name="Sechseck 452"/>
              <p:cNvSpPr/>
              <p:nvPr/>
            </p:nvSpPr>
            <p:spPr bwMode="auto">
              <a:xfrm>
                <a:off x="1394690"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06" name="Sechseck 453"/>
              <p:cNvSpPr/>
              <p:nvPr/>
            </p:nvSpPr>
            <p:spPr bwMode="auto">
              <a:xfrm>
                <a:off x="888998" y="301408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07" name="Sechseck 454"/>
              <p:cNvSpPr/>
              <p:nvPr/>
            </p:nvSpPr>
            <p:spPr bwMode="auto">
              <a:xfrm>
                <a:off x="888998" y="356826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08" name="Sechseck 455"/>
              <p:cNvSpPr/>
              <p:nvPr/>
            </p:nvSpPr>
            <p:spPr bwMode="auto">
              <a:xfrm>
                <a:off x="888998" y="4122446"/>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09" name="Sechseck 456"/>
              <p:cNvSpPr/>
              <p:nvPr/>
            </p:nvSpPr>
            <p:spPr bwMode="auto">
              <a:xfrm>
                <a:off x="139469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10" name="Sechseck 457"/>
              <p:cNvSpPr/>
              <p:nvPr/>
            </p:nvSpPr>
            <p:spPr bwMode="auto">
              <a:xfrm>
                <a:off x="1893455"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11" name="Sechseck 458"/>
              <p:cNvSpPr/>
              <p:nvPr/>
            </p:nvSpPr>
            <p:spPr bwMode="auto">
              <a:xfrm>
                <a:off x="2392220" y="217977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12" name="Sechseck 459"/>
              <p:cNvSpPr/>
              <p:nvPr/>
            </p:nvSpPr>
            <p:spPr bwMode="auto">
              <a:xfrm>
                <a:off x="2897352"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13" name="Sechseck 460"/>
              <p:cNvSpPr/>
              <p:nvPr/>
            </p:nvSpPr>
            <p:spPr bwMode="auto">
              <a:xfrm>
                <a:off x="1394690" y="218713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14" name="Sechseck 461"/>
              <p:cNvSpPr/>
              <p:nvPr/>
            </p:nvSpPr>
            <p:spPr bwMode="auto">
              <a:xfrm>
                <a:off x="888998"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15" name="Sechseck 462"/>
              <p:cNvSpPr/>
              <p:nvPr/>
            </p:nvSpPr>
            <p:spPr bwMode="auto">
              <a:xfrm>
                <a:off x="386078" y="329117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16" name="Sechseck 463"/>
              <p:cNvSpPr/>
              <p:nvPr/>
            </p:nvSpPr>
            <p:spPr bwMode="auto">
              <a:xfrm>
                <a:off x="386078" y="384536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17" name="Sechseck 464"/>
              <p:cNvSpPr/>
              <p:nvPr/>
            </p:nvSpPr>
            <p:spPr bwMode="auto">
              <a:xfrm>
                <a:off x="888998"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18" name="Sechseck 465"/>
              <p:cNvSpPr/>
              <p:nvPr/>
            </p:nvSpPr>
            <p:spPr bwMode="auto">
              <a:xfrm>
                <a:off x="1394690" y="495069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19" name="Sechseck 466"/>
              <p:cNvSpPr/>
              <p:nvPr/>
            </p:nvSpPr>
            <p:spPr bwMode="auto">
              <a:xfrm>
                <a:off x="2404843" y="494919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20" name="Sechseck 467"/>
              <p:cNvSpPr/>
              <p:nvPr/>
            </p:nvSpPr>
            <p:spPr bwMode="auto">
              <a:xfrm>
                <a:off x="2897352" y="46736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21" name="Sechseck 468"/>
              <p:cNvSpPr/>
              <p:nvPr/>
            </p:nvSpPr>
            <p:spPr bwMode="auto">
              <a:xfrm>
                <a:off x="3400272" y="384232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22" name="Sechseck 469"/>
              <p:cNvSpPr/>
              <p:nvPr/>
            </p:nvSpPr>
            <p:spPr bwMode="auto">
              <a:xfrm>
                <a:off x="3400272" y="3286503"/>
                <a:ext cx="642852" cy="554182"/>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23" name="Sechseck 470"/>
              <p:cNvSpPr/>
              <p:nvPr/>
            </p:nvSpPr>
            <p:spPr bwMode="auto">
              <a:xfrm>
                <a:off x="3400272" y="273092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grpSp>
        <p:nvGrpSpPr>
          <p:cNvPr id="726" name="Gruppieren 1027"/>
          <p:cNvGrpSpPr/>
          <p:nvPr/>
        </p:nvGrpSpPr>
        <p:grpSpPr>
          <a:xfrm>
            <a:off x="3823748" y="1494991"/>
            <a:ext cx="1110090" cy="942393"/>
            <a:chOff x="7587534" y="2619677"/>
            <a:chExt cx="1110090" cy="942393"/>
          </a:xfrm>
        </p:grpSpPr>
        <p:sp>
          <p:nvSpPr>
            <p:cNvPr id="727" name="Ellipse 138"/>
            <p:cNvSpPr/>
            <p:nvPr/>
          </p:nvSpPr>
          <p:spPr bwMode="auto">
            <a:xfrm flipV="1">
              <a:off x="7684997" y="2646906"/>
              <a:ext cx="915164" cy="915164"/>
            </a:xfrm>
            <a:prstGeom prst="ellipse">
              <a:avLst/>
            </a:prstGeom>
            <a:gradFill flip="none" rotWithShape="1">
              <a:gsLst>
                <a:gs pos="0">
                  <a:srgbClr val="66CCFF">
                    <a:tint val="66000"/>
                    <a:satMod val="160000"/>
                  </a:srgbClr>
                </a:gs>
                <a:gs pos="34000">
                  <a:srgbClr val="66CCFF">
                    <a:tint val="44500"/>
                    <a:satMod val="160000"/>
                    <a:alpha val="61000"/>
                  </a:srgbClr>
                </a:gs>
                <a:gs pos="58000">
                  <a:srgbClr val="66CCFF">
                    <a:tint val="23500"/>
                    <a:satMod val="160000"/>
                    <a:alpha val="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28" name="Freihandform 65"/>
            <p:cNvSpPr/>
            <p:nvPr/>
          </p:nvSpPr>
          <p:spPr bwMode="auto">
            <a:xfrm>
              <a:off x="7587534" y="2619677"/>
              <a:ext cx="1110090" cy="774383"/>
            </a:xfrm>
            <a:custGeom>
              <a:avLst/>
              <a:gdLst>
                <a:gd name="connsiteX0" fmla="*/ 0 w 4119418"/>
                <a:gd name="connsiteY0" fmla="*/ 1341527 h 1396945"/>
                <a:gd name="connsiteX1" fmla="*/ 775854 w 4119418"/>
                <a:gd name="connsiteY1" fmla="*/ 1202981 h 1396945"/>
                <a:gd name="connsiteX2" fmla="*/ 1477818 w 4119418"/>
                <a:gd name="connsiteY2" fmla="*/ 279345 h 1396945"/>
                <a:gd name="connsiteX3" fmla="*/ 1911927 w 4119418"/>
                <a:gd name="connsiteY3" fmla="*/ 20727 h 1396945"/>
                <a:gd name="connsiteX4" fmla="*/ 2401454 w 4119418"/>
                <a:gd name="connsiteY4" fmla="*/ 113090 h 1396945"/>
                <a:gd name="connsiteX5" fmla="*/ 2992582 w 4119418"/>
                <a:gd name="connsiteY5" fmla="*/ 879709 h 1396945"/>
                <a:gd name="connsiteX6" fmla="*/ 3445163 w 4119418"/>
                <a:gd name="connsiteY6" fmla="*/ 1286109 h 1396945"/>
                <a:gd name="connsiteX7" fmla="*/ 4119418 w 4119418"/>
                <a:gd name="connsiteY7" fmla="*/ 1396945 h 1396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418" h="1396945">
                  <a:moveTo>
                    <a:pt x="0" y="1341527"/>
                  </a:moveTo>
                  <a:cubicBezTo>
                    <a:pt x="264775" y="1360769"/>
                    <a:pt x="529551" y="1380011"/>
                    <a:pt x="775854" y="1202981"/>
                  </a:cubicBezTo>
                  <a:cubicBezTo>
                    <a:pt x="1022157" y="1025951"/>
                    <a:pt x="1288473" y="476387"/>
                    <a:pt x="1477818" y="279345"/>
                  </a:cubicBezTo>
                  <a:cubicBezTo>
                    <a:pt x="1667164" y="82303"/>
                    <a:pt x="1757988" y="48436"/>
                    <a:pt x="1911927" y="20727"/>
                  </a:cubicBezTo>
                  <a:cubicBezTo>
                    <a:pt x="2065866" y="-6982"/>
                    <a:pt x="2221345" y="-30074"/>
                    <a:pt x="2401454" y="113090"/>
                  </a:cubicBezTo>
                  <a:cubicBezTo>
                    <a:pt x="2581563" y="256254"/>
                    <a:pt x="2818631" y="684206"/>
                    <a:pt x="2992582" y="879709"/>
                  </a:cubicBezTo>
                  <a:cubicBezTo>
                    <a:pt x="3166534" y="1075212"/>
                    <a:pt x="3257357" y="1199903"/>
                    <a:pt x="3445163" y="1286109"/>
                  </a:cubicBezTo>
                  <a:cubicBezTo>
                    <a:pt x="3632969" y="1372315"/>
                    <a:pt x="3876193" y="1384630"/>
                    <a:pt x="4119418" y="1396945"/>
                  </a:cubicBezTo>
                </a:path>
              </a:pathLst>
            </a:custGeom>
            <a:noFill/>
            <a:ln w="3175" cap="flat" cmpd="sng" algn="ctr">
              <a:solidFill>
                <a:schemeClr val="tx1"/>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29" name="Ellipse 30"/>
            <p:cNvSpPr/>
            <p:nvPr/>
          </p:nvSpPr>
          <p:spPr bwMode="auto">
            <a:xfrm flipV="1">
              <a:off x="8044026" y="3006869"/>
              <a:ext cx="175464" cy="175464"/>
            </a:xfrm>
            <a:prstGeom prst="ellipse">
              <a:avLst/>
            </a:prstGeom>
            <a:solidFill>
              <a:srgbClr val="66CCFF"/>
            </a:solidFill>
            <a:ln w="3175" cap="flat" cmpd="sng" algn="ctr">
              <a:solidFill>
                <a:srgbClr val="0070C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nvGrpSpPr>
          <p:cNvPr id="730" name="Gruppieren 13"/>
          <p:cNvGrpSpPr/>
          <p:nvPr/>
        </p:nvGrpSpPr>
        <p:grpSpPr>
          <a:xfrm>
            <a:off x="3646868" y="2316480"/>
            <a:ext cx="1466152" cy="114300"/>
            <a:chOff x="3646868" y="2202180"/>
            <a:chExt cx="1466152" cy="114300"/>
          </a:xfrm>
        </p:grpSpPr>
        <p:cxnSp>
          <p:nvCxnSpPr>
            <p:cNvPr id="731" name="Gerade Verbindung 6"/>
            <p:cNvCxnSpPr/>
            <p:nvPr/>
          </p:nvCxnSpPr>
          <p:spPr bwMode="auto">
            <a:xfrm>
              <a:off x="3646868" y="2263140"/>
              <a:ext cx="1466152" cy="0"/>
            </a:xfrm>
            <a:prstGeom prst="line">
              <a:avLst/>
            </a:prstGeom>
            <a:solidFill>
              <a:schemeClr val="folHlink"/>
            </a:solidFill>
            <a:ln w="3175" cap="flat" cmpd="sng" algn="ctr">
              <a:solidFill>
                <a:schemeClr val="folHlink"/>
              </a:solidFill>
              <a:prstDash val="solid"/>
              <a:round/>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732" name="Gruppieren 12"/>
            <p:cNvGrpSpPr/>
            <p:nvPr/>
          </p:nvGrpSpPr>
          <p:grpSpPr>
            <a:xfrm>
              <a:off x="3806888" y="2202180"/>
              <a:ext cx="1110090" cy="114300"/>
              <a:chOff x="3806888" y="2148840"/>
              <a:chExt cx="1110090" cy="266700"/>
            </a:xfrm>
          </p:grpSpPr>
          <p:cxnSp>
            <p:nvCxnSpPr>
              <p:cNvPr id="733" name="Gerade Verbindung 22"/>
              <p:cNvCxnSpPr/>
              <p:nvPr/>
            </p:nvCxnSpPr>
            <p:spPr bwMode="auto">
              <a:xfrm flipV="1">
                <a:off x="3806888"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34" name="Gerade Verbindung 24"/>
              <p:cNvCxnSpPr/>
              <p:nvPr/>
            </p:nvCxnSpPr>
            <p:spPr bwMode="auto">
              <a:xfrm flipV="1">
                <a:off x="3991903"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35" name="Gerade Verbindung 25"/>
              <p:cNvCxnSpPr/>
              <p:nvPr/>
            </p:nvCxnSpPr>
            <p:spPr bwMode="auto">
              <a:xfrm flipV="1">
                <a:off x="4176918"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36" name="Gerade Verbindung 26"/>
              <p:cNvCxnSpPr/>
              <p:nvPr/>
            </p:nvCxnSpPr>
            <p:spPr bwMode="auto">
              <a:xfrm flipV="1">
                <a:off x="4361933"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37" name="Gerade Verbindung 27"/>
              <p:cNvCxnSpPr/>
              <p:nvPr/>
            </p:nvCxnSpPr>
            <p:spPr bwMode="auto">
              <a:xfrm flipV="1">
                <a:off x="4546948"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38" name="Gerade Verbindung 28"/>
              <p:cNvCxnSpPr/>
              <p:nvPr/>
            </p:nvCxnSpPr>
            <p:spPr bwMode="auto">
              <a:xfrm flipV="1">
                <a:off x="4731963"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39" name="Gerade Verbindung 29"/>
              <p:cNvCxnSpPr/>
              <p:nvPr/>
            </p:nvCxnSpPr>
            <p:spPr bwMode="auto">
              <a:xfrm flipV="1">
                <a:off x="4916978"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740" name="Gruppieren 214"/>
          <p:cNvGrpSpPr/>
          <p:nvPr/>
        </p:nvGrpSpPr>
        <p:grpSpPr>
          <a:xfrm>
            <a:off x="3285311" y="1449113"/>
            <a:ext cx="1046394" cy="1046394"/>
            <a:chOff x="1484623" y="1384386"/>
            <a:chExt cx="1046394" cy="1046394"/>
          </a:xfrm>
        </p:grpSpPr>
        <p:grpSp>
          <p:nvGrpSpPr>
            <p:cNvPr id="741" name="Gruppieren 215"/>
            <p:cNvGrpSpPr/>
            <p:nvPr/>
          </p:nvGrpSpPr>
          <p:grpSpPr>
            <a:xfrm>
              <a:off x="1484623" y="1384386"/>
              <a:ext cx="1046394" cy="1046394"/>
              <a:chOff x="1249679" y="1384386"/>
              <a:chExt cx="1046394" cy="1046394"/>
            </a:xfrm>
          </p:grpSpPr>
          <p:sp>
            <p:nvSpPr>
              <p:cNvPr id="775" name="Ellipse 249"/>
              <p:cNvSpPr/>
              <p:nvPr/>
            </p:nvSpPr>
            <p:spPr bwMode="auto">
              <a:xfrm>
                <a:off x="1249679" y="1384386"/>
                <a:ext cx="1046394" cy="1046394"/>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76" name="Ellipse 250"/>
              <p:cNvSpPr/>
              <p:nvPr/>
            </p:nvSpPr>
            <p:spPr bwMode="auto">
              <a:xfrm flipV="1">
                <a:off x="1317282" y="1454590"/>
                <a:ext cx="915164" cy="915164"/>
              </a:xfrm>
              <a:prstGeom prst="ellipse">
                <a:avLst/>
              </a:prstGeom>
              <a:gradFill flip="none" rotWithShape="1">
                <a:gsLst>
                  <a:gs pos="0">
                    <a:srgbClr val="7030A0"/>
                  </a:gs>
                  <a:gs pos="33500">
                    <a:srgbClr val="B898D0">
                      <a:alpha val="79000"/>
                    </a:srgbClr>
                  </a:gs>
                  <a:gs pos="72000">
                    <a:srgbClr val="FFFFFE">
                      <a:alpha val="0"/>
                      <a:lumMod val="0"/>
                      <a:lumOff val="10000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nvGrpSpPr>
            <p:cNvPr id="742" name="Gruppieren 216"/>
            <p:cNvGrpSpPr/>
            <p:nvPr/>
          </p:nvGrpSpPr>
          <p:grpSpPr>
            <a:xfrm>
              <a:off x="1493990" y="1445270"/>
              <a:ext cx="1033538" cy="939724"/>
              <a:chOff x="386078" y="2179778"/>
              <a:chExt cx="3657046" cy="3325098"/>
            </a:xfrm>
            <a:noFill/>
          </p:grpSpPr>
          <p:sp>
            <p:nvSpPr>
              <p:cNvPr id="743" name="Sechseck 217"/>
              <p:cNvSpPr/>
              <p:nvPr/>
            </p:nvSpPr>
            <p:spPr bwMode="auto">
              <a:xfrm>
                <a:off x="1893455"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44" name="Sechseck 218"/>
              <p:cNvSpPr/>
              <p:nvPr/>
            </p:nvSpPr>
            <p:spPr bwMode="auto">
              <a:xfrm>
                <a:off x="2392220" y="328814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45" name="Sechseck 219"/>
              <p:cNvSpPr/>
              <p:nvPr/>
            </p:nvSpPr>
            <p:spPr bwMode="auto">
              <a:xfrm>
                <a:off x="239222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46" name="Sechseck 220"/>
              <p:cNvSpPr/>
              <p:nvPr/>
            </p:nvSpPr>
            <p:spPr bwMode="auto">
              <a:xfrm>
                <a:off x="1893455"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47" name="Sechseck 221"/>
              <p:cNvSpPr/>
              <p:nvPr/>
            </p:nvSpPr>
            <p:spPr bwMode="auto">
              <a:xfrm>
                <a:off x="139469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48" name="Sechseck 222"/>
              <p:cNvSpPr/>
              <p:nvPr/>
            </p:nvSpPr>
            <p:spPr bwMode="auto">
              <a:xfrm>
                <a:off x="1394690" y="328814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49" name="Sechseck 223"/>
              <p:cNvSpPr/>
              <p:nvPr/>
            </p:nvSpPr>
            <p:spPr bwMode="auto">
              <a:xfrm>
                <a:off x="1893455" y="3565236"/>
                <a:ext cx="642852" cy="554182"/>
              </a:xfrm>
              <a:prstGeom prst="hexagon">
                <a:avLst/>
              </a:prstGeom>
              <a:solidFill>
                <a:schemeClr val="tx1"/>
              </a:solidFill>
              <a:ln w="38100" cap="flat" cmpd="sng" algn="ctr">
                <a:solidFill>
                  <a:srgbClr val="0070C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50" name="Sechseck 224"/>
              <p:cNvSpPr/>
              <p:nvPr/>
            </p:nvSpPr>
            <p:spPr bwMode="auto">
              <a:xfrm>
                <a:off x="239222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51" name="Sechseck 225"/>
              <p:cNvSpPr/>
              <p:nvPr/>
            </p:nvSpPr>
            <p:spPr bwMode="auto">
              <a:xfrm>
                <a:off x="2897352"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52" name="Sechseck 226"/>
              <p:cNvSpPr/>
              <p:nvPr/>
            </p:nvSpPr>
            <p:spPr bwMode="auto">
              <a:xfrm>
                <a:off x="2897352" y="356523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53" name="Sechseck 227"/>
              <p:cNvSpPr/>
              <p:nvPr/>
            </p:nvSpPr>
            <p:spPr bwMode="auto">
              <a:xfrm>
                <a:off x="2897352"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54" name="Sechseck 228"/>
              <p:cNvSpPr/>
              <p:nvPr/>
            </p:nvSpPr>
            <p:spPr bwMode="auto">
              <a:xfrm>
                <a:off x="2404843"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55" name="Sechseck 229"/>
              <p:cNvSpPr/>
              <p:nvPr/>
            </p:nvSpPr>
            <p:spPr bwMode="auto">
              <a:xfrm>
                <a:off x="1893455"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56" name="Sechseck 230"/>
              <p:cNvSpPr/>
              <p:nvPr/>
            </p:nvSpPr>
            <p:spPr bwMode="auto">
              <a:xfrm>
                <a:off x="1394690"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57" name="Sechseck 231"/>
              <p:cNvSpPr/>
              <p:nvPr/>
            </p:nvSpPr>
            <p:spPr bwMode="auto">
              <a:xfrm>
                <a:off x="888998" y="301408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58" name="Sechseck 232"/>
              <p:cNvSpPr/>
              <p:nvPr/>
            </p:nvSpPr>
            <p:spPr bwMode="auto">
              <a:xfrm>
                <a:off x="888998" y="356826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59" name="Sechseck 233"/>
              <p:cNvSpPr/>
              <p:nvPr/>
            </p:nvSpPr>
            <p:spPr bwMode="auto">
              <a:xfrm>
                <a:off x="888998" y="4122446"/>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60" name="Sechseck 234"/>
              <p:cNvSpPr/>
              <p:nvPr/>
            </p:nvSpPr>
            <p:spPr bwMode="auto">
              <a:xfrm>
                <a:off x="139469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61" name="Sechseck 235"/>
              <p:cNvSpPr/>
              <p:nvPr/>
            </p:nvSpPr>
            <p:spPr bwMode="auto">
              <a:xfrm>
                <a:off x="1893455"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62" name="Sechseck 236"/>
              <p:cNvSpPr/>
              <p:nvPr/>
            </p:nvSpPr>
            <p:spPr bwMode="auto">
              <a:xfrm>
                <a:off x="2392220" y="217977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63" name="Sechseck 237"/>
              <p:cNvSpPr/>
              <p:nvPr/>
            </p:nvSpPr>
            <p:spPr bwMode="auto">
              <a:xfrm>
                <a:off x="2897352"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64" name="Sechseck 238"/>
              <p:cNvSpPr/>
              <p:nvPr/>
            </p:nvSpPr>
            <p:spPr bwMode="auto">
              <a:xfrm>
                <a:off x="1394690" y="218713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65" name="Sechseck 239"/>
              <p:cNvSpPr/>
              <p:nvPr/>
            </p:nvSpPr>
            <p:spPr bwMode="auto">
              <a:xfrm>
                <a:off x="888998"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66" name="Sechseck 240"/>
              <p:cNvSpPr/>
              <p:nvPr/>
            </p:nvSpPr>
            <p:spPr bwMode="auto">
              <a:xfrm>
                <a:off x="386078" y="3291173"/>
                <a:ext cx="642852" cy="554182"/>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67" name="Sechseck 241"/>
              <p:cNvSpPr/>
              <p:nvPr/>
            </p:nvSpPr>
            <p:spPr bwMode="auto">
              <a:xfrm>
                <a:off x="386078" y="3845361"/>
                <a:ext cx="642852" cy="554182"/>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68" name="Sechseck 242"/>
              <p:cNvSpPr/>
              <p:nvPr/>
            </p:nvSpPr>
            <p:spPr bwMode="auto">
              <a:xfrm>
                <a:off x="888998"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69" name="Sechseck 243"/>
              <p:cNvSpPr/>
              <p:nvPr/>
            </p:nvSpPr>
            <p:spPr bwMode="auto">
              <a:xfrm>
                <a:off x="1394690" y="495069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70" name="Sechseck 244"/>
              <p:cNvSpPr/>
              <p:nvPr/>
            </p:nvSpPr>
            <p:spPr bwMode="auto">
              <a:xfrm>
                <a:off x="2404843" y="494919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71" name="Sechseck 245"/>
              <p:cNvSpPr/>
              <p:nvPr/>
            </p:nvSpPr>
            <p:spPr bwMode="auto">
              <a:xfrm>
                <a:off x="2897352" y="46736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72" name="Sechseck 246"/>
              <p:cNvSpPr/>
              <p:nvPr/>
            </p:nvSpPr>
            <p:spPr bwMode="auto">
              <a:xfrm>
                <a:off x="3400272" y="384232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73" name="Sechseck 247"/>
              <p:cNvSpPr/>
              <p:nvPr/>
            </p:nvSpPr>
            <p:spPr bwMode="auto">
              <a:xfrm>
                <a:off x="3400272" y="32865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74" name="Sechseck 248"/>
              <p:cNvSpPr/>
              <p:nvPr/>
            </p:nvSpPr>
            <p:spPr bwMode="auto">
              <a:xfrm>
                <a:off x="3400272" y="273092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cxnSp>
        <p:nvCxnSpPr>
          <p:cNvPr id="389" name="Gerade Verbindung mit Pfeil 7"/>
          <p:cNvCxnSpPr/>
          <p:nvPr/>
        </p:nvCxnSpPr>
        <p:spPr bwMode="auto">
          <a:xfrm>
            <a:off x="3227967" y="5184475"/>
            <a:ext cx="2396456" cy="0"/>
          </a:xfrm>
          <a:prstGeom prst="straightConnector1">
            <a:avLst/>
          </a:prstGeom>
          <a:solidFill>
            <a:schemeClr val="folHlink"/>
          </a:solidFill>
          <a:ln w="3175" cap="flat" cmpd="sng" algn="ctr">
            <a:solidFill>
              <a:schemeClr val="folHlink"/>
            </a:solidFill>
            <a:prstDash val="solid"/>
            <a:round/>
            <a:headEnd type="arrow"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2" name="Gerade Verbindung mit Pfeil 503"/>
          <p:cNvCxnSpPr/>
          <p:nvPr/>
        </p:nvCxnSpPr>
        <p:spPr bwMode="auto">
          <a:xfrm>
            <a:off x="3506415" y="5705175"/>
            <a:ext cx="1801143" cy="0"/>
          </a:xfrm>
          <a:prstGeom prst="straightConnector1">
            <a:avLst/>
          </a:prstGeom>
          <a:solidFill>
            <a:schemeClr val="folHlink"/>
          </a:solidFill>
          <a:ln w="3175" cap="flat" cmpd="sng" algn="ctr">
            <a:solidFill>
              <a:schemeClr val="folHlink"/>
            </a:solidFill>
            <a:prstDash val="solid"/>
            <a:round/>
            <a:headEnd type="arrow"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96" name="Textfeld 492"/>
          <p:cNvSpPr txBox="1"/>
          <p:nvPr/>
        </p:nvSpPr>
        <p:spPr>
          <a:xfrm>
            <a:off x="5897898" y="2208018"/>
            <a:ext cx="2797817" cy="618173"/>
          </a:xfrm>
          <a:prstGeom prst="rect">
            <a:avLst/>
          </a:prstGeom>
          <a:noFill/>
        </p:spPr>
        <p:txBody>
          <a:bodyPr wrap="none" rtlCol="0">
            <a:noAutofit/>
          </a:bodyPr>
          <a:lstStyle/>
          <a:p>
            <a:pPr eaLnBrk="0" fontAlgn="base" hangingPunct="0">
              <a:spcBef>
                <a:spcPct val="0"/>
              </a:spcBef>
              <a:spcAft>
                <a:spcPct val="0"/>
              </a:spcAft>
            </a:pPr>
            <a:r>
              <a:rPr lang="en-US" sz="1400" dirty="0">
                <a:solidFill>
                  <a:srgbClr val="000000"/>
                </a:solidFill>
              </a:rPr>
              <a:t>By collecting just the central element </a:t>
            </a:r>
          </a:p>
          <a:p>
            <a:pPr eaLnBrk="0" fontAlgn="base" hangingPunct="0">
              <a:spcBef>
                <a:spcPct val="0"/>
              </a:spcBef>
              <a:spcAft>
                <a:spcPct val="0"/>
              </a:spcAft>
            </a:pPr>
            <a:r>
              <a:rPr lang="en-US" sz="1400" dirty="0">
                <a:solidFill>
                  <a:srgbClr val="000000"/>
                </a:solidFill>
              </a:rPr>
              <a:t>the PSF is weaker but smaller</a:t>
            </a:r>
          </a:p>
        </p:txBody>
      </p:sp>
      <p:sp>
        <p:nvSpPr>
          <p:cNvPr id="3" name="Date Placeholder 2"/>
          <p:cNvSpPr>
            <a:spLocks noGrp="1"/>
          </p:cNvSpPr>
          <p:nvPr>
            <p:ph type="dt" sz="half" idx="10"/>
          </p:nvPr>
        </p:nvSpPr>
        <p:spPr/>
        <p:txBody>
          <a:bodyPr/>
          <a:lstStyle/>
          <a:p>
            <a:fld id="{321BF9D7-E80F-498A-A45B-A5CF11364F1E}" type="datetime1">
              <a:rPr lang="de-DE" smtClean="0">
                <a:solidFill>
                  <a:srgbClr val="000000"/>
                </a:solidFill>
              </a:rPr>
              <a:pPr/>
              <a:t>28.02.2019</a:t>
            </a:fld>
            <a:endParaRPr lang="en-US" dirty="0">
              <a:solidFill>
                <a:srgbClr val="000000"/>
              </a:solidFill>
            </a:endParaRPr>
          </a:p>
        </p:txBody>
      </p:sp>
      <p:sp>
        <p:nvSpPr>
          <p:cNvPr id="8" name="TextBox 7"/>
          <p:cNvSpPr txBox="1"/>
          <p:nvPr/>
        </p:nvSpPr>
        <p:spPr>
          <a:xfrm>
            <a:off x="7562164" y="5080158"/>
            <a:ext cx="1280178" cy="299019"/>
          </a:xfrm>
          <a:prstGeom prst="rect">
            <a:avLst/>
          </a:prstGeom>
          <a:noFill/>
        </p:spPr>
        <p:txBody>
          <a:bodyPr wrap="square" rtlCol="0">
            <a:noAutofit/>
          </a:bodyPr>
          <a:lstStyle/>
          <a:p>
            <a:pPr eaLnBrk="0" fontAlgn="base" hangingPunct="0">
              <a:spcBef>
                <a:spcPct val="0"/>
              </a:spcBef>
              <a:spcAft>
                <a:spcPct val="0"/>
              </a:spcAft>
            </a:pPr>
            <a:r>
              <a:rPr lang="en-US" sz="1600" dirty="0">
                <a:solidFill>
                  <a:srgbClr val="000000"/>
                </a:solidFill>
              </a:rPr>
              <a:t>~170nm</a:t>
            </a:r>
          </a:p>
        </p:txBody>
      </p:sp>
      <p:sp>
        <p:nvSpPr>
          <p:cNvPr id="7" name="Slide Number Placeholder 6"/>
          <p:cNvSpPr>
            <a:spLocks noGrp="1"/>
          </p:cNvSpPr>
          <p:nvPr>
            <p:ph type="sldNum" sz="quarter" idx="11"/>
          </p:nvPr>
        </p:nvSpPr>
        <p:spPr/>
        <p:txBody>
          <a:bodyPr/>
          <a:lstStyle/>
          <a:p>
            <a:fld id="{E7106F61-AEF5-4A9D-9A53-47E3DFDE314C}" type="slidenum">
              <a:rPr lang="de-DE" smtClean="0">
                <a:solidFill>
                  <a:srgbClr val="000000"/>
                </a:solidFill>
              </a:rPr>
              <a:pPr/>
              <a:t>40</a:t>
            </a:fld>
            <a:endParaRPr lang="de-DE">
              <a:solidFill>
                <a:srgbClr val="000000"/>
              </a:solidFill>
            </a:endParaRPr>
          </a:p>
        </p:txBody>
      </p:sp>
    </p:spTree>
    <p:extLst>
      <p:ext uri="{BB962C8B-B14F-4D97-AF65-F5344CB8AC3E}">
        <p14:creationId xmlns:p14="http://schemas.microsoft.com/office/powerpoint/2010/main" val="35382238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40"/>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475"/>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nodeType="after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childTnLst>
                          </p:cTn>
                        </p:par>
                        <p:par>
                          <p:cTn id="13" fill="hold">
                            <p:stCondLst>
                              <p:cond delay="0"/>
                            </p:stCondLst>
                            <p:childTnLst>
                              <p:par>
                                <p:cTn id="14" presetID="1" presetClass="entr" presetSubtype="0" fill="hold" grpId="0" nodeType="afterEffect">
                                  <p:stCondLst>
                                    <p:cond delay="0"/>
                                  </p:stCondLst>
                                  <p:childTnLst>
                                    <p:set>
                                      <p:cBhvr>
                                        <p:cTn id="15" dur="1" fill="hold">
                                          <p:stCondLst>
                                            <p:cond delay="0"/>
                                          </p:stCondLst>
                                        </p:cTn>
                                        <p:tgtEl>
                                          <p:spTgt spid="20"/>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499"/>
                                        </p:tgtEl>
                                        <p:attrNameLst>
                                          <p:attrName>style.visibility</p:attrName>
                                        </p:attrNameLst>
                                      </p:cBhvr>
                                      <p:to>
                                        <p:strVal val="visible"/>
                                      </p:to>
                                    </p:set>
                                  </p:childTnLst>
                                </p:cTn>
                              </p:par>
                            </p:childTnLst>
                          </p:cTn>
                        </p:par>
                        <p:par>
                          <p:cTn id="20" fill="hold">
                            <p:stCondLst>
                              <p:cond delay="0"/>
                            </p:stCondLst>
                            <p:childTnLst>
                              <p:par>
                                <p:cTn id="21" presetID="1" presetClass="entr" presetSubtype="0" fill="hold" grpId="0" nodeType="afterEffect">
                                  <p:stCondLst>
                                    <p:cond delay="0"/>
                                  </p:stCondLst>
                                  <p:childTnLst>
                                    <p:set>
                                      <p:cBhvr>
                                        <p:cTn id="22" dur="1" fill="hold">
                                          <p:stCondLst>
                                            <p:cond delay="0"/>
                                          </p:stCondLst>
                                        </p:cTn>
                                        <p:tgtEl>
                                          <p:spTgt spid="476"/>
                                        </p:tgtEl>
                                        <p:attrNameLst>
                                          <p:attrName>style.visibility</p:attrName>
                                        </p:attrNameLst>
                                      </p:cBhvr>
                                      <p:to>
                                        <p:strVal val="visible"/>
                                      </p:to>
                                    </p:set>
                                  </p:childTnLst>
                                </p:cTn>
                              </p:par>
                            </p:childTnLst>
                          </p:cTn>
                        </p:par>
                        <p:par>
                          <p:cTn id="23" fill="hold">
                            <p:stCondLst>
                              <p:cond delay="0"/>
                            </p:stCondLst>
                            <p:childTnLst>
                              <p:par>
                                <p:cTn id="24" presetID="1" presetClass="entr" presetSubtype="0" fill="hold" nodeType="afterEffect">
                                  <p:stCondLst>
                                    <p:cond delay="0"/>
                                  </p:stCondLst>
                                  <p:childTnLst>
                                    <p:set>
                                      <p:cBhvr>
                                        <p:cTn id="25" dur="1" fill="hold">
                                          <p:stCondLst>
                                            <p:cond delay="0"/>
                                          </p:stCondLst>
                                        </p:cTn>
                                        <p:tgtEl>
                                          <p:spTgt spid="93"/>
                                        </p:tgtEl>
                                        <p:attrNameLst>
                                          <p:attrName>style.visibility</p:attrName>
                                        </p:attrNameLst>
                                      </p:cBhvr>
                                      <p:to>
                                        <p:strVal val="visible"/>
                                      </p:to>
                                    </p:set>
                                  </p:childTnLst>
                                </p:cTn>
                              </p:par>
                            </p:childTnLst>
                          </p:cTn>
                        </p:par>
                        <p:par>
                          <p:cTn id="26" fill="hold">
                            <p:stCondLst>
                              <p:cond delay="0"/>
                            </p:stCondLst>
                            <p:childTnLst>
                              <p:par>
                                <p:cTn id="27" presetID="1" presetClass="entr" presetSubtype="0" fill="hold" grpId="0" nodeType="afterEffect">
                                  <p:stCondLst>
                                    <p:cond delay="0"/>
                                  </p:stCondLst>
                                  <p:childTnLst>
                                    <p:set>
                                      <p:cBhvr>
                                        <p:cTn id="28" dur="1" fill="hold">
                                          <p:stCondLst>
                                            <p:cond delay="0"/>
                                          </p:stCondLst>
                                        </p:cTn>
                                        <p:tgtEl>
                                          <p:spTgt spid="483"/>
                                        </p:tgtEl>
                                        <p:attrNameLst>
                                          <p:attrName>style.visibility</p:attrName>
                                        </p:attrNameLst>
                                      </p:cBhvr>
                                      <p:to>
                                        <p:strVal val="visible"/>
                                      </p:to>
                                    </p:set>
                                  </p:childTnLst>
                                </p:cTn>
                              </p:par>
                              <p:par>
                                <p:cTn id="29" presetID="1" presetClass="exit" presetSubtype="0" fill="hold" nodeType="withEffect">
                                  <p:stCondLst>
                                    <p:cond delay="0"/>
                                  </p:stCondLst>
                                  <p:childTnLst>
                                    <p:set>
                                      <p:cBhvr>
                                        <p:cTn id="30" dur="1" fill="hold">
                                          <p:stCondLst>
                                            <p:cond delay="0"/>
                                          </p:stCondLst>
                                        </p:cTn>
                                        <p:tgtEl>
                                          <p:spTgt spid="740"/>
                                        </p:tgtEl>
                                        <p:attrNameLst>
                                          <p:attrName>style.visibility</p:attrName>
                                        </p:attrNameLst>
                                      </p:cBhvr>
                                      <p:to>
                                        <p:strVal val="hidden"/>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41"/>
                                        </p:tgtEl>
                                        <p:attrNameLst>
                                          <p:attrName>style.visibility</p:attrName>
                                        </p:attrNameLst>
                                      </p:cBhvr>
                                      <p:to>
                                        <p:strVal val="visible"/>
                                      </p:to>
                                    </p:set>
                                  </p:childTnLst>
                                </p:cTn>
                              </p:par>
                            </p:childTnLst>
                          </p:cTn>
                        </p:par>
                        <p:par>
                          <p:cTn id="35" fill="hold">
                            <p:stCondLst>
                              <p:cond delay="0"/>
                            </p:stCondLst>
                            <p:childTnLst>
                              <p:par>
                                <p:cTn id="36" presetID="1" presetClass="entr" presetSubtype="0" fill="hold" grpId="0" nodeType="afterEffect">
                                  <p:stCondLst>
                                    <p:cond delay="0"/>
                                  </p:stCondLst>
                                  <p:childTnLst>
                                    <p:set>
                                      <p:cBhvr>
                                        <p:cTn id="37" dur="1" fill="hold">
                                          <p:stCondLst>
                                            <p:cond delay="0"/>
                                          </p:stCondLst>
                                        </p:cTn>
                                        <p:tgtEl>
                                          <p:spTgt spid="477"/>
                                        </p:tgtEl>
                                        <p:attrNameLst>
                                          <p:attrName>style.visibility</p:attrName>
                                        </p:attrNameLst>
                                      </p:cBhvr>
                                      <p:to>
                                        <p:strVal val="visible"/>
                                      </p:to>
                                    </p:set>
                                  </p:childTnLst>
                                </p:cTn>
                              </p:par>
                            </p:childTnLst>
                          </p:cTn>
                        </p:par>
                        <p:par>
                          <p:cTn id="38" fill="hold">
                            <p:stCondLst>
                              <p:cond delay="0"/>
                            </p:stCondLst>
                            <p:childTnLst>
                              <p:par>
                                <p:cTn id="39" presetID="1" presetClass="entr" presetSubtype="0" fill="hold" nodeType="afterEffect">
                                  <p:stCondLst>
                                    <p:cond delay="0"/>
                                  </p:stCondLst>
                                  <p:childTnLst>
                                    <p:set>
                                      <p:cBhvr>
                                        <p:cTn id="40" dur="1" fill="hold">
                                          <p:stCondLst>
                                            <p:cond delay="0"/>
                                          </p:stCondLst>
                                        </p:cTn>
                                        <p:tgtEl>
                                          <p:spTgt spid="94"/>
                                        </p:tgtEl>
                                        <p:attrNameLst>
                                          <p:attrName>style.visibility</p:attrName>
                                        </p:attrNameLst>
                                      </p:cBhvr>
                                      <p:to>
                                        <p:strVal val="visible"/>
                                      </p:to>
                                    </p:set>
                                  </p:childTnLst>
                                </p:cTn>
                              </p:par>
                            </p:childTnLst>
                          </p:cTn>
                        </p:par>
                        <p:par>
                          <p:cTn id="41" fill="hold">
                            <p:stCondLst>
                              <p:cond delay="0"/>
                            </p:stCondLst>
                            <p:childTnLst>
                              <p:par>
                                <p:cTn id="42" presetID="1" presetClass="entr" presetSubtype="0" fill="hold" grpId="0" nodeType="afterEffect">
                                  <p:stCondLst>
                                    <p:cond delay="0"/>
                                  </p:stCondLst>
                                  <p:childTnLst>
                                    <p:set>
                                      <p:cBhvr>
                                        <p:cTn id="43" dur="1" fill="hold">
                                          <p:stCondLst>
                                            <p:cond delay="0"/>
                                          </p:stCondLst>
                                        </p:cTn>
                                        <p:tgtEl>
                                          <p:spTgt spid="81"/>
                                        </p:tgtEl>
                                        <p:attrNameLst>
                                          <p:attrName>style.visibility</p:attrName>
                                        </p:attrNameLst>
                                      </p:cBhvr>
                                      <p:to>
                                        <p:strVal val="visible"/>
                                      </p:to>
                                    </p:set>
                                  </p:childTnLst>
                                </p:cTn>
                              </p:par>
                              <p:par>
                                <p:cTn id="44" presetID="1" presetClass="exit" presetSubtype="0" fill="hold" nodeType="withEffect">
                                  <p:stCondLst>
                                    <p:cond delay="0"/>
                                  </p:stCondLst>
                                  <p:childTnLst>
                                    <p:set>
                                      <p:cBhvr>
                                        <p:cTn id="45" dur="1" fill="hold">
                                          <p:stCondLst>
                                            <p:cond delay="0"/>
                                          </p:stCondLst>
                                        </p:cTn>
                                        <p:tgtEl>
                                          <p:spTgt spid="499"/>
                                        </p:tgtEl>
                                        <p:attrNameLst>
                                          <p:attrName>style.visibility</p:attrName>
                                        </p:attrNameLst>
                                      </p:cBhvr>
                                      <p:to>
                                        <p:strVal val="hidden"/>
                                      </p:to>
                                    </p:set>
                                  </p:childTnLst>
                                </p:cTn>
                              </p:par>
                            </p:childTnLst>
                          </p:cTn>
                        </p:par>
                      </p:childTnLst>
                    </p:cTn>
                  </p:par>
                  <p:par>
                    <p:cTn id="46" fill="hold">
                      <p:stCondLst>
                        <p:cond delay="indefinite"/>
                      </p:stCondLst>
                      <p:childTnLst>
                        <p:par>
                          <p:cTn id="47" fill="hold">
                            <p:stCondLst>
                              <p:cond delay="0"/>
                            </p:stCondLst>
                            <p:childTnLst>
                              <p:par>
                                <p:cTn id="48" presetID="1" presetClass="entr" presetSubtype="0" fill="hold" nodeType="clickEffect">
                                  <p:stCondLst>
                                    <p:cond delay="0"/>
                                  </p:stCondLst>
                                  <p:childTnLst>
                                    <p:set>
                                      <p:cBhvr>
                                        <p:cTn id="49" dur="1" fill="hold">
                                          <p:stCondLst>
                                            <p:cond delay="0"/>
                                          </p:stCondLst>
                                        </p:cTn>
                                        <p:tgtEl>
                                          <p:spTgt spid="578"/>
                                        </p:tgtEl>
                                        <p:attrNameLst>
                                          <p:attrName>style.visibility</p:attrName>
                                        </p:attrNameLst>
                                      </p:cBhvr>
                                      <p:to>
                                        <p:strVal val="visible"/>
                                      </p:to>
                                    </p:set>
                                  </p:childTnLst>
                                </p:cTn>
                              </p:par>
                            </p:childTnLst>
                          </p:cTn>
                        </p:par>
                        <p:par>
                          <p:cTn id="50" fill="hold">
                            <p:stCondLst>
                              <p:cond delay="0"/>
                            </p:stCondLst>
                            <p:childTnLst>
                              <p:par>
                                <p:cTn id="51" presetID="1" presetClass="entr" presetSubtype="0" fill="hold" grpId="0" nodeType="afterEffect">
                                  <p:stCondLst>
                                    <p:cond delay="0"/>
                                  </p:stCondLst>
                                  <p:childTnLst>
                                    <p:set>
                                      <p:cBhvr>
                                        <p:cTn id="52" dur="1" fill="hold">
                                          <p:stCondLst>
                                            <p:cond delay="0"/>
                                          </p:stCondLst>
                                        </p:cTn>
                                        <p:tgtEl>
                                          <p:spTgt spid="478"/>
                                        </p:tgtEl>
                                        <p:attrNameLst>
                                          <p:attrName>style.visibility</p:attrName>
                                        </p:attrNameLst>
                                      </p:cBhvr>
                                      <p:to>
                                        <p:strVal val="visible"/>
                                      </p:to>
                                    </p:set>
                                  </p:childTnLst>
                                </p:cTn>
                              </p:par>
                            </p:childTnLst>
                          </p:cTn>
                        </p:par>
                        <p:par>
                          <p:cTn id="53" fill="hold">
                            <p:stCondLst>
                              <p:cond delay="0"/>
                            </p:stCondLst>
                            <p:childTnLst>
                              <p:par>
                                <p:cTn id="54" presetID="1" presetClass="entr" presetSubtype="0" fill="hold" nodeType="afterEffect">
                                  <p:stCondLst>
                                    <p:cond delay="0"/>
                                  </p:stCondLst>
                                  <p:childTnLst>
                                    <p:set>
                                      <p:cBhvr>
                                        <p:cTn id="55" dur="1" fill="hold">
                                          <p:stCondLst>
                                            <p:cond delay="0"/>
                                          </p:stCondLst>
                                        </p:cTn>
                                        <p:tgtEl>
                                          <p:spTgt spid="95"/>
                                        </p:tgtEl>
                                        <p:attrNameLst>
                                          <p:attrName>style.visibility</p:attrName>
                                        </p:attrNameLst>
                                      </p:cBhvr>
                                      <p:to>
                                        <p:strVal val="visible"/>
                                      </p:to>
                                    </p:set>
                                  </p:childTnLst>
                                </p:cTn>
                              </p:par>
                            </p:childTnLst>
                          </p:cTn>
                        </p:par>
                        <p:par>
                          <p:cTn id="56" fill="hold">
                            <p:stCondLst>
                              <p:cond delay="0"/>
                            </p:stCondLst>
                            <p:childTnLst>
                              <p:par>
                                <p:cTn id="57" presetID="1" presetClass="entr" presetSubtype="0" fill="hold" grpId="0" nodeType="afterEffect">
                                  <p:stCondLst>
                                    <p:cond delay="0"/>
                                  </p:stCondLst>
                                  <p:childTnLst>
                                    <p:set>
                                      <p:cBhvr>
                                        <p:cTn id="58" dur="1" fill="hold">
                                          <p:stCondLst>
                                            <p:cond delay="0"/>
                                          </p:stCondLst>
                                        </p:cTn>
                                        <p:tgtEl>
                                          <p:spTgt spid="83"/>
                                        </p:tgtEl>
                                        <p:attrNameLst>
                                          <p:attrName>style.visibility</p:attrName>
                                        </p:attrNameLst>
                                      </p:cBhvr>
                                      <p:to>
                                        <p:strVal val="visible"/>
                                      </p:to>
                                    </p:set>
                                  </p:childTnLst>
                                </p:cTn>
                              </p:par>
                              <p:par>
                                <p:cTn id="59" presetID="1" presetClass="exit" presetSubtype="0" fill="hold" nodeType="withEffect">
                                  <p:stCondLst>
                                    <p:cond delay="0"/>
                                  </p:stCondLst>
                                  <p:childTnLst>
                                    <p:set>
                                      <p:cBhvr>
                                        <p:cTn id="60" dur="1" fill="hold">
                                          <p:stCondLst>
                                            <p:cond delay="0"/>
                                          </p:stCondLst>
                                        </p:cTn>
                                        <p:tgtEl>
                                          <p:spTgt spid="541"/>
                                        </p:tgtEl>
                                        <p:attrNameLst>
                                          <p:attrName>style.visibility</p:attrName>
                                        </p:attrNameLst>
                                      </p:cBhvr>
                                      <p:to>
                                        <p:strVal val="hidden"/>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615"/>
                                        </p:tgtEl>
                                        <p:attrNameLst>
                                          <p:attrName>style.visibility</p:attrName>
                                        </p:attrNameLst>
                                      </p:cBhvr>
                                      <p:to>
                                        <p:strVal val="visible"/>
                                      </p:to>
                                    </p:set>
                                  </p:childTnLst>
                                </p:cTn>
                              </p:par>
                            </p:childTnLst>
                          </p:cTn>
                        </p:par>
                        <p:par>
                          <p:cTn id="65" fill="hold">
                            <p:stCondLst>
                              <p:cond delay="0"/>
                            </p:stCondLst>
                            <p:childTnLst>
                              <p:par>
                                <p:cTn id="66" presetID="1" presetClass="entr" presetSubtype="0" fill="hold" grpId="0" nodeType="afterEffect">
                                  <p:stCondLst>
                                    <p:cond delay="0"/>
                                  </p:stCondLst>
                                  <p:childTnLst>
                                    <p:set>
                                      <p:cBhvr>
                                        <p:cTn id="67" dur="1" fill="hold">
                                          <p:stCondLst>
                                            <p:cond delay="0"/>
                                          </p:stCondLst>
                                        </p:cTn>
                                        <p:tgtEl>
                                          <p:spTgt spid="479"/>
                                        </p:tgtEl>
                                        <p:attrNameLst>
                                          <p:attrName>style.visibility</p:attrName>
                                        </p:attrNameLst>
                                      </p:cBhvr>
                                      <p:to>
                                        <p:strVal val="visible"/>
                                      </p:to>
                                    </p:set>
                                  </p:childTnLst>
                                </p:cTn>
                              </p:par>
                            </p:childTnLst>
                          </p:cTn>
                        </p:par>
                        <p:par>
                          <p:cTn id="68" fill="hold">
                            <p:stCondLst>
                              <p:cond delay="0"/>
                            </p:stCondLst>
                            <p:childTnLst>
                              <p:par>
                                <p:cTn id="69" presetID="1" presetClass="entr" presetSubtype="0" fill="hold" nodeType="afterEffect">
                                  <p:stCondLst>
                                    <p:cond delay="0"/>
                                  </p:stCondLst>
                                  <p:childTnLst>
                                    <p:set>
                                      <p:cBhvr>
                                        <p:cTn id="70" dur="1" fill="hold">
                                          <p:stCondLst>
                                            <p:cond delay="0"/>
                                          </p:stCondLst>
                                        </p:cTn>
                                        <p:tgtEl>
                                          <p:spTgt spid="96"/>
                                        </p:tgtEl>
                                        <p:attrNameLst>
                                          <p:attrName>style.visibility</p:attrName>
                                        </p:attrNameLst>
                                      </p:cBhvr>
                                      <p:to>
                                        <p:strVal val="visible"/>
                                      </p:to>
                                    </p:set>
                                  </p:childTnLst>
                                </p:cTn>
                              </p:par>
                            </p:childTnLst>
                          </p:cTn>
                        </p:par>
                        <p:par>
                          <p:cTn id="71" fill="hold">
                            <p:stCondLst>
                              <p:cond delay="0"/>
                            </p:stCondLst>
                            <p:childTnLst>
                              <p:par>
                                <p:cTn id="72" presetID="1" presetClass="entr" presetSubtype="0" fill="hold" grpId="0" nodeType="afterEffect">
                                  <p:stCondLst>
                                    <p:cond delay="0"/>
                                  </p:stCondLst>
                                  <p:childTnLst>
                                    <p:set>
                                      <p:cBhvr>
                                        <p:cTn id="73" dur="1" fill="hold">
                                          <p:stCondLst>
                                            <p:cond delay="0"/>
                                          </p:stCondLst>
                                        </p:cTn>
                                        <p:tgtEl>
                                          <p:spTgt spid="87"/>
                                        </p:tgtEl>
                                        <p:attrNameLst>
                                          <p:attrName>style.visibility</p:attrName>
                                        </p:attrNameLst>
                                      </p:cBhvr>
                                      <p:to>
                                        <p:strVal val="visible"/>
                                      </p:to>
                                    </p:set>
                                  </p:childTnLst>
                                </p:cTn>
                              </p:par>
                              <p:par>
                                <p:cTn id="74" presetID="1" presetClass="exit" presetSubtype="0" fill="hold" nodeType="withEffect">
                                  <p:stCondLst>
                                    <p:cond delay="0"/>
                                  </p:stCondLst>
                                  <p:childTnLst>
                                    <p:set>
                                      <p:cBhvr>
                                        <p:cTn id="75" dur="1" fill="hold">
                                          <p:stCondLst>
                                            <p:cond delay="0"/>
                                          </p:stCondLst>
                                        </p:cTn>
                                        <p:tgtEl>
                                          <p:spTgt spid="578"/>
                                        </p:tgtEl>
                                        <p:attrNameLst>
                                          <p:attrName>style.visibility</p:attrName>
                                        </p:attrNameLst>
                                      </p:cBhvr>
                                      <p:to>
                                        <p:strVal val="hidden"/>
                                      </p:to>
                                    </p:set>
                                  </p:childTnLst>
                                </p:cTn>
                              </p:par>
                            </p:childTnLst>
                          </p:cTn>
                        </p:par>
                      </p:childTnLst>
                    </p:cTn>
                  </p:par>
                  <p:par>
                    <p:cTn id="76" fill="hold">
                      <p:stCondLst>
                        <p:cond delay="indefinite"/>
                      </p:stCondLst>
                      <p:childTnLst>
                        <p:par>
                          <p:cTn id="77" fill="hold">
                            <p:stCondLst>
                              <p:cond delay="0"/>
                            </p:stCondLst>
                            <p:childTnLst>
                              <p:par>
                                <p:cTn id="78" presetID="1" presetClass="entr" presetSubtype="0" fill="hold" nodeType="clickEffect">
                                  <p:stCondLst>
                                    <p:cond delay="0"/>
                                  </p:stCondLst>
                                  <p:childTnLst>
                                    <p:set>
                                      <p:cBhvr>
                                        <p:cTn id="79" dur="1" fill="hold">
                                          <p:stCondLst>
                                            <p:cond delay="0"/>
                                          </p:stCondLst>
                                        </p:cTn>
                                        <p:tgtEl>
                                          <p:spTgt spid="652"/>
                                        </p:tgtEl>
                                        <p:attrNameLst>
                                          <p:attrName>style.visibility</p:attrName>
                                        </p:attrNameLst>
                                      </p:cBhvr>
                                      <p:to>
                                        <p:strVal val="visible"/>
                                      </p:to>
                                    </p:set>
                                  </p:childTnLst>
                                </p:cTn>
                              </p:par>
                            </p:childTnLst>
                          </p:cTn>
                        </p:par>
                        <p:par>
                          <p:cTn id="80" fill="hold">
                            <p:stCondLst>
                              <p:cond delay="0"/>
                            </p:stCondLst>
                            <p:childTnLst>
                              <p:par>
                                <p:cTn id="81" presetID="1" presetClass="entr" presetSubtype="0" fill="hold" grpId="0" nodeType="afterEffect">
                                  <p:stCondLst>
                                    <p:cond delay="0"/>
                                  </p:stCondLst>
                                  <p:childTnLst>
                                    <p:set>
                                      <p:cBhvr>
                                        <p:cTn id="82" dur="1" fill="hold">
                                          <p:stCondLst>
                                            <p:cond delay="0"/>
                                          </p:stCondLst>
                                        </p:cTn>
                                        <p:tgtEl>
                                          <p:spTgt spid="480"/>
                                        </p:tgtEl>
                                        <p:attrNameLst>
                                          <p:attrName>style.visibility</p:attrName>
                                        </p:attrNameLst>
                                      </p:cBhvr>
                                      <p:to>
                                        <p:strVal val="visible"/>
                                      </p:to>
                                    </p:set>
                                  </p:childTnLst>
                                </p:cTn>
                              </p:par>
                            </p:childTnLst>
                          </p:cTn>
                        </p:par>
                        <p:par>
                          <p:cTn id="83" fill="hold">
                            <p:stCondLst>
                              <p:cond delay="0"/>
                            </p:stCondLst>
                            <p:childTnLst>
                              <p:par>
                                <p:cTn id="84" presetID="1" presetClass="entr" presetSubtype="0" fill="hold" nodeType="afterEffect">
                                  <p:stCondLst>
                                    <p:cond delay="0"/>
                                  </p:stCondLst>
                                  <p:childTnLst>
                                    <p:set>
                                      <p:cBhvr>
                                        <p:cTn id="85" dur="1" fill="hold">
                                          <p:stCondLst>
                                            <p:cond delay="0"/>
                                          </p:stCondLst>
                                        </p:cTn>
                                        <p:tgtEl>
                                          <p:spTgt spid="97"/>
                                        </p:tgtEl>
                                        <p:attrNameLst>
                                          <p:attrName>style.visibility</p:attrName>
                                        </p:attrNameLst>
                                      </p:cBhvr>
                                      <p:to>
                                        <p:strVal val="visible"/>
                                      </p:to>
                                    </p:set>
                                  </p:childTnLst>
                                </p:cTn>
                              </p:par>
                            </p:childTnLst>
                          </p:cTn>
                        </p:par>
                        <p:par>
                          <p:cTn id="86" fill="hold">
                            <p:stCondLst>
                              <p:cond delay="0"/>
                            </p:stCondLst>
                            <p:childTnLst>
                              <p:par>
                                <p:cTn id="87" presetID="1" presetClass="entr" presetSubtype="0" fill="hold" grpId="0" nodeType="afterEffect">
                                  <p:stCondLst>
                                    <p:cond delay="0"/>
                                  </p:stCondLst>
                                  <p:childTnLst>
                                    <p:set>
                                      <p:cBhvr>
                                        <p:cTn id="88" dur="1" fill="hold">
                                          <p:stCondLst>
                                            <p:cond delay="0"/>
                                          </p:stCondLst>
                                        </p:cTn>
                                        <p:tgtEl>
                                          <p:spTgt spid="482"/>
                                        </p:tgtEl>
                                        <p:attrNameLst>
                                          <p:attrName>style.visibility</p:attrName>
                                        </p:attrNameLst>
                                      </p:cBhvr>
                                      <p:to>
                                        <p:strVal val="visible"/>
                                      </p:to>
                                    </p:set>
                                  </p:childTnLst>
                                </p:cTn>
                              </p:par>
                              <p:par>
                                <p:cTn id="89" presetID="1" presetClass="exit" presetSubtype="0" fill="hold" nodeType="withEffect">
                                  <p:stCondLst>
                                    <p:cond delay="0"/>
                                  </p:stCondLst>
                                  <p:childTnLst>
                                    <p:set>
                                      <p:cBhvr>
                                        <p:cTn id="90" dur="1" fill="hold">
                                          <p:stCondLst>
                                            <p:cond delay="0"/>
                                          </p:stCondLst>
                                        </p:cTn>
                                        <p:tgtEl>
                                          <p:spTgt spid="615"/>
                                        </p:tgtEl>
                                        <p:attrNameLst>
                                          <p:attrName>style.visibility</p:attrName>
                                        </p:attrNameLst>
                                      </p:cBhvr>
                                      <p:to>
                                        <p:strVal val="hidden"/>
                                      </p:to>
                                    </p:set>
                                  </p:childTnLst>
                                </p:cTn>
                              </p:par>
                            </p:childTnLst>
                          </p:cTn>
                        </p:par>
                      </p:childTnLst>
                    </p:cTn>
                  </p:par>
                  <p:par>
                    <p:cTn id="91" fill="hold">
                      <p:stCondLst>
                        <p:cond delay="indefinite"/>
                      </p:stCondLst>
                      <p:childTnLst>
                        <p:par>
                          <p:cTn id="92" fill="hold">
                            <p:stCondLst>
                              <p:cond delay="0"/>
                            </p:stCondLst>
                            <p:childTnLst>
                              <p:par>
                                <p:cTn id="93" presetID="1" presetClass="entr" presetSubtype="0" fill="hold" nodeType="clickEffect">
                                  <p:stCondLst>
                                    <p:cond delay="0"/>
                                  </p:stCondLst>
                                  <p:childTnLst>
                                    <p:set>
                                      <p:cBhvr>
                                        <p:cTn id="94" dur="1" fill="hold">
                                          <p:stCondLst>
                                            <p:cond delay="0"/>
                                          </p:stCondLst>
                                        </p:cTn>
                                        <p:tgtEl>
                                          <p:spTgt spid="689"/>
                                        </p:tgtEl>
                                        <p:attrNameLst>
                                          <p:attrName>style.visibility</p:attrName>
                                        </p:attrNameLst>
                                      </p:cBhvr>
                                      <p:to>
                                        <p:strVal val="visible"/>
                                      </p:to>
                                    </p:set>
                                  </p:childTnLst>
                                </p:cTn>
                              </p:par>
                            </p:childTnLst>
                          </p:cTn>
                        </p:par>
                        <p:par>
                          <p:cTn id="95" fill="hold">
                            <p:stCondLst>
                              <p:cond delay="0"/>
                            </p:stCondLst>
                            <p:childTnLst>
                              <p:par>
                                <p:cTn id="96" presetID="1" presetClass="entr" presetSubtype="0" fill="hold" grpId="0" nodeType="afterEffect">
                                  <p:stCondLst>
                                    <p:cond delay="0"/>
                                  </p:stCondLst>
                                  <p:childTnLst>
                                    <p:set>
                                      <p:cBhvr>
                                        <p:cTn id="97" dur="1" fill="hold">
                                          <p:stCondLst>
                                            <p:cond delay="0"/>
                                          </p:stCondLst>
                                        </p:cTn>
                                        <p:tgtEl>
                                          <p:spTgt spid="481"/>
                                        </p:tgtEl>
                                        <p:attrNameLst>
                                          <p:attrName>style.visibility</p:attrName>
                                        </p:attrNameLst>
                                      </p:cBhvr>
                                      <p:to>
                                        <p:strVal val="visible"/>
                                      </p:to>
                                    </p:set>
                                  </p:childTnLst>
                                </p:cTn>
                              </p:par>
                            </p:childTnLst>
                          </p:cTn>
                        </p:par>
                        <p:par>
                          <p:cTn id="98" fill="hold">
                            <p:stCondLst>
                              <p:cond delay="0"/>
                            </p:stCondLst>
                            <p:childTnLst>
                              <p:par>
                                <p:cTn id="99" presetID="1" presetClass="entr" presetSubtype="0" fill="hold" nodeType="afterEffect">
                                  <p:stCondLst>
                                    <p:cond delay="0"/>
                                  </p:stCondLst>
                                  <p:childTnLst>
                                    <p:set>
                                      <p:cBhvr>
                                        <p:cTn id="100" dur="1" fill="hold">
                                          <p:stCondLst>
                                            <p:cond delay="0"/>
                                          </p:stCondLst>
                                        </p:cTn>
                                        <p:tgtEl>
                                          <p:spTgt spid="98"/>
                                        </p:tgtEl>
                                        <p:attrNameLst>
                                          <p:attrName>style.visibility</p:attrName>
                                        </p:attrNameLst>
                                      </p:cBhvr>
                                      <p:to>
                                        <p:strVal val="visible"/>
                                      </p:to>
                                    </p:set>
                                  </p:childTnLst>
                                </p:cTn>
                              </p:par>
                            </p:childTnLst>
                          </p:cTn>
                        </p:par>
                        <p:par>
                          <p:cTn id="101" fill="hold">
                            <p:stCondLst>
                              <p:cond delay="0"/>
                            </p:stCondLst>
                            <p:childTnLst>
                              <p:par>
                                <p:cTn id="102" presetID="1" presetClass="entr" presetSubtype="0" fill="hold" grpId="0" nodeType="afterEffect">
                                  <p:stCondLst>
                                    <p:cond delay="0"/>
                                  </p:stCondLst>
                                  <p:childTnLst>
                                    <p:set>
                                      <p:cBhvr>
                                        <p:cTn id="103" dur="1" fill="hold">
                                          <p:stCondLst>
                                            <p:cond delay="0"/>
                                          </p:stCondLst>
                                        </p:cTn>
                                        <p:tgtEl>
                                          <p:spTgt spid="92"/>
                                        </p:tgtEl>
                                        <p:attrNameLst>
                                          <p:attrName>style.visibility</p:attrName>
                                        </p:attrNameLst>
                                      </p:cBhvr>
                                      <p:to>
                                        <p:strVal val="visible"/>
                                      </p:to>
                                    </p:set>
                                  </p:childTnLst>
                                </p:cTn>
                              </p:par>
                              <p:par>
                                <p:cTn id="104" presetID="1" presetClass="exit" presetSubtype="0" fill="hold" nodeType="withEffect">
                                  <p:stCondLst>
                                    <p:cond delay="0"/>
                                  </p:stCondLst>
                                  <p:childTnLst>
                                    <p:set>
                                      <p:cBhvr>
                                        <p:cTn id="105" dur="1" fill="hold">
                                          <p:stCondLst>
                                            <p:cond delay="0"/>
                                          </p:stCondLst>
                                        </p:cTn>
                                        <p:tgtEl>
                                          <p:spTgt spid="652"/>
                                        </p:tgtEl>
                                        <p:attrNameLst>
                                          <p:attrName>style.visibility</p:attrName>
                                        </p:attrNameLst>
                                      </p:cBhvr>
                                      <p:to>
                                        <p:strVal val="hidden"/>
                                      </p:to>
                                    </p:set>
                                  </p:childTnLst>
                                </p:cTn>
                              </p:par>
                              <p:par>
                                <p:cTn id="106" presetID="10" presetClass="exit" presetSubtype="0" fill="hold" nodeType="withEffect">
                                  <p:stCondLst>
                                    <p:cond delay="0"/>
                                  </p:stCondLst>
                                  <p:childTnLst>
                                    <p:animEffect transition="out" filter="fade">
                                      <p:cBhvr>
                                        <p:cTn id="107" dur="500"/>
                                        <p:tgtEl>
                                          <p:spTgt spid="689"/>
                                        </p:tgtEl>
                                      </p:cBhvr>
                                    </p:animEffect>
                                    <p:set>
                                      <p:cBhvr>
                                        <p:cTn id="108" dur="1" fill="hold">
                                          <p:stCondLst>
                                            <p:cond delay="499"/>
                                          </p:stCondLst>
                                        </p:cTn>
                                        <p:tgtEl>
                                          <p:spTgt spid="689"/>
                                        </p:tgtEl>
                                        <p:attrNameLst>
                                          <p:attrName>style.visibility</p:attrName>
                                        </p:attrNameLst>
                                      </p:cBhvr>
                                      <p:to>
                                        <p:strVal val="hidden"/>
                                      </p:to>
                                    </p:set>
                                  </p:childTnLst>
                                </p:cTn>
                              </p:par>
                            </p:childTnLst>
                          </p:cTn>
                        </p:par>
                      </p:childTnLst>
                    </p:cTn>
                  </p:par>
                  <p:par>
                    <p:cTn id="109" fill="hold">
                      <p:stCondLst>
                        <p:cond delay="indefinite"/>
                      </p:stCondLst>
                      <p:childTnLst>
                        <p:par>
                          <p:cTn id="110" fill="hold">
                            <p:stCondLst>
                              <p:cond delay="0"/>
                            </p:stCondLst>
                            <p:childTnLst>
                              <p:par>
                                <p:cTn id="111" presetID="10" presetClass="entr" presetSubtype="0" fill="hold" grpId="0" nodeType="clickEffect">
                                  <p:stCondLst>
                                    <p:cond delay="0"/>
                                  </p:stCondLst>
                                  <p:childTnLst>
                                    <p:set>
                                      <p:cBhvr>
                                        <p:cTn id="112" dur="1" fill="hold">
                                          <p:stCondLst>
                                            <p:cond delay="0"/>
                                          </p:stCondLst>
                                        </p:cTn>
                                        <p:tgtEl>
                                          <p:spTgt spid="484"/>
                                        </p:tgtEl>
                                        <p:attrNameLst>
                                          <p:attrName>style.visibility</p:attrName>
                                        </p:attrNameLst>
                                      </p:cBhvr>
                                      <p:to>
                                        <p:strVal val="visible"/>
                                      </p:to>
                                    </p:set>
                                    <p:animEffect transition="in" filter="fade">
                                      <p:cBhvr>
                                        <p:cTn id="113" dur="500"/>
                                        <p:tgtEl>
                                          <p:spTgt spid="484"/>
                                        </p:tgtEl>
                                      </p:cBhvr>
                                    </p:animEffect>
                                  </p:childTnLst>
                                </p:cTn>
                              </p:par>
                            </p:childTnLst>
                          </p:cTn>
                        </p:par>
                      </p:childTnLst>
                    </p:cTn>
                  </p:par>
                  <p:par>
                    <p:cTn id="114" fill="hold">
                      <p:stCondLst>
                        <p:cond delay="indefinite"/>
                      </p:stCondLst>
                      <p:childTnLst>
                        <p:par>
                          <p:cTn id="115" fill="hold">
                            <p:stCondLst>
                              <p:cond delay="0"/>
                            </p:stCondLst>
                            <p:childTnLst>
                              <p:par>
                                <p:cTn id="116" presetID="1" presetClass="entr" presetSubtype="0" fill="hold" nodeType="clickEffect">
                                  <p:stCondLst>
                                    <p:cond delay="0"/>
                                  </p:stCondLst>
                                  <p:childTnLst>
                                    <p:set>
                                      <p:cBhvr>
                                        <p:cTn id="117" dur="1" fill="hold">
                                          <p:stCondLst>
                                            <p:cond delay="0"/>
                                          </p:stCondLst>
                                        </p:cTn>
                                        <p:tgtEl>
                                          <p:spTgt spid="389"/>
                                        </p:tgtEl>
                                        <p:attrNameLst>
                                          <p:attrName>style.visibility</p:attrName>
                                        </p:attrNameLst>
                                      </p:cBhvr>
                                      <p:to>
                                        <p:strVal val="visible"/>
                                      </p:to>
                                    </p:set>
                                  </p:childTnLst>
                                </p:cTn>
                              </p:par>
                            </p:childTnLst>
                          </p:cTn>
                        </p:par>
                      </p:childTnLst>
                    </p:cTn>
                  </p:par>
                  <p:par>
                    <p:cTn id="118" fill="hold">
                      <p:stCondLst>
                        <p:cond delay="indefinite"/>
                      </p:stCondLst>
                      <p:childTnLst>
                        <p:par>
                          <p:cTn id="119" fill="hold">
                            <p:stCondLst>
                              <p:cond delay="0"/>
                            </p:stCondLst>
                            <p:childTnLst>
                              <p:par>
                                <p:cTn id="120" presetID="1" presetClass="entr" presetSubtype="0" fill="hold" nodeType="clickEffect">
                                  <p:stCondLst>
                                    <p:cond delay="0"/>
                                  </p:stCondLst>
                                  <p:childTnLst>
                                    <p:set>
                                      <p:cBhvr>
                                        <p:cTn id="121" dur="1" fill="hold">
                                          <p:stCondLst>
                                            <p:cond delay="0"/>
                                          </p:stCondLst>
                                        </p:cTn>
                                        <p:tgtEl>
                                          <p:spTgt spid="392"/>
                                        </p:tgtEl>
                                        <p:attrNameLst>
                                          <p:attrName>style.visibility</p:attrName>
                                        </p:attrNameLst>
                                      </p:cBhvr>
                                      <p:to>
                                        <p:strVal val="visible"/>
                                      </p:to>
                                    </p:set>
                                  </p:childTnLst>
                                </p:cTn>
                              </p:par>
                              <p:par>
                                <p:cTn id="122" presetID="1" presetClass="entr" presetSubtype="0" fill="hold" grpId="0" nodeType="withEffect">
                                  <p:stCondLst>
                                    <p:cond delay="0"/>
                                  </p:stCondLst>
                                  <p:childTnLst>
                                    <p:set>
                                      <p:cBhvr>
                                        <p:cTn id="123"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81" grpId="0" animBg="1"/>
      <p:bldP spid="83" grpId="0" animBg="1"/>
      <p:bldP spid="87" grpId="0" animBg="1"/>
      <p:bldP spid="92" grpId="0" animBg="1"/>
      <p:bldP spid="475" grpId="0" animBg="1"/>
      <p:bldP spid="476" grpId="0" animBg="1"/>
      <p:bldP spid="477" grpId="0" animBg="1"/>
      <p:bldP spid="478" grpId="0" animBg="1"/>
      <p:bldP spid="479" grpId="0" animBg="1"/>
      <p:bldP spid="480" grpId="0" animBg="1"/>
      <p:bldP spid="481" grpId="0" animBg="1"/>
      <p:bldP spid="482" grpId="0" animBg="1"/>
      <p:bldP spid="483" grpId="0" animBg="1"/>
      <p:bldP spid="484" grpId="0" animBg="1"/>
      <p:bldP spid="8"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bwMode="auto">
          <a:xfrm>
            <a:off x="0" y="0"/>
            <a:ext cx="914400" cy="0"/>
          </a:xfrm>
          <a:prstGeom prst="line">
            <a:avLst/>
          </a:prstGeom>
          <a:solidFill>
            <a:schemeClr val="folHlink"/>
          </a:solidFill>
          <a:ln w="0" cap="flat" cmpd="sng" algn="ctr">
            <a:solidFill>
              <a:srgbClr val="FBFFFF"/>
            </a:solidFill>
            <a:prstDash val="solid"/>
            <a:round/>
            <a:headEnd type="none" w="sm" len="sm"/>
            <a:tailEnd type="none" w="sm" len="sm"/>
          </a:ln>
          <a:effectLst/>
          <a:extLst>
            <a:ext uri="{AF507438-7753-43E0-B8FC-AC1667EBCBE1}">
              <a14:hiddenEffects xmlns:a14="http://schemas.microsoft.com/office/drawing/2010/main">
                <a:effectLst>
                  <a:outerShdw algn="ctr" rotWithShape="0">
                    <a:schemeClr val="bg2"/>
                  </a:outerShdw>
                </a:effectLst>
              </a14:hiddenEffects>
            </a:ext>
          </a:extLst>
        </p:spPr>
      </p:cxnSp>
      <p:sp>
        <p:nvSpPr>
          <p:cNvPr id="507" name="Textfeld 506"/>
          <p:cNvSpPr txBox="1"/>
          <p:nvPr/>
        </p:nvSpPr>
        <p:spPr>
          <a:xfrm>
            <a:off x="485018" y="3161146"/>
            <a:ext cx="928854" cy="400050"/>
          </a:xfrm>
          <a:prstGeom prst="rect">
            <a:avLst/>
          </a:prstGeom>
          <a:noFill/>
        </p:spPr>
        <p:txBody>
          <a:bodyPr wrap="none" rtlCol="0">
            <a:noAutofit/>
          </a:bodyPr>
          <a:lstStyle/>
          <a:p>
            <a:pPr eaLnBrk="0" fontAlgn="base" hangingPunct="0">
              <a:spcBef>
                <a:spcPct val="0"/>
              </a:spcBef>
              <a:spcAft>
                <a:spcPct val="0"/>
              </a:spcAft>
            </a:pPr>
            <a:r>
              <a:rPr lang="en-US" sz="1200" dirty="0">
                <a:solidFill>
                  <a:srgbClr val="000000"/>
                </a:solidFill>
              </a:rPr>
              <a:t>subunit </a:t>
            </a:r>
          </a:p>
          <a:p>
            <a:pPr eaLnBrk="0" fontAlgn="base" hangingPunct="0">
              <a:spcBef>
                <a:spcPct val="0"/>
              </a:spcBef>
              <a:spcAft>
                <a:spcPct val="0"/>
              </a:spcAft>
            </a:pPr>
            <a:r>
              <a:rPr lang="en-US" sz="1200" dirty="0">
                <a:solidFill>
                  <a:srgbClr val="000000"/>
                </a:solidFill>
              </a:rPr>
              <a:t>~ 0.2 </a:t>
            </a:r>
            <a:r>
              <a:rPr lang="en-US" sz="1200" dirty="0" err="1">
                <a:solidFill>
                  <a:srgbClr val="000000"/>
                </a:solidFill>
              </a:rPr>
              <a:t>A.u</a:t>
            </a:r>
            <a:r>
              <a:rPr lang="en-US" sz="1200" dirty="0">
                <a:solidFill>
                  <a:srgbClr val="000000"/>
                </a:solidFill>
              </a:rPr>
              <a:t>.</a:t>
            </a:r>
          </a:p>
        </p:txBody>
      </p:sp>
      <p:sp>
        <p:nvSpPr>
          <p:cNvPr id="496" name="Textfeld 495"/>
          <p:cNvSpPr txBox="1"/>
          <p:nvPr/>
        </p:nvSpPr>
        <p:spPr>
          <a:xfrm>
            <a:off x="310842" y="2653302"/>
            <a:ext cx="928854" cy="400050"/>
          </a:xfrm>
          <a:prstGeom prst="rect">
            <a:avLst/>
          </a:prstGeom>
          <a:noFill/>
        </p:spPr>
        <p:txBody>
          <a:bodyPr wrap="none" rtlCol="0">
            <a:noAutofit/>
          </a:bodyPr>
          <a:lstStyle/>
          <a:p>
            <a:pPr eaLnBrk="0" fontAlgn="base" hangingPunct="0">
              <a:spcBef>
                <a:spcPct val="0"/>
              </a:spcBef>
              <a:spcAft>
                <a:spcPct val="0"/>
              </a:spcAft>
            </a:pPr>
            <a:r>
              <a:rPr lang="en-US" sz="1200" dirty="0">
                <a:solidFill>
                  <a:srgbClr val="000000"/>
                </a:solidFill>
              </a:rPr>
              <a:t>detection</a:t>
            </a:r>
          </a:p>
        </p:txBody>
      </p:sp>
      <p:sp>
        <p:nvSpPr>
          <p:cNvPr id="21" name="Freihandform 20"/>
          <p:cNvSpPr/>
          <p:nvPr/>
        </p:nvSpPr>
        <p:spPr bwMode="auto">
          <a:xfrm>
            <a:off x="1548958" y="4396575"/>
            <a:ext cx="5762723" cy="1505603"/>
          </a:xfrm>
          <a:custGeom>
            <a:avLst/>
            <a:gdLst>
              <a:gd name="connsiteX0" fmla="*/ 0 w 6134100"/>
              <a:gd name="connsiteY0" fmla="*/ 15240 h 15240"/>
              <a:gd name="connsiteX1" fmla="*/ 6134100 w 6134100"/>
              <a:gd name="connsiteY1" fmla="*/ 0 h 15240"/>
              <a:gd name="connsiteX2" fmla="*/ 6134100 w 6134100"/>
              <a:gd name="connsiteY2" fmla="*/ 0 h 15240"/>
              <a:gd name="connsiteX0" fmla="*/ 0 w 6134100"/>
              <a:gd name="connsiteY0" fmla="*/ 15240 h 15240"/>
              <a:gd name="connsiteX1" fmla="*/ 3009900 w 6134100"/>
              <a:gd name="connsiteY1" fmla="*/ 15240 h 15240"/>
              <a:gd name="connsiteX2" fmla="*/ 6134100 w 6134100"/>
              <a:gd name="connsiteY2" fmla="*/ 0 h 15240"/>
              <a:gd name="connsiteX3" fmla="*/ 6134100 w 6134100"/>
              <a:gd name="connsiteY3" fmla="*/ 0 h 1524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1310640 w 6134100"/>
              <a:gd name="connsiteY1" fmla="*/ 74676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495800 w 6134100"/>
              <a:gd name="connsiteY3" fmla="*/ 632460 h 1341120"/>
              <a:gd name="connsiteX4" fmla="*/ 6134100 w 6134100"/>
              <a:gd name="connsiteY4" fmla="*/ 1325880 h 1341120"/>
              <a:gd name="connsiteX5" fmla="*/ 6134100 w 6134100"/>
              <a:gd name="connsiteY5"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556760 w 6134100"/>
              <a:gd name="connsiteY3" fmla="*/ 1036320 h 1341120"/>
              <a:gd name="connsiteX4" fmla="*/ 6134100 w 6134100"/>
              <a:gd name="connsiteY4" fmla="*/ 1325880 h 1341120"/>
              <a:gd name="connsiteX5" fmla="*/ 6134100 w 6134100"/>
              <a:gd name="connsiteY5" fmla="*/ 1325880 h 1341120"/>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64"/>
              <a:gd name="connsiteX1" fmla="*/ 2987040 w 6134100"/>
              <a:gd name="connsiteY1" fmla="*/ 4 h 1341164"/>
              <a:gd name="connsiteX2" fmla="*/ 6134100 w 6134100"/>
              <a:gd name="connsiteY2" fmla="*/ 1325884 h 1341164"/>
              <a:gd name="connsiteX3" fmla="*/ 6134100 w 6134100"/>
              <a:gd name="connsiteY3" fmla="*/ 1325884 h 1341164"/>
              <a:gd name="connsiteX0" fmla="*/ 0 w 6449629"/>
              <a:gd name="connsiteY0" fmla="*/ 1341124 h 1375661"/>
              <a:gd name="connsiteX1" fmla="*/ 2987040 w 6449629"/>
              <a:gd name="connsiteY1" fmla="*/ 4 h 1375661"/>
              <a:gd name="connsiteX2" fmla="*/ 6134100 w 6449629"/>
              <a:gd name="connsiteY2" fmla="*/ 1325884 h 1375661"/>
              <a:gd name="connsiteX3" fmla="*/ 6399310 w 6449629"/>
              <a:gd name="connsiteY3" fmla="*/ 1067921 h 1375661"/>
              <a:gd name="connsiteX0" fmla="*/ 0 w 6431465"/>
              <a:gd name="connsiteY0" fmla="*/ 1341229 h 1341269"/>
              <a:gd name="connsiteX1" fmla="*/ 2987040 w 6431465"/>
              <a:gd name="connsiteY1" fmla="*/ 109 h 1341269"/>
              <a:gd name="connsiteX2" fmla="*/ 6101953 w 6431465"/>
              <a:gd name="connsiteY2" fmla="*/ 1264892 h 1341269"/>
              <a:gd name="connsiteX3" fmla="*/ 6399310 w 6431465"/>
              <a:gd name="connsiteY3" fmla="*/ 1068026 h 1341269"/>
              <a:gd name="connsiteX0" fmla="*/ 0 w 6101953"/>
              <a:gd name="connsiteY0" fmla="*/ 1341229 h 1341269"/>
              <a:gd name="connsiteX1" fmla="*/ 2987040 w 6101953"/>
              <a:gd name="connsiteY1" fmla="*/ 109 h 1341269"/>
              <a:gd name="connsiteX2" fmla="*/ 6101953 w 6101953"/>
              <a:gd name="connsiteY2" fmla="*/ 1264892 h 1341269"/>
              <a:gd name="connsiteX0" fmla="*/ 0 w 6077843"/>
              <a:gd name="connsiteY0" fmla="*/ 1341298 h 1341338"/>
              <a:gd name="connsiteX1" fmla="*/ 2987040 w 6077843"/>
              <a:gd name="connsiteY1" fmla="*/ 178 h 1341338"/>
              <a:gd name="connsiteX2" fmla="*/ 6077843 w 6077843"/>
              <a:gd name="connsiteY2" fmla="*/ 1244596 h 1341338"/>
              <a:gd name="connsiteX0" fmla="*/ 0 w 6077843"/>
              <a:gd name="connsiteY0" fmla="*/ 1341271 h 1341311"/>
              <a:gd name="connsiteX1" fmla="*/ 2987040 w 6077843"/>
              <a:gd name="connsiteY1" fmla="*/ 151 h 1341311"/>
              <a:gd name="connsiteX2" fmla="*/ 6077843 w 6077843"/>
              <a:gd name="connsiteY2" fmla="*/ 1244569 h 1341311"/>
            </a:gdLst>
            <a:ahLst/>
            <a:cxnLst>
              <a:cxn ang="0">
                <a:pos x="connsiteX0" y="connsiteY0"/>
              </a:cxn>
              <a:cxn ang="0">
                <a:pos x="connsiteX1" y="connsiteY1"/>
              </a:cxn>
              <a:cxn ang="0">
                <a:pos x="connsiteX2" y="connsiteY2"/>
              </a:cxn>
            </a:cxnLst>
            <a:rect l="l" t="t" r="r" b="b"/>
            <a:pathLst>
              <a:path w="6077843" h="1341311">
                <a:moveTo>
                  <a:pt x="0" y="1341271"/>
                </a:moveTo>
                <a:cubicBezTo>
                  <a:pt x="1811173" y="1349768"/>
                  <a:pt x="1974066" y="16268"/>
                  <a:pt x="2987040" y="151"/>
                </a:cubicBezTo>
                <a:cubicBezTo>
                  <a:pt x="4000014" y="-15966"/>
                  <a:pt x="4207189" y="1270238"/>
                  <a:pt x="6077843" y="1244569"/>
                </a:cubicBezTo>
              </a:path>
            </a:pathLst>
          </a:custGeom>
          <a:noFill/>
          <a:ln w="12700" cap="flat" cmpd="sng" algn="ctr">
            <a:solidFill>
              <a:srgbClr val="0070C0"/>
            </a:solidFill>
            <a:prstDash val="dash"/>
            <a:round/>
            <a:headEnd type="none" w="sm" len="sm"/>
            <a:tailEnd type="none" w="sm" len="sm"/>
          </a:ln>
          <a:effectLst/>
        </p:spPr>
        <p:txBody>
          <a:bodyPr vert="horz" wrap="none" lIns="0" tIns="0" rIns="0" bIns="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 name="Titel 1"/>
          <p:cNvSpPr>
            <a:spLocks noGrp="1"/>
          </p:cNvSpPr>
          <p:nvPr>
            <p:ph type="title"/>
          </p:nvPr>
        </p:nvSpPr>
        <p:spPr/>
        <p:txBody>
          <a:bodyPr/>
          <a:lstStyle/>
          <a:p>
            <a:r>
              <a:rPr lang="en-US" dirty="0" err="1"/>
              <a:t>Airyscan</a:t>
            </a:r>
            <a:r>
              <a:rPr lang="en-US" dirty="0"/>
              <a:t>: PH ~ 0.2 </a:t>
            </a:r>
            <a:r>
              <a:rPr lang="en-US" dirty="0" err="1"/>
              <a:t>A.u</a:t>
            </a:r>
            <a:r>
              <a:rPr lang="en-US" dirty="0"/>
              <a:t>. scanning without loss.</a:t>
            </a:r>
            <a:br>
              <a:rPr lang="en-US" dirty="0"/>
            </a:br>
            <a:r>
              <a:rPr lang="en-GB" sz="1800" b="0" dirty="0">
                <a:solidFill>
                  <a:schemeClr val="tx1"/>
                </a:solidFill>
              </a:rPr>
              <a:t>A single element – even if offset still improves resolution</a:t>
            </a:r>
            <a:endParaRPr lang="en-US" b="0" dirty="0">
              <a:solidFill>
                <a:schemeClr val="tx1"/>
              </a:solidFill>
            </a:endParaRPr>
          </a:p>
        </p:txBody>
      </p:sp>
      <p:sp>
        <p:nvSpPr>
          <p:cNvPr id="5" name="Fußzeilenplatzhalter 4"/>
          <p:cNvSpPr>
            <a:spLocks noGrp="1"/>
          </p:cNvSpPr>
          <p:nvPr>
            <p:ph type="ftr" sz="quarter" idx="12"/>
          </p:nvPr>
        </p:nvSpPr>
        <p:spPr/>
        <p:txBody>
          <a:bodyPr/>
          <a:lstStyle/>
          <a:p>
            <a:r>
              <a:rPr lang="en-US">
                <a:solidFill>
                  <a:srgbClr val="000000"/>
                </a:solidFill>
              </a:rPr>
              <a:t>Carl Zeiss Microscopy</a:t>
            </a:r>
            <a:endParaRPr lang="en-US" dirty="0">
              <a:solidFill>
                <a:srgbClr val="000000"/>
              </a:solidFill>
            </a:endParaRPr>
          </a:p>
        </p:txBody>
      </p:sp>
      <p:sp>
        <p:nvSpPr>
          <p:cNvPr id="91" name="Textfeld 90"/>
          <p:cNvSpPr txBox="1"/>
          <p:nvPr/>
        </p:nvSpPr>
        <p:spPr>
          <a:xfrm>
            <a:off x="308803" y="1420580"/>
            <a:ext cx="1247775" cy="400050"/>
          </a:xfrm>
          <a:prstGeom prst="rect">
            <a:avLst/>
          </a:prstGeom>
          <a:noFill/>
        </p:spPr>
        <p:txBody>
          <a:bodyPr wrap="none" rtlCol="0">
            <a:noAutofit/>
          </a:bodyPr>
          <a:lstStyle/>
          <a:p>
            <a:pPr eaLnBrk="0" fontAlgn="base" hangingPunct="0">
              <a:spcBef>
                <a:spcPct val="0"/>
              </a:spcBef>
              <a:spcAft>
                <a:spcPct val="0"/>
              </a:spcAft>
            </a:pPr>
            <a:r>
              <a:rPr lang="en-US" sz="1200" dirty="0">
                <a:solidFill>
                  <a:srgbClr val="000000"/>
                </a:solidFill>
              </a:rPr>
              <a:t>PH = 1,25 </a:t>
            </a:r>
            <a:r>
              <a:rPr lang="en-US" sz="1200" dirty="0" err="1">
                <a:solidFill>
                  <a:srgbClr val="000000"/>
                </a:solidFill>
              </a:rPr>
              <a:t>a.u</a:t>
            </a:r>
            <a:r>
              <a:rPr lang="en-US" sz="1200" dirty="0">
                <a:solidFill>
                  <a:srgbClr val="000000"/>
                </a:solidFill>
              </a:rPr>
              <a:t>.</a:t>
            </a:r>
          </a:p>
        </p:txBody>
      </p:sp>
      <p:cxnSp>
        <p:nvCxnSpPr>
          <p:cNvPr id="32" name="Gerade Verbindung mit Pfeil 31"/>
          <p:cNvCxnSpPr/>
          <p:nvPr/>
        </p:nvCxnSpPr>
        <p:spPr bwMode="auto">
          <a:xfrm flipV="1">
            <a:off x="1542461" y="4168140"/>
            <a:ext cx="0" cy="1938783"/>
          </a:xfrm>
          <a:prstGeom prst="straightConnector1">
            <a:avLst/>
          </a:prstGeom>
          <a:solidFill>
            <a:schemeClr val="folHlink"/>
          </a:solidFill>
          <a:ln w="19050" cap="flat" cmpd="sng" algn="ctr">
            <a:solidFill>
              <a:srgbClr val="0070C0"/>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8" name="Gruppieren 37"/>
          <p:cNvGrpSpPr/>
          <p:nvPr/>
        </p:nvGrpSpPr>
        <p:grpSpPr>
          <a:xfrm>
            <a:off x="1363980" y="3611880"/>
            <a:ext cx="6198184" cy="213360"/>
            <a:chOff x="3646868" y="2202180"/>
            <a:chExt cx="1466152" cy="114300"/>
          </a:xfrm>
        </p:grpSpPr>
        <p:cxnSp>
          <p:nvCxnSpPr>
            <p:cNvPr id="39" name="Gerade Verbindung 38"/>
            <p:cNvCxnSpPr/>
            <p:nvPr/>
          </p:nvCxnSpPr>
          <p:spPr bwMode="auto">
            <a:xfrm>
              <a:off x="3646868" y="2263140"/>
              <a:ext cx="1466152" cy="0"/>
            </a:xfrm>
            <a:prstGeom prst="line">
              <a:avLst/>
            </a:prstGeom>
            <a:solidFill>
              <a:schemeClr val="folHlink"/>
            </a:solidFill>
            <a:ln w="19050" cap="flat" cmpd="sng" algn="ctr">
              <a:solidFill>
                <a:schemeClr val="folHlink"/>
              </a:solidFill>
              <a:prstDash val="solid"/>
              <a:round/>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0" name="Gruppieren 39"/>
            <p:cNvGrpSpPr/>
            <p:nvPr/>
          </p:nvGrpSpPr>
          <p:grpSpPr>
            <a:xfrm>
              <a:off x="3806888" y="2202180"/>
              <a:ext cx="1110090" cy="114300"/>
              <a:chOff x="3806888" y="2148840"/>
              <a:chExt cx="1110090" cy="266700"/>
            </a:xfrm>
          </p:grpSpPr>
          <p:cxnSp>
            <p:nvCxnSpPr>
              <p:cNvPr id="41" name="Gerade Verbindung 40"/>
              <p:cNvCxnSpPr/>
              <p:nvPr/>
            </p:nvCxnSpPr>
            <p:spPr bwMode="auto">
              <a:xfrm flipV="1">
                <a:off x="380688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2" name="Gerade Verbindung 41"/>
              <p:cNvCxnSpPr/>
              <p:nvPr/>
            </p:nvCxnSpPr>
            <p:spPr bwMode="auto">
              <a:xfrm flipV="1">
                <a:off x="399190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Gerade Verbindung 42"/>
              <p:cNvCxnSpPr/>
              <p:nvPr/>
            </p:nvCxnSpPr>
            <p:spPr bwMode="auto">
              <a:xfrm flipV="1">
                <a:off x="417691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Gerade Verbindung 43"/>
              <p:cNvCxnSpPr/>
              <p:nvPr/>
            </p:nvCxnSpPr>
            <p:spPr bwMode="auto">
              <a:xfrm flipV="1">
                <a:off x="436193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Gerade Verbindung 44"/>
              <p:cNvCxnSpPr/>
              <p:nvPr/>
            </p:nvCxnSpPr>
            <p:spPr bwMode="auto">
              <a:xfrm flipV="1">
                <a:off x="454694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Gerade Verbindung 45"/>
              <p:cNvCxnSpPr/>
              <p:nvPr/>
            </p:nvCxnSpPr>
            <p:spPr bwMode="auto">
              <a:xfrm flipV="1">
                <a:off x="473196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7" name="Gerade Verbindung 46"/>
              <p:cNvCxnSpPr/>
              <p:nvPr/>
            </p:nvCxnSpPr>
            <p:spPr bwMode="auto">
              <a:xfrm flipV="1">
                <a:off x="491697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50" name="Gruppieren 49"/>
          <p:cNvGrpSpPr/>
          <p:nvPr/>
        </p:nvGrpSpPr>
        <p:grpSpPr>
          <a:xfrm>
            <a:off x="1363980" y="5893562"/>
            <a:ext cx="6217920" cy="213360"/>
            <a:chOff x="3646868" y="2202180"/>
            <a:chExt cx="1466152" cy="114300"/>
          </a:xfrm>
        </p:grpSpPr>
        <p:cxnSp>
          <p:nvCxnSpPr>
            <p:cNvPr id="51" name="Gerade Verbindung 50"/>
            <p:cNvCxnSpPr/>
            <p:nvPr/>
          </p:nvCxnSpPr>
          <p:spPr bwMode="auto">
            <a:xfrm>
              <a:off x="3646868" y="2263140"/>
              <a:ext cx="1466152" cy="0"/>
            </a:xfrm>
            <a:prstGeom prst="line">
              <a:avLst/>
            </a:prstGeom>
            <a:solidFill>
              <a:schemeClr val="folHlink"/>
            </a:solidFill>
            <a:ln w="19050" cap="flat" cmpd="sng" algn="ctr">
              <a:solidFill>
                <a:schemeClr val="folHlink"/>
              </a:solidFill>
              <a:prstDash val="solid"/>
              <a:round/>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52" name="Gruppieren 51"/>
            <p:cNvGrpSpPr/>
            <p:nvPr/>
          </p:nvGrpSpPr>
          <p:grpSpPr>
            <a:xfrm>
              <a:off x="3806888" y="2202180"/>
              <a:ext cx="1110090" cy="114300"/>
              <a:chOff x="3806888" y="2148840"/>
              <a:chExt cx="1110090" cy="266700"/>
            </a:xfrm>
          </p:grpSpPr>
          <p:cxnSp>
            <p:nvCxnSpPr>
              <p:cNvPr id="53" name="Gerade Verbindung 52"/>
              <p:cNvCxnSpPr/>
              <p:nvPr/>
            </p:nvCxnSpPr>
            <p:spPr bwMode="auto">
              <a:xfrm flipV="1">
                <a:off x="380688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4" name="Gerade Verbindung 53"/>
              <p:cNvCxnSpPr/>
              <p:nvPr/>
            </p:nvCxnSpPr>
            <p:spPr bwMode="auto">
              <a:xfrm flipV="1">
                <a:off x="399190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5" name="Gerade Verbindung 54"/>
              <p:cNvCxnSpPr/>
              <p:nvPr/>
            </p:nvCxnSpPr>
            <p:spPr bwMode="auto">
              <a:xfrm flipV="1">
                <a:off x="417691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6" name="Gerade Verbindung 55"/>
              <p:cNvCxnSpPr/>
              <p:nvPr/>
            </p:nvCxnSpPr>
            <p:spPr bwMode="auto">
              <a:xfrm flipV="1">
                <a:off x="436193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7" name="Gerade Verbindung 56"/>
              <p:cNvCxnSpPr/>
              <p:nvPr/>
            </p:nvCxnSpPr>
            <p:spPr bwMode="auto">
              <a:xfrm flipV="1">
                <a:off x="454694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Gerade Verbindung 62"/>
              <p:cNvCxnSpPr/>
              <p:nvPr/>
            </p:nvCxnSpPr>
            <p:spPr bwMode="auto">
              <a:xfrm flipV="1">
                <a:off x="473196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4" name="Gerade Verbindung 63"/>
              <p:cNvCxnSpPr/>
              <p:nvPr/>
            </p:nvCxnSpPr>
            <p:spPr bwMode="auto">
              <a:xfrm flipV="1">
                <a:off x="491697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pic>
        <p:nvPicPr>
          <p:cNvPr id="102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99848"/>
          <a:stretch/>
        </p:blipFill>
        <p:spPr bwMode="auto">
          <a:xfrm>
            <a:off x="1668624" y="4167597"/>
            <a:ext cx="164684" cy="1839214"/>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80" name="Textfeld 79"/>
          <p:cNvSpPr txBox="1"/>
          <p:nvPr/>
        </p:nvSpPr>
        <p:spPr>
          <a:xfrm rot="16200000">
            <a:off x="760516" y="4880133"/>
            <a:ext cx="970597" cy="400050"/>
          </a:xfrm>
          <a:prstGeom prst="rect">
            <a:avLst/>
          </a:prstGeom>
          <a:noFill/>
        </p:spPr>
        <p:txBody>
          <a:bodyPr wrap="none" rtlCol="0">
            <a:noAutofit/>
          </a:bodyPr>
          <a:lstStyle/>
          <a:p>
            <a:pPr eaLnBrk="0" fontAlgn="base" hangingPunct="0">
              <a:spcBef>
                <a:spcPct val="0"/>
              </a:spcBef>
              <a:spcAft>
                <a:spcPct val="0"/>
              </a:spcAft>
            </a:pPr>
            <a:r>
              <a:rPr lang="en-US" sz="1600" dirty="0">
                <a:solidFill>
                  <a:srgbClr val="000000"/>
                </a:solidFill>
              </a:rPr>
              <a:t>Intensity</a:t>
            </a:r>
          </a:p>
        </p:txBody>
      </p:sp>
      <p:sp>
        <p:nvSpPr>
          <p:cNvPr id="20" name="Rechteck 19"/>
          <p:cNvSpPr/>
          <p:nvPr/>
        </p:nvSpPr>
        <p:spPr bwMode="auto">
          <a:xfrm>
            <a:off x="1716438" y="5797896"/>
            <a:ext cx="160020" cy="160020"/>
          </a:xfrm>
          <a:prstGeom prst="rect">
            <a:avLst/>
          </a:prstGeom>
          <a:solidFill>
            <a:schemeClr val="tx1"/>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1" name="Rechteck 80"/>
          <p:cNvSpPr/>
          <p:nvPr/>
        </p:nvSpPr>
        <p:spPr bwMode="auto">
          <a:xfrm>
            <a:off x="2667515" y="5578705"/>
            <a:ext cx="160020" cy="160020"/>
          </a:xfrm>
          <a:prstGeom prst="rect">
            <a:avLst/>
          </a:prstGeom>
          <a:solidFill>
            <a:srgbClr val="0000BE"/>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3" name="Rechteck 82"/>
          <p:cNvSpPr/>
          <p:nvPr/>
        </p:nvSpPr>
        <p:spPr bwMode="auto">
          <a:xfrm>
            <a:off x="3166307" y="5372646"/>
            <a:ext cx="160020" cy="160020"/>
          </a:xfrm>
          <a:prstGeom prst="rect">
            <a:avLst/>
          </a:prstGeom>
          <a:solidFill>
            <a:srgbClr val="33CCFF"/>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7" name="Rechteck 86"/>
          <p:cNvSpPr/>
          <p:nvPr/>
        </p:nvSpPr>
        <p:spPr bwMode="auto">
          <a:xfrm>
            <a:off x="3652832" y="5569653"/>
            <a:ext cx="160020" cy="160020"/>
          </a:xfrm>
          <a:prstGeom prst="rect">
            <a:avLst/>
          </a:prstGeom>
          <a:solidFill>
            <a:srgbClr val="0000BE"/>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92" name="Rechteck 91"/>
          <p:cNvSpPr/>
          <p:nvPr/>
        </p:nvSpPr>
        <p:spPr bwMode="auto">
          <a:xfrm>
            <a:off x="4594102" y="5800887"/>
            <a:ext cx="160020" cy="160020"/>
          </a:xfrm>
          <a:prstGeom prst="rect">
            <a:avLst/>
          </a:prstGeom>
          <a:solidFill>
            <a:schemeClr val="tx1"/>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cxnSp>
        <p:nvCxnSpPr>
          <p:cNvPr id="24" name="Gerade Verbindung mit Pfeil 23"/>
          <p:cNvCxnSpPr/>
          <p:nvPr/>
        </p:nvCxnSpPr>
        <p:spPr bwMode="auto">
          <a:xfrm>
            <a:off x="1792817" y="3869690"/>
            <a:ext cx="0" cy="1825336"/>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3" name="Gerade Verbindung mit Pfeil 92"/>
          <p:cNvCxnSpPr/>
          <p:nvPr/>
        </p:nvCxnSpPr>
        <p:spPr bwMode="auto">
          <a:xfrm flipH="1">
            <a:off x="2251121" y="3869690"/>
            <a:ext cx="1" cy="1825336"/>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4" name="Gerade Verbindung mit Pfeil 93"/>
          <p:cNvCxnSpPr>
            <a:endCxn id="81" idx="0"/>
          </p:cNvCxnSpPr>
          <p:nvPr/>
        </p:nvCxnSpPr>
        <p:spPr bwMode="auto">
          <a:xfrm>
            <a:off x="2747525" y="3869690"/>
            <a:ext cx="0" cy="1709015"/>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5" name="Gerade Verbindung mit Pfeil 94"/>
          <p:cNvCxnSpPr/>
          <p:nvPr/>
        </p:nvCxnSpPr>
        <p:spPr bwMode="auto">
          <a:xfrm>
            <a:off x="3229417" y="3856809"/>
            <a:ext cx="9625" cy="1515837"/>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6" name="Gerade Verbindung mit Pfeil 95"/>
          <p:cNvCxnSpPr>
            <a:endCxn id="87" idx="0"/>
          </p:cNvCxnSpPr>
          <p:nvPr/>
        </p:nvCxnSpPr>
        <p:spPr bwMode="auto">
          <a:xfrm>
            <a:off x="3727634" y="3869690"/>
            <a:ext cx="5208" cy="1699963"/>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7" name="Gerade Verbindung mit Pfeil 96"/>
          <p:cNvCxnSpPr>
            <a:endCxn id="482" idx="0"/>
          </p:cNvCxnSpPr>
          <p:nvPr/>
        </p:nvCxnSpPr>
        <p:spPr bwMode="auto">
          <a:xfrm>
            <a:off x="4185874" y="3869690"/>
            <a:ext cx="15194" cy="1905132"/>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8" name="Gerade Verbindung mit Pfeil 97"/>
          <p:cNvCxnSpPr/>
          <p:nvPr/>
        </p:nvCxnSpPr>
        <p:spPr bwMode="auto">
          <a:xfrm>
            <a:off x="4656942" y="3869690"/>
            <a:ext cx="0" cy="1905132"/>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2" name="Textfeld 131"/>
          <p:cNvSpPr txBox="1"/>
          <p:nvPr/>
        </p:nvSpPr>
        <p:spPr>
          <a:xfrm>
            <a:off x="308803" y="2053310"/>
            <a:ext cx="1133476" cy="400050"/>
          </a:xfrm>
          <a:prstGeom prst="rect">
            <a:avLst/>
          </a:prstGeom>
          <a:noFill/>
        </p:spPr>
        <p:txBody>
          <a:bodyPr wrap="none" rtlCol="0">
            <a:noAutofit/>
          </a:bodyPr>
          <a:lstStyle/>
          <a:p>
            <a:pPr eaLnBrk="0" fontAlgn="base" hangingPunct="0">
              <a:spcBef>
                <a:spcPct val="0"/>
              </a:spcBef>
              <a:spcAft>
                <a:spcPct val="0"/>
              </a:spcAft>
            </a:pPr>
            <a:r>
              <a:rPr lang="en-US" sz="1200" dirty="0">
                <a:solidFill>
                  <a:srgbClr val="000000"/>
                </a:solidFill>
              </a:rPr>
              <a:t>excitation</a:t>
            </a:r>
          </a:p>
        </p:txBody>
      </p:sp>
      <p:sp>
        <p:nvSpPr>
          <p:cNvPr id="1027" name="Freihandform 1026"/>
          <p:cNvSpPr/>
          <p:nvPr/>
        </p:nvSpPr>
        <p:spPr bwMode="auto">
          <a:xfrm>
            <a:off x="411480" y="1653540"/>
            <a:ext cx="1104900" cy="121920"/>
          </a:xfrm>
          <a:custGeom>
            <a:avLst/>
            <a:gdLst>
              <a:gd name="connsiteX0" fmla="*/ 0 w 1203960"/>
              <a:gd name="connsiteY0" fmla="*/ 0 h 243840"/>
              <a:gd name="connsiteX1" fmla="*/ 670560 w 1203960"/>
              <a:gd name="connsiteY1" fmla="*/ 0 h 243840"/>
              <a:gd name="connsiteX2" fmla="*/ 1203960 w 1203960"/>
              <a:gd name="connsiteY2" fmla="*/ 243840 h 243840"/>
              <a:gd name="connsiteX0" fmla="*/ 0 w 1234440"/>
              <a:gd name="connsiteY0" fmla="*/ 0 h 160020"/>
              <a:gd name="connsiteX1" fmla="*/ 670560 w 1234440"/>
              <a:gd name="connsiteY1" fmla="*/ 0 h 160020"/>
              <a:gd name="connsiteX2" fmla="*/ 1234440 w 1234440"/>
              <a:gd name="connsiteY2" fmla="*/ 160020 h 160020"/>
              <a:gd name="connsiteX0" fmla="*/ 0 w 1104900"/>
              <a:gd name="connsiteY0" fmla="*/ 0 h 121920"/>
              <a:gd name="connsiteX1" fmla="*/ 670560 w 1104900"/>
              <a:gd name="connsiteY1" fmla="*/ 0 h 121920"/>
              <a:gd name="connsiteX2" fmla="*/ 1104900 w 1104900"/>
              <a:gd name="connsiteY2" fmla="*/ 121920 h 121920"/>
            </a:gdLst>
            <a:ahLst/>
            <a:cxnLst>
              <a:cxn ang="0">
                <a:pos x="connsiteX0" y="connsiteY0"/>
              </a:cxn>
              <a:cxn ang="0">
                <a:pos x="connsiteX1" y="connsiteY1"/>
              </a:cxn>
              <a:cxn ang="0">
                <a:pos x="connsiteX2" y="connsiteY2"/>
              </a:cxn>
            </a:cxnLst>
            <a:rect l="l" t="t" r="r" b="b"/>
            <a:pathLst>
              <a:path w="1104900" h="121920">
                <a:moveTo>
                  <a:pt x="0" y="0"/>
                </a:moveTo>
                <a:lnTo>
                  <a:pt x="670560" y="0"/>
                </a:lnTo>
                <a:lnTo>
                  <a:pt x="1104900" y="121920"/>
                </a:lnTo>
              </a:path>
            </a:pathLst>
          </a:custGeom>
          <a:noFill/>
          <a:ln w="3175"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37" name="Freihandform 136"/>
          <p:cNvSpPr/>
          <p:nvPr/>
        </p:nvSpPr>
        <p:spPr bwMode="auto">
          <a:xfrm flipV="1">
            <a:off x="411480" y="1924518"/>
            <a:ext cx="1575468" cy="361481"/>
          </a:xfrm>
          <a:custGeom>
            <a:avLst/>
            <a:gdLst>
              <a:gd name="connsiteX0" fmla="*/ 0 w 1203960"/>
              <a:gd name="connsiteY0" fmla="*/ 0 h 243840"/>
              <a:gd name="connsiteX1" fmla="*/ 670560 w 1203960"/>
              <a:gd name="connsiteY1" fmla="*/ 0 h 243840"/>
              <a:gd name="connsiteX2" fmla="*/ 1203960 w 1203960"/>
              <a:gd name="connsiteY2" fmla="*/ 243840 h 243840"/>
              <a:gd name="connsiteX0" fmla="*/ 0 w 1234440"/>
              <a:gd name="connsiteY0" fmla="*/ 0 h 160020"/>
              <a:gd name="connsiteX1" fmla="*/ 670560 w 1234440"/>
              <a:gd name="connsiteY1" fmla="*/ 0 h 160020"/>
              <a:gd name="connsiteX2" fmla="*/ 1234440 w 1234440"/>
              <a:gd name="connsiteY2" fmla="*/ 160020 h 160020"/>
            </a:gdLst>
            <a:ahLst/>
            <a:cxnLst>
              <a:cxn ang="0">
                <a:pos x="connsiteX0" y="connsiteY0"/>
              </a:cxn>
              <a:cxn ang="0">
                <a:pos x="connsiteX1" y="connsiteY1"/>
              </a:cxn>
              <a:cxn ang="0">
                <a:pos x="connsiteX2" y="connsiteY2"/>
              </a:cxn>
            </a:cxnLst>
            <a:rect l="l" t="t" r="r" b="b"/>
            <a:pathLst>
              <a:path w="1234440" h="160020">
                <a:moveTo>
                  <a:pt x="0" y="0"/>
                </a:moveTo>
                <a:lnTo>
                  <a:pt x="670560" y="0"/>
                </a:lnTo>
                <a:lnTo>
                  <a:pt x="1234440" y="160020"/>
                </a:lnTo>
              </a:path>
            </a:pathLst>
          </a:custGeom>
          <a:noFill/>
          <a:ln w="3175"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nvGrpSpPr>
          <p:cNvPr id="6" name="Gruppieren 5"/>
          <p:cNvGrpSpPr/>
          <p:nvPr/>
        </p:nvGrpSpPr>
        <p:grpSpPr>
          <a:xfrm>
            <a:off x="1484623" y="1384386"/>
            <a:ext cx="1046394" cy="1046394"/>
            <a:chOff x="1484623" y="1384386"/>
            <a:chExt cx="1046394" cy="1046394"/>
          </a:xfrm>
        </p:grpSpPr>
        <p:grpSp>
          <p:nvGrpSpPr>
            <p:cNvPr id="129" name="Gruppieren 128"/>
            <p:cNvGrpSpPr/>
            <p:nvPr/>
          </p:nvGrpSpPr>
          <p:grpSpPr>
            <a:xfrm>
              <a:off x="1484623" y="1384386"/>
              <a:ext cx="1046394" cy="1046394"/>
              <a:chOff x="1249679" y="1384386"/>
              <a:chExt cx="1046394" cy="1046394"/>
            </a:xfrm>
          </p:grpSpPr>
          <p:sp>
            <p:nvSpPr>
              <p:cNvPr id="130" name="Ellipse 129"/>
              <p:cNvSpPr/>
              <p:nvPr/>
            </p:nvSpPr>
            <p:spPr bwMode="auto">
              <a:xfrm>
                <a:off x="1249679" y="1384386"/>
                <a:ext cx="1046394" cy="1046394"/>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31" name="Ellipse 130"/>
              <p:cNvSpPr/>
              <p:nvPr/>
            </p:nvSpPr>
            <p:spPr bwMode="auto">
              <a:xfrm flipV="1">
                <a:off x="1317282" y="1454590"/>
                <a:ext cx="915164" cy="915164"/>
              </a:xfrm>
              <a:prstGeom prst="ellipse">
                <a:avLst/>
              </a:prstGeom>
              <a:gradFill flip="none" rotWithShape="1">
                <a:gsLst>
                  <a:gs pos="0">
                    <a:srgbClr val="7030A0"/>
                  </a:gs>
                  <a:gs pos="33500">
                    <a:srgbClr val="B898D0">
                      <a:alpha val="79000"/>
                    </a:srgbClr>
                  </a:gs>
                  <a:gs pos="72000">
                    <a:srgbClr val="FFFFFE">
                      <a:alpha val="0"/>
                      <a:lumMod val="0"/>
                      <a:lumOff val="10000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nvGrpSpPr>
            <p:cNvPr id="180" name="Gruppieren 179"/>
            <p:cNvGrpSpPr/>
            <p:nvPr/>
          </p:nvGrpSpPr>
          <p:grpSpPr>
            <a:xfrm>
              <a:off x="1493990" y="1445270"/>
              <a:ext cx="1033538" cy="939724"/>
              <a:chOff x="386078" y="2179778"/>
              <a:chExt cx="3657046" cy="3325098"/>
            </a:xfrm>
            <a:noFill/>
          </p:grpSpPr>
          <p:sp>
            <p:nvSpPr>
              <p:cNvPr id="181" name="Sechseck 180"/>
              <p:cNvSpPr/>
              <p:nvPr/>
            </p:nvSpPr>
            <p:spPr bwMode="auto">
              <a:xfrm>
                <a:off x="1893455"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82" name="Sechseck 181"/>
              <p:cNvSpPr/>
              <p:nvPr/>
            </p:nvSpPr>
            <p:spPr bwMode="auto">
              <a:xfrm>
                <a:off x="2392220" y="328814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83" name="Sechseck 182"/>
              <p:cNvSpPr/>
              <p:nvPr/>
            </p:nvSpPr>
            <p:spPr bwMode="auto">
              <a:xfrm>
                <a:off x="239222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84" name="Sechseck 183"/>
              <p:cNvSpPr/>
              <p:nvPr/>
            </p:nvSpPr>
            <p:spPr bwMode="auto">
              <a:xfrm>
                <a:off x="1893455"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85" name="Sechseck 184"/>
              <p:cNvSpPr/>
              <p:nvPr/>
            </p:nvSpPr>
            <p:spPr bwMode="auto">
              <a:xfrm>
                <a:off x="139469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86" name="Sechseck 185"/>
              <p:cNvSpPr/>
              <p:nvPr/>
            </p:nvSpPr>
            <p:spPr bwMode="auto">
              <a:xfrm>
                <a:off x="1394690" y="328814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87" name="Sechseck 186"/>
              <p:cNvSpPr/>
              <p:nvPr/>
            </p:nvSpPr>
            <p:spPr bwMode="auto">
              <a:xfrm>
                <a:off x="1893455" y="3565236"/>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88" name="Sechseck 187"/>
              <p:cNvSpPr/>
              <p:nvPr/>
            </p:nvSpPr>
            <p:spPr bwMode="auto">
              <a:xfrm>
                <a:off x="239222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89" name="Sechseck 188"/>
              <p:cNvSpPr/>
              <p:nvPr/>
            </p:nvSpPr>
            <p:spPr bwMode="auto">
              <a:xfrm>
                <a:off x="2897352"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90" name="Sechseck 189"/>
              <p:cNvSpPr/>
              <p:nvPr/>
            </p:nvSpPr>
            <p:spPr bwMode="auto">
              <a:xfrm>
                <a:off x="2897352" y="356523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91" name="Sechseck 190"/>
              <p:cNvSpPr/>
              <p:nvPr/>
            </p:nvSpPr>
            <p:spPr bwMode="auto">
              <a:xfrm>
                <a:off x="2897352"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92" name="Sechseck 191"/>
              <p:cNvSpPr/>
              <p:nvPr/>
            </p:nvSpPr>
            <p:spPr bwMode="auto">
              <a:xfrm>
                <a:off x="2404843"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93" name="Sechseck 192"/>
              <p:cNvSpPr/>
              <p:nvPr/>
            </p:nvSpPr>
            <p:spPr bwMode="auto">
              <a:xfrm>
                <a:off x="1893455"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94" name="Sechseck 193"/>
              <p:cNvSpPr/>
              <p:nvPr/>
            </p:nvSpPr>
            <p:spPr bwMode="auto">
              <a:xfrm>
                <a:off x="1394690"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95" name="Sechseck 194"/>
              <p:cNvSpPr/>
              <p:nvPr/>
            </p:nvSpPr>
            <p:spPr bwMode="auto">
              <a:xfrm>
                <a:off x="888998" y="301408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96" name="Sechseck 195"/>
              <p:cNvSpPr/>
              <p:nvPr/>
            </p:nvSpPr>
            <p:spPr bwMode="auto">
              <a:xfrm>
                <a:off x="888998" y="356826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97" name="Sechseck 196"/>
              <p:cNvSpPr/>
              <p:nvPr/>
            </p:nvSpPr>
            <p:spPr bwMode="auto">
              <a:xfrm>
                <a:off x="888998" y="4122446"/>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98" name="Sechseck 197"/>
              <p:cNvSpPr/>
              <p:nvPr/>
            </p:nvSpPr>
            <p:spPr bwMode="auto">
              <a:xfrm>
                <a:off x="139469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99" name="Sechseck 198"/>
              <p:cNvSpPr/>
              <p:nvPr/>
            </p:nvSpPr>
            <p:spPr bwMode="auto">
              <a:xfrm>
                <a:off x="1893455"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00" name="Sechseck 199"/>
              <p:cNvSpPr/>
              <p:nvPr/>
            </p:nvSpPr>
            <p:spPr bwMode="auto">
              <a:xfrm>
                <a:off x="2392220" y="217977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01" name="Sechseck 200"/>
              <p:cNvSpPr/>
              <p:nvPr/>
            </p:nvSpPr>
            <p:spPr bwMode="auto">
              <a:xfrm>
                <a:off x="2897352"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02" name="Sechseck 201"/>
              <p:cNvSpPr/>
              <p:nvPr/>
            </p:nvSpPr>
            <p:spPr bwMode="auto">
              <a:xfrm>
                <a:off x="1394690" y="218713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03" name="Sechseck 202"/>
              <p:cNvSpPr/>
              <p:nvPr/>
            </p:nvSpPr>
            <p:spPr bwMode="auto">
              <a:xfrm>
                <a:off x="888998"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04" name="Sechseck 203"/>
              <p:cNvSpPr/>
              <p:nvPr/>
            </p:nvSpPr>
            <p:spPr bwMode="auto">
              <a:xfrm>
                <a:off x="386078" y="329117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05" name="Sechseck 204"/>
              <p:cNvSpPr/>
              <p:nvPr/>
            </p:nvSpPr>
            <p:spPr bwMode="auto">
              <a:xfrm>
                <a:off x="386078" y="384536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06" name="Sechseck 205"/>
              <p:cNvSpPr/>
              <p:nvPr/>
            </p:nvSpPr>
            <p:spPr bwMode="auto">
              <a:xfrm>
                <a:off x="888998"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07" name="Sechseck 206"/>
              <p:cNvSpPr/>
              <p:nvPr/>
            </p:nvSpPr>
            <p:spPr bwMode="auto">
              <a:xfrm>
                <a:off x="1394690" y="495069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08" name="Sechseck 207"/>
              <p:cNvSpPr/>
              <p:nvPr/>
            </p:nvSpPr>
            <p:spPr bwMode="auto">
              <a:xfrm>
                <a:off x="2404843" y="494919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09" name="Sechseck 208"/>
              <p:cNvSpPr/>
              <p:nvPr/>
            </p:nvSpPr>
            <p:spPr bwMode="auto">
              <a:xfrm>
                <a:off x="2897352" y="46736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10" name="Sechseck 209"/>
              <p:cNvSpPr/>
              <p:nvPr/>
            </p:nvSpPr>
            <p:spPr bwMode="auto">
              <a:xfrm>
                <a:off x="3400272" y="384232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11" name="Sechseck 210"/>
              <p:cNvSpPr/>
              <p:nvPr/>
            </p:nvSpPr>
            <p:spPr bwMode="auto">
              <a:xfrm>
                <a:off x="3400272" y="32865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12" name="Sechseck 211"/>
              <p:cNvSpPr/>
              <p:nvPr/>
            </p:nvSpPr>
            <p:spPr bwMode="auto">
              <a:xfrm>
                <a:off x="3400272" y="273092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sp>
        <p:nvSpPr>
          <p:cNvPr id="214" name="Freihandform 213"/>
          <p:cNvSpPr/>
          <p:nvPr/>
        </p:nvSpPr>
        <p:spPr bwMode="auto">
          <a:xfrm flipV="1">
            <a:off x="411480" y="2331283"/>
            <a:ext cx="1367559" cy="350015"/>
          </a:xfrm>
          <a:custGeom>
            <a:avLst/>
            <a:gdLst>
              <a:gd name="connsiteX0" fmla="*/ 0 w 1203960"/>
              <a:gd name="connsiteY0" fmla="*/ 0 h 243840"/>
              <a:gd name="connsiteX1" fmla="*/ 670560 w 1203960"/>
              <a:gd name="connsiteY1" fmla="*/ 0 h 243840"/>
              <a:gd name="connsiteX2" fmla="*/ 1203960 w 1203960"/>
              <a:gd name="connsiteY2" fmla="*/ 243840 h 243840"/>
              <a:gd name="connsiteX0" fmla="*/ 0 w 1234440"/>
              <a:gd name="connsiteY0" fmla="*/ 0 h 160020"/>
              <a:gd name="connsiteX1" fmla="*/ 670560 w 1234440"/>
              <a:gd name="connsiteY1" fmla="*/ 0 h 160020"/>
              <a:gd name="connsiteX2" fmla="*/ 1234440 w 1234440"/>
              <a:gd name="connsiteY2" fmla="*/ 160020 h 160020"/>
            </a:gdLst>
            <a:ahLst/>
            <a:cxnLst>
              <a:cxn ang="0">
                <a:pos x="connsiteX0" y="connsiteY0"/>
              </a:cxn>
              <a:cxn ang="0">
                <a:pos x="connsiteX1" y="connsiteY1"/>
              </a:cxn>
              <a:cxn ang="0">
                <a:pos x="connsiteX2" y="connsiteY2"/>
              </a:cxn>
            </a:cxnLst>
            <a:rect l="l" t="t" r="r" b="b"/>
            <a:pathLst>
              <a:path w="1234440" h="160020">
                <a:moveTo>
                  <a:pt x="0" y="0"/>
                </a:moveTo>
                <a:lnTo>
                  <a:pt x="670560" y="0"/>
                </a:lnTo>
                <a:lnTo>
                  <a:pt x="1234440" y="160020"/>
                </a:lnTo>
              </a:path>
            </a:pathLst>
          </a:custGeom>
          <a:noFill/>
          <a:ln w="3175"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75" name="Sechseck 474"/>
          <p:cNvSpPr/>
          <p:nvPr/>
        </p:nvSpPr>
        <p:spPr bwMode="auto">
          <a:xfrm>
            <a:off x="1704131" y="3372944"/>
            <a:ext cx="181680" cy="156620"/>
          </a:xfrm>
          <a:prstGeom prst="hexagon">
            <a:avLst/>
          </a:prstGeom>
          <a:solidFill>
            <a:schemeClr val="tx1"/>
          </a:solidFill>
          <a:ln w="38100"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76" name="Sechseck 475"/>
          <p:cNvSpPr/>
          <p:nvPr/>
        </p:nvSpPr>
        <p:spPr bwMode="auto">
          <a:xfrm>
            <a:off x="2147457" y="3364972"/>
            <a:ext cx="181680" cy="156620"/>
          </a:xfrm>
          <a:prstGeom prst="hexagon">
            <a:avLst/>
          </a:prstGeom>
          <a:solidFill>
            <a:srgbClr val="0F0000"/>
          </a:solidFill>
          <a:ln w="38100"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77" name="Sechseck 476"/>
          <p:cNvSpPr/>
          <p:nvPr/>
        </p:nvSpPr>
        <p:spPr bwMode="auto">
          <a:xfrm>
            <a:off x="2649165" y="3359468"/>
            <a:ext cx="181680" cy="156620"/>
          </a:xfrm>
          <a:prstGeom prst="hexagon">
            <a:avLst/>
          </a:prstGeom>
          <a:solidFill>
            <a:srgbClr val="0000BE"/>
          </a:solidFill>
          <a:ln w="38100"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78" name="Sechseck 477"/>
          <p:cNvSpPr/>
          <p:nvPr/>
        </p:nvSpPr>
        <p:spPr bwMode="auto">
          <a:xfrm>
            <a:off x="3160245" y="3356322"/>
            <a:ext cx="181680" cy="156620"/>
          </a:xfrm>
          <a:prstGeom prst="hexagon">
            <a:avLst/>
          </a:prstGeom>
          <a:solidFill>
            <a:srgbClr val="33CCFF"/>
          </a:solidFill>
          <a:ln w="38100"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79" name="Sechseck 478"/>
          <p:cNvSpPr/>
          <p:nvPr/>
        </p:nvSpPr>
        <p:spPr bwMode="auto">
          <a:xfrm>
            <a:off x="3643307" y="3349944"/>
            <a:ext cx="181680" cy="156620"/>
          </a:xfrm>
          <a:prstGeom prst="hexagon">
            <a:avLst/>
          </a:prstGeom>
          <a:solidFill>
            <a:srgbClr val="0000BE"/>
          </a:solidFill>
          <a:ln w="38100"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80" name="Sechseck 479"/>
          <p:cNvSpPr/>
          <p:nvPr/>
        </p:nvSpPr>
        <p:spPr bwMode="auto">
          <a:xfrm>
            <a:off x="4095034" y="3355448"/>
            <a:ext cx="181680" cy="156620"/>
          </a:xfrm>
          <a:prstGeom prst="hexagon">
            <a:avLst/>
          </a:prstGeom>
          <a:solidFill>
            <a:srgbClr val="0F0000"/>
          </a:solidFill>
          <a:ln w="38100"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81" name="Sechseck 480"/>
          <p:cNvSpPr/>
          <p:nvPr/>
        </p:nvSpPr>
        <p:spPr bwMode="auto">
          <a:xfrm>
            <a:off x="4566102" y="3355448"/>
            <a:ext cx="181680" cy="156620"/>
          </a:xfrm>
          <a:prstGeom prst="hexagon">
            <a:avLst/>
          </a:prstGeom>
          <a:solidFill>
            <a:srgbClr val="0F0000"/>
          </a:solidFill>
          <a:ln w="38100"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82" name="Rechteck 481"/>
          <p:cNvSpPr/>
          <p:nvPr/>
        </p:nvSpPr>
        <p:spPr bwMode="auto">
          <a:xfrm>
            <a:off x="4121058" y="5774822"/>
            <a:ext cx="160020" cy="160020"/>
          </a:xfrm>
          <a:prstGeom prst="rect">
            <a:avLst/>
          </a:prstGeom>
          <a:solidFill>
            <a:schemeClr val="tx1"/>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83" name="Rechteck 482"/>
          <p:cNvSpPr/>
          <p:nvPr/>
        </p:nvSpPr>
        <p:spPr bwMode="auto">
          <a:xfrm>
            <a:off x="2161958" y="5779770"/>
            <a:ext cx="160020" cy="160020"/>
          </a:xfrm>
          <a:prstGeom prst="rect">
            <a:avLst/>
          </a:prstGeom>
          <a:solidFill>
            <a:schemeClr val="tx1"/>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84" name="Freihandform 483"/>
          <p:cNvSpPr/>
          <p:nvPr/>
        </p:nvSpPr>
        <p:spPr bwMode="auto">
          <a:xfrm>
            <a:off x="1558897" y="5463540"/>
            <a:ext cx="3358081" cy="439774"/>
          </a:xfrm>
          <a:custGeom>
            <a:avLst/>
            <a:gdLst>
              <a:gd name="connsiteX0" fmla="*/ 0 w 6134100"/>
              <a:gd name="connsiteY0" fmla="*/ 15240 h 15240"/>
              <a:gd name="connsiteX1" fmla="*/ 6134100 w 6134100"/>
              <a:gd name="connsiteY1" fmla="*/ 0 h 15240"/>
              <a:gd name="connsiteX2" fmla="*/ 6134100 w 6134100"/>
              <a:gd name="connsiteY2" fmla="*/ 0 h 15240"/>
              <a:gd name="connsiteX0" fmla="*/ 0 w 6134100"/>
              <a:gd name="connsiteY0" fmla="*/ 15240 h 15240"/>
              <a:gd name="connsiteX1" fmla="*/ 3009900 w 6134100"/>
              <a:gd name="connsiteY1" fmla="*/ 15240 h 15240"/>
              <a:gd name="connsiteX2" fmla="*/ 6134100 w 6134100"/>
              <a:gd name="connsiteY2" fmla="*/ 0 h 15240"/>
              <a:gd name="connsiteX3" fmla="*/ 6134100 w 6134100"/>
              <a:gd name="connsiteY3" fmla="*/ 0 h 1524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1310640 w 6134100"/>
              <a:gd name="connsiteY1" fmla="*/ 74676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495800 w 6134100"/>
              <a:gd name="connsiteY3" fmla="*/ 632460 h 1341120"/>
              <a:gd name="connsiteX4" fmla="*/ 6134100 w 6134100"/>
              <a:gd name="connsiteY4" fmla="*/ 1325880 h 1341120"/>
              <a:gd name="connsiteX5" fmla="*/ 6134100 w 6134100"/>
              <a:gd name="connsiteY5"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556760 w 6134100"/>
              <a:gd name="connsiteY3" fmla="*/ 1036320 h 1341120"/>
              <a:gd name="connsiteX4" fmla="*/ 6134100 w 6134100"/>
              <a:gd name="connsiteY4" fmla="*/ 1325880 h 1341120"/>
              <a:gd name="connsiteX5" fmla="*/ 6134100 w 6134100"/>
              <a:gd name="connsiteY5" fmla="*/ 1325880 h 1341120"/>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64"/>
              <a:gd name="connsiteX1" fmla="*/ 2987040 w 6134100"/>
              <a:gd name="connsiteY1" fmla="*/ 4 h 1341164"/>
              <a:gd name="connsiteX2" fmla="*/ 6134100 w 6134100"/>
              <a:gd name="connsiteY2" fmla="*/ 1325884 h 1341164"/>
              <a:gd name="connsiteX3" fmla="*/ 6134100 w 6134100"/>
              <a:gd name="connsiteY3" fmla="*/ 1325884 h 1341164"/>
              <a:gd name="connsiteX0" fmla="*/ 107031 w 6241131"/>
              <a:gd name="connsiteY0" fmla="*/ 1341125 h 1442766"/>
              <a:gd name="connsiteX1" fmla="*/ 262384 w 6241131"/>
              <a:gd name="connsiteY1" fmla="*/ 1344075 h 1442766"/>
              <a:gd name="connsiteX2" fmla="*/ 3094071 w 6241131"/>
              <a:gd name="connsiteY2" fmla="*/ 5 h 1442766"/>
              <a:gd name="connsiteX3" fmla="*/ 6241131 w 6241131"/>
              <a:gd name="connsiteY3" fmla="*/ 1325885 h 1442766"/>
              <a:gd name="connsiteX4" fmla="*/ 6241131 w 6241131"/>
              <a:gd name="connsiteY4" fmla="*/ 1325885 h 1442766"/>
              <a:gd name="connsiteX0" fmla="*/ 0 w 7972466"/>
              <a:gd name="connsiteY0" fmla="*/ 1405128 h 1462299"/>
              <a:gd name="connsiteX1" fmla="*/ 1993719 w 7972466"/>
              <a:gd name="connsiteY1" fmla="*/ 1344075 h 1462299"/>
              <a:gd name="connsiteX2" fmla="*/ 4825406 w 7972466"/>
              <a:gd name="connsiteY2" fmla="*/ 5 h 1462299"/>
              <a:gd name="connsiteX3" fmla="*/ 7972466 w 7972466"/>
              <a:gd name="connsiteY3" fmla="*/ 1325885 h 1462299"/>
              <a:gd name="connsiteX4" fmla="*/ 7972466 w 7972466"/>
              <a:gd name="connsiteY4" fmla="*/ 1325885 h 1462299"/>
              <a:gd name="connsiteX0" fmla="*/ 0 w 7972466"/>
              <a:gd name="connsiteY0" fmla="*/ 1405128 h 1462299"/>
              <a:gd name="connsiteX1" fmla="*/ 1993719 w 7972466"/>
              <a:gd name="connsiteY1" fmla="*/ 1344075 h 1462299"/>
              <a:gd name="connsiteX2" fmla="*/ 4825406 w 7972466"/>
              <a:gd name="connsiteY2" fmla="*/ 5 h 1462299"/>
              <a:gd name="connsiteX3" fmla="*/ 7972466 w 7972466"/>
              <a:gd name="connsiteY3" fmla="*/ 1325885 h 1462299"/>
              <a:gd name="connsiteX4" fmla="*/ 7972466 w 7972466"/>
              <a:gd name="connsiteY4" fmla="*/ 1325885 h 1462299"/>
              <a:gd name="connsiteX0" fmla="*/ 0 w 7972466"/>
              <a:gd name="connsiteY0" fmla="*/ 1405128 h 1409339"/>
              <a:gd name="connsiteX1" fmla="*/ 1993719 w 7972466"/>
              <a:gd name="connsiteY1" fmla="*/ 1344075 h 1409339"/>
              <a:gd name="connsiteX2" fmla="*/ 4825406 w 7972466"/>
              <a:gd name="connsiteY2" fmla="*/ 5 h 1409339"/>
              <a:gd name="connsiteX3" fmla="*/ 7972466 w 7972466"/>
              <a:gd name="connsiteY3" fmla="*/ 1325885 h 1409339"/>
              <a:gd name="connsiteX4" fmla="*/ 7972466 w 7972466"/>
              <a:gd name="connsiteY4" fmla="*/ 1325885 h 1409339"/>
              <a:gd name="connsiteX0" fmla="*/ 0 w 7972466"/>
              <a:gd name="connsiteY0" fmla="*/ 1405128 h 1405131"/>
              <a:gd name="connsiteX1" fmla="*/ 1993719 w 7972466"/>
              <a:gd name="connsiteY1" fmla="*/ 1344075 h 1405131"/>
              <a:gd name="connsiteX2" fmla="*/ 4825406 w 7972466"/>
              <a:gd name="connsiteY2" fmla="*/ 5 h 1405131"/>
              <a:gd name="connsiteX3" fmla="*/ 7972466 w 7972466"/>
              <a:gd name="connsiteY3" fmla="*/ 1325885 h 1405131"/>
              <a:gd name="connsiteX4" fmla="*/ 7972466 w 7972466"/>
              <a:gd name="connsiteY4" fmla="*/ 1325885 h 1405131"/>
              <a:gd name="connsiteX0" fmla="*/ 0 w 7972466"/>
              <a:gd name="connsiteY0" fmla="*/ 1355348 h 1447593"/>
              <a:gd name="connsiteX1" fmla="*/ 1993719 w 7972466"/>
              <a:gd name="connsiteY1" fmla="*/ 1344075 h 1447593"/>
              <a:gd name="connsiteX2" fmla="*/ 4825406 w 7972466"/>
              <a:gd name="connsiteY2" fmla="*/ 5 h 1447593"/>
              <a:gd name="connsiteX3" fmla="*/ 7972466 w 7972466"/>
              <a:gd name="connsiteY3" fmla="*/ 1325885 h 1447593"/>
              <a:gd name="connsiteX4" fmla="*/ 7972466 w 7972466"/>
              <a:gd name="connsiteY4" fmla="*/ 1325885 h 1447593"/>
              <a:gd name="connsiteX0" fmla="*/ 0 w 7972466"/>
              <a:gd name="connsiteY0" fmla="*/ 1355348 h 1447593"/>
              <a:gd name="connsiteX1" fmla="*/ 1993719 w 7972466"/>
              <a:gd name="connsiteY1" fmla="*/ 1344075 h 1447593"/>
              <a:gd name="connsiteX2" fmla="*/ 4825406 w 7972466"/>
              <a:gd name="connsiteY2" fmla="*/ 5 h 1447593"/>
              <a:gd name="connsiteX3" fmla="*/ 7972466 w 7972466"/>
              <a:gd name="connsiteY3" fmla="*/ 1325885 h 1447593"/>
              <a:gd name="connsiteX4" fmla="*/ 7972466 w 7972466"/>
              <a:gd name="connsiteY4" fmla="*/ 1325885 h 1447593"/>
              <a:gd name="connsiteX0" fmla="*/ 16806 w 7989272"/>
              <a:gd name="connsiteY0" fmla="*/ 1355348 h 1820552"/>
              <a:gd name="connsiteX1" fmla="*/ 223946 w 7989272"/>
              <a:gd name="connsiteY1" fmla="*/ 1820547 h 1820552"/>
              <a:gd name="connsiteX2" fmla="*/ 2010525 w 7989272"/>
              <a:gd name="connsiteY2" fmla="*/ 1344075 h 1820552"/>
              <a:gd name="connsiteX3" fmla="*/ 4842212 w 7989272"/>
              <a:gd name="connsiteY3" fmla="*/ 5 h 1820552"/>
              <a:gd name="connsiteX4" fmla="*/ 7989272 w 7989272"/>
              <a:gd name="connsiteY4" fmla="*/ 1325885 h 1820552"/>
              <a:gd name="connsiteX5" fmla="*/ 7989272 w 7989272"/>
              <a:gd name="connsiteY5" fmla="*/ 1325885 h 1820552"/>
              <a:gd name="connsiteX0" fmla="*/ 0 w 7972466"/>
              <a:gd name="connsiteY0" fmla="*/ 1355348 h 1446932"/>
              <a:gd name="connsiteX1" fmla="*/ 1993719 w 7972466"/>
              <a:gd name="connsiteY1" fmla="*/ 1344075 h 1446932"/>
              <a:gd name="connsiteX2" fmla="*/ 4825406 w 7972466"/>
              <a:gd name="connsiteY2" fmla="*/ 5 h 1446932"/>
              <a:gd name="connsiteX3" fmla="*/ 7972466 w 7972466"/>
              <a:gd name="connsiteY3" fmla="*/ 1325885 h 1446932"/>
              <a:gd name="connsiteX4" fmla="*/ 7972466 w 7972466"/>
              <a:gd name="connsiteY4" fmla="*/ 1325885 h 1446932"/>
              <a:gd name="connsiteX0" fmla="*/ 0 w 7985412"/>
              <a:gd name="connsiteY0" fmla="*/ 1405129 h 1466059"/>
              <a:gd name="connsiteX1" fmla="*/ 2006665 w 7985412"/>
              <a:gd name="connsiteY1" fmla="*/ 1344075 h 1466059"/>
              <a:gd name="connsiteX2" fmla="*/ 4838352 w 7985412"/>
              <a:gd name="connsiteY2" fmla="*/ 5 h 1466059"/>
              <a:gd name="connsiteX3" fmla="*/ 7985412 w 7985412"/>
              <a:gd name="connsiteY3" fmla="*/ 1325885 h 1466059"/>
              <a:gd name="connsiteX4" fmla="*/ 7985412 w 7985412"/>
              <a:gd name="connsiteY4" fmla="*/ 1325885 h 1466059"/>
              <a:gd name="connsiteX0" fmla="*/ 0 w 7985412"/>
              <a:gd name="connsiteY0" fmla="*/ 1405129 h 1405129"/>
              <a:gd name="connsiteX1" fmla="*/ 2006665 w 7985412"/>
              <a:gd name="connsiteY1" fmla="*/ 1344075 h 1405129"/>
              <a:gd name="connsiteX2" fmla="*/ 4838352 w 7985412"/>
              <a:gd name="connsiteY2" fmla="*/ 5 h 1405129"/>
              <a:gd name="connsiteX3" fmla="*/ 7985412 w 7985412"/>
              <a:gd name="connsiteY3" fmla="*/ 1325885 h 1405129"/>
              <a:gd name="connsiteX4" fmla="*/ 7985412 w 7985412"/>
              <a:gd name="connsiteY4" fmla="*/ 1325885 h 1405129"/>
              <a:gd name="connsiteX0" fmla="*/ 0 w 7998358"/>
              <a:gd name="connsiteY0" fmla="*/ 1348237 h 1444504"/>
              <a:gd name="connsiteX1" fmla="*/ 2019611 w 7998358"/>
              <a:gd name="connsiteY1" fmla="*/ 1344075 h 1444504"/>
              <a:gd name="connsiteX2" fmla="*/ 4851298 w 7998358"/>
              <a:gd name="connsiteY2" fmla="*/ 5 h 1444504"/>
              <a:gd name="connsiteX3" fmla="*/ 7998358 w 7998358"/>
              <a:gd name="connsiteY3" fmla="*/ 1325885 h 1444504"/>
              <a:gd name="connsiteX4" fmla="*/ 7998358 w 7998358"/>
              <a:gd name="connsiteY4" fmla="*/ 1325885 h 1444504"/>
              <a:gd name="connsiteX0" fmla="*/ 0 w 7998358"/>
              <a:gd name="connsiteY0" fmla="*/ 1348237 h 1446121"/>
              <a:gd name="connsiteX1" fmla="*/ 2019611 w 7998358"/>
              <a:gd name="connsiteY1" fmla="*/ 1344075 h 1446121"/>
              <a:gd name="connsiteX2" fmla="*/ 4851298 w 7998358"/>
              <a:gd name="connsiteY2" fmla="*/ 5 h 1446121"/>
              <a:gd name="connsiteX3" fmla="*/ 7998358 w 7998358"/>
              <a:gd name="connsiteY3" fmla="*/ 1325885 h 1446121"/>
              <a:gd name="connsiteX4" fmla="*/ 7998358 w 7998358"/>
              <a:gd name="connsiteY4" fmla="*/ 1325885 h 1446121"/>
              <a:gd name="connsiteX0" fmla="*/ 0 w 7998358"/>
              <a:gd name="connsiteY0" fmla="*/ 1348237 h 1354980"/>
              <a:gd name="connsiteX1" fmla="*/ 2019611 w 7998358"/>
              <a:gd name="connsiteY1" fmla="*/ 1344075 h 1354980"/>
              <a:gd name="connsiteX2" fmla="*/ 4851298 w 7998358"/>
              <a:gd name="connsiteY2" fmla="*/ 5 h 1354980"/>
              <a:gd name="connsiteX3" fmla="*/ 7998358 w 7998358"/>
              <a:gd name="connsiteY3" fmla="*/ 1325885 h 1354980"/>
              <a:gd name="connsiteX4" fmla="*/ 7998358 w 7998358"/>
              <a:gd name="connsiteY4" fmla="*/ 1325885 h 1354980"/>
              <a:gd name="connsiteX0" fmla="*/ 0 w 8083710"/>
              <a:gd name="connsiteY0" fmla="*/ 1348247 h 1416187"/>
              <a:gd name="connsiteX1" fmla="*/ 2019611 w 8083710"/>
              <a:gd name="connsiteY1" fmla="*/ 1344085 h 1416187"/>
              <a:gd name="connsiteX2" fmla="*/ 4851298 w 8083710"/>
              <a:gd name="connsiteY2" fmla="*/ 15 h 1416187"/>
              <a:gd name="connsiteX3" fmla="*/ 7793634 w 8083710"/>
              <a:gd name="connsiteY3" fmla="*/ 1315640 h 1416187"/>
              <a:gd name="connsiteX4" fmla="*/ 7998358 w 8083710"/>
              <a:gd name="connsiteY4" fmla="*/ 1325895 h 1416187"/>
              <a:gd name="connsiteX5" fmla="*/ 7998358 w 8083710"/>
              <a:gd name="connsiteY5" fmla="*/ 1325895 h 1416187"/>
              <a:gd name="connsiteX0" fmla="*/ 0 w 7998358"/>
              <a:gd name="connsiteY0" fmla="*/ 1348247 h 1354990"/>
              <a:gd name="connsiteX1" fmla="*/ 2019611 w 7998358"/>
              <a:gd name="connsiteY1" fmla="*/ 1344085 h 1354990"/>
              <a:gd name="connsiteX2" fmla="*/ 4851298 w 7998358"/>
              <a:gd name="connsiteY2" fmla="*/ 15 h 1354990"/>
              <a:gd name="connsiteX3" fmla="*/ 7793634 w 7998358"/>
              <a:gd name="connsiteY3" fmla="*/ 1315640 h 1354990"/>
              <a:gd name="connsiteX4" fmla="*/ 7998358 w 7998358"/>
              <a:gd name="connsiteY4" fmla="*/ 1325895 h 1354990"/>
              <a:gd name="connsiteX5" fmla="*/ 7998358 w 7998358"/>
              <a:gd name="connsiteY5" fmla="*/ 1325895 h 1354990"/>
              <a:gd name="connsiteX0" fmla="*/ 0 w 8878702"/>
              <a:gd name="connsiteY0" fmla="*/ 1348247 h 1354990"/>
              <a:gd name="connsiteX1" fmla="*/ 2019611 w 8878702"/>
              <a:gd name="connsiteY1" fmla="*/ 1344085 h 1354990"/>
              <a:gd name="connsiteX2" fmla="*/ 4851298 w 8878702"/>
              <a:gd name="connsiteY2" fmla="*/ 15 h 1354990"/>
              <a:gd name="connsiteX3" fmla="*/ 7793634 w 8878702"/>
              <a:gd name="connsiteY3" fmla="*/ 1315640 h 1354990"/>
              <a:gd name="connsiteX4" fmla="*/ 7998358 w 8878702"/>
              <a:gd name="connsiteY4" fmla="*/ 1325895 h 1354990"/>
              <a:gd name="connsiteX5" fmla="*/ 8878702 w 8878702"/>
              <a:gd name="connsiteY5" fmla="*/ 1318784 h 1354990"/>
              <a:gd name="connsiteX0" fmla="*/ 0 w 8878702"/>
              <a:gd name="connsiteY0" fmla="*/ 1348247 h 1414001"/>
              <a:gd name="connsiteX1" fmla="*/ 2019611 w 8878702"/>
              <a:gd name="connsiteY1" fmla="*/ 1344085 h 1414001"/>
              <a:gd name="connsiteX2" fmla="*/ 4851298 w 8878702"/>
              <a:gd name="connsiteY2" fmla="*/ 15 h 1414001"/>
              <a:gd name="connsiteX3" fmla="*/ 7793634 w 8878702"/>
              <a:gd name="connsiteY3" fmla="*/ 1315640 h 1414001"/>
              <a:gd name="connsiteX4" fmla="*/ 8878702 w 8878702"/>
              <a:gd name="connsiteY4" fmla="*/ 1318784 h 1414001"/>
              <a:gd name="connsiteX0" fmla="*/ 0 w 9875562"/>
              <a:gd name="connsiteY0" fmla="*/ 1348247 h 1414001"/>
              <a:gd name="connsiteX1" fmla="*/ 2019611 w 9875562"/>
              <a:gd name="connsiteY1" fmla="*/ 1344085 h 1414001"/>
              <a:gd name="connsiteX2" fmla="*/ 4851298 w 9875562"/>
              <a:gd name="connsiteY2" fmla="*/ 15 h 1414001"/>
              <a:gd name="connsiteX3" fmla="*/ 7793634 w 9875562"/>
              <a:gd name="connsiteY3" fmla="*/ 1315640 h 1414001"/>
              <a:gd name="connsiteX4" fmla="*/ 9875562 w 9875562"/>
              <a:gd name="connsiteY4" fmla="*/ 1318784 h 1414001"/>
              <a:gd name="connsiteX0" fmla="*/ 0 w 9875562"/>
              <a:gd name="connsiteY0" fmla="*/ 1348374 h 1374793"/>
              <a:gd name="connsiteX1" fmla="*/ 2019611 w 9875562"/>
              <a:gd name="connsiteY1" fmla="*/ 1344212 h 1374793"/>
              <a:gd name="connsiteX2" fmla="*/ 4851298 w 9875562"/>
              <a:gd name="connsiteY2" fmla="*/ 142 h 1374793"/>
              <a:gd name="connsiteX3" fmla="*/ 7534709 w 9875562"/>
              <a:gd name="connsiteY3" fmla="*/ 1258875 h 1374793"/>
              <a:gd name="connsiteX4" fmla="*/ 9875562 w 9875562"/>
              <a:gd name="connsiteY4" fmla="*/ 1318911 h 1374793"/>
              <a:gd name="connsiteX0" fmla="*/ 0 w 9875562"/>
              <a:gd name="connsiteY0" fmla="*/ 1348350 h 1374769"/>
              <a:gd name="connsiteX1" fmla="*/ 2019611 w 9875562"/>
              <a:gd name="connsiteY1" fmla="*/ 1344188 h 1374769"/>
              <a:gd name="connsiteX2" fmla="*/ 4851298 w 9875562"/>
              <a:gd name="connsiteY2" fmla="*/ 118 h 1374769"/>
              <a:gd name="connsiteX3" fmla="*/ 7534709 w 9875562"/>
              <a:gd name="connsiteY3" fmla="*/ 1258851 h 1374769"/>
              <a:gd name="connsiteX4" fmla="*/ 9875562 w 9875562"/>
              <a:gd name="connsiteY4" fmla="*/ 1318887 h 1374769"/>
              <a:gd name="connsiteX0" fmla="*/ 0 w 9875562"/>
              <a:gd name="connsiteY0" fmla="*/ 1348368 h 1374787"/>
              <a:gd name="connsiteX1" fmla="*/ 2019611 w 9875562"/>
              <a:gd name="connsiteY1" fmla="*/ 1344206 h 1374787"/>
              <a:gd name="connsiteX2" fmla="*/ 4851298 w 9875562"/>
              <a:gd name="connsiteY2" fmla="*/ 136 h 1374787"/>
              <a:gd name="connsiteX3" fmla="*/ 7534709 w 9875562"/>
              <a:gd name="connsiteY3" fmla="*/ 1258869 h 1374787"/>
              <a:gd name="connsiteX4" fmla="*/ 9875562 w 9875562"/>
              <a:gd name="connsiteY4" fmla="*/ 1318905 h 1374787"/>
              <a:gd name="connsiteX0" fmla="*/ 0 w 9875562"/>
              <a:gd name="connsiteY0" fmla="*/ 1348352 h 1355095"/>
              <a:gd name="connsiteX1" fmla="*/ 2019611 w 9875562"/>
              <a:gd name="connsiteY1" fmla="*/ 1344190 h 1355095"/>
              <a:gd name="connsiteX2" fmla="*/ 4851298 w 9875562"/>
              <a:gd name="connsiteY2" fmla="*/ 120 h 1355095"/>
              <a:gd name="connsiteX3" fmla="*/ 7534709 w 9875562"/>
              <a:gd name="connsiteY3" fmla="*/ 1258853 h 1355095"/>
              <a:gd name="connsiteX4" fmla="*/ 9875562 w 9875562"/>
              <a:gd name="connsiteY4" fmla="*/ 1318889 h 1355095"/>
              <a:gd name="connsiteX0" fmla="*/ 0 w 9875562"/>
              <a:gd name="connsiteY0" fmla="*/ 1348352 h 1355095"/>
              <a:gd name="connsiteX1" fmla="*/ 2019611 w 9875562"/>
              <a:gd name="connsiteY1" fmla="*/ 1344190 h 1355095"/>
              <a:gd name="connsiteX2" fmla="*/ 4851298 w 9875562"/>
              <a:gd name="connsiteY2" fmla="*/ 120 h 1355095"/>
              <a:gd name="connsiteX3" fmla="*/ 7534709 w 9875562"/>
              <a:gd name="connsiteY3" fmla="*/ 1258853 h 1355095"/>
              <a:gd name="connsiteX4" fmla="*/ 9875562 w 9875562"/>
              <a:gd name="connsiteY4" fmla="*/ 1318889 h 1355095"/>
              <a:gd name="connsiteX0" fmla="*/ 0 w 9875562"/>
              <a:gd name="connsiteY0" fmla="*/ 1348351 h 1355094"/>
              <a:gd name="connsiteX1" fmla="*/ 2019611 w 9875562"/>
              <a:gd name="connsiteY1" fmla="*/ 1344189 h 1355094"/>
              <a:gd name="connsiteX2" fmla="*/ 4851298 w 9875562"/>
              <a:gd name="connsiteY2" fmla="*/ 119 h 1355094"/>
              <a:gd name="connsiteX3" fmla="*/ 7534709 w 9875562"/>
              <a:gd name="connsiteY3" fmla="*/ 1258852 h 1355094"/>
              <a:gd name="connsiteX4" fmla="*/ 9875562 w 9875562"/>
              <a:gd name="connsiteY4" fmla="*/ 1318888 h 1355094"/>
              <a:gd name="connsiteX0" fmla="*/ 0 w 9849670"/>
              <a:gd name="connsiteY0" fmla="*/ 1348373 h 1355116"/>
              <a:gd name="connsiteX1" fmla="*/ 2019611 w 9849670"/>
              <a:gd name="connsiteY1" fmla="*/ 1344211 h 1355116"/>
              <a:gd name="connsiteX2" fmla="*/ 4851298 w 9849670"/>
              <a:gd name="connsiteY2" fmla="*/ 141 h 1355116"/>
              <a:gd name="connsiteX3" fmla="*/ 7534709 w 9849670"/>
              <a:gd name="connsiteY3" fmla="*/ 1258874 h 1355116"/>
              <a:gd name="connsiteX4" fmla="*/ 9849670 w 9849670"/>
              <a:gd name="connsiteY4" fmla="*/ 1262018 h 1355116"/>
              <a:gd name="connsiteX0" fmla="*/ 0 w 9849670"/>
              <a:gd name="connsiteY0" fmla="*/ 1348353 h 1355096"/>
              <a:gd name="connsiteX1" fmla="*/ 2019611 w 9849670"/>
              <a:gd name="connsiteY1" fmla="*/ 1344191 h 1355096"/>
              <a:gd name="connsiteX2" fmla="*/ 4851298 w 9849670"/>
              <a:gd name="connsiteY2" fmla="*/ 121 h 1355096"/>
              <a:gd name="connsiteX3" fmla="*/ 7534709 w 9849670"/>
              <a:gd name="connsiteY3" fmla="*/ 1258854 h 1355096"/>
              <a:gd name="connsiteX4" fmla="*/ 9849670 w 9849670"/>
              <a:gd name="connsiteY4" fmla="*/ 1261998 h 1355096"/>
              <a:gd name="connsiteX0" fmla="*/ 0 w 8807411"/>
              <a:gd name="connsiteY0" fmla="*/ 1356118 h 1448949"/>
              <a:gd name="connsiteX1" fmla="*/ 977352 w 8807411"/>
              <a:gd name="connsiteY1" fmla="*/ 1344191 h 1448949"/>
              <a:gd name="connsiteX2" fmla="*/ 3809039 w 8807411"/>
              <a:gd name="connsiteY2" fmla="*/ 121 h 1448949"/>
              <a:gd name="connsiteX3" fmla="*/ 6492450 w 8807411"/>
              <a:gd name="connsiteY3" fmla="*/ 1258854 h 1448949"/>
              <a:gd name="connsiteX4" fmla="*/ 8807411 w 8807411"/>
              <a:gd name="connsiteY4" fmla="*/ 1261998 h 1448949"/>
              <a:gd name="connsiteX0" fmla="*/ 0 w 8807411"/>
              <a:gd name="connsiteY0" fmla="*/ 1356118 h 1356118"/>
              <a:gd name="connsiteX1" fmla="*/ 977352 w 8807411"/>
              <a:gd name="connsiteY1" fmla="*/ 1344191 h 1356118"/>
              <a:gd name="connsiteX2" fmla="*/ 3809039 w 8807411"/>
              <a:gd name="connsiteY2" fmla="*/ 121 h 1356118"/>
              <a:gd name="connsiteX3" fmla="*/ 6492450 w 8807411"/>
              <a:gd name="connsiteY3" fmla="*/ 1258854 h 1356118"/>
              <a:gd name="connsiteX4" fmla="*/ 8807411 w 8807411"/>
              <a:gd name="connsiteY4" fmla="*/ 1261998 h 1356118"/>
              <a:gd name="connsiteX0" fmla="*/ 0 w 7554359"/>
              <a:gd name="connsiteY0" fmla="*/ 1356138 h 1356138"/>
              <a:gd name="connsiteX1" fmla="*/ 977352 w 7554359"/>
              <a:gd name="connsiteY1" fmla="*/ 1344211 h 1356138"/>
              <a:gd name="connsiteX2" fmla="*/ 3809039 w 7554359"/>
              <a:gd name="connsiteY2" fmla="*/ 141 h 1356138"/>
              <a:gd name="connsiteX3" fmla="*/ 6492450 w 7554359"/>
              <a:gd name="connsiteY3" fmla="*/ 1258874 h 1356138"/>
              <a:gd name="connsiteX4" fmla="*/ 7554359 w 7554359"/>
              <a:gd name="connsiteY4" fmla="*/ 1262018 h 1356138"/>
              <a:gd name="connsiteX0" fmla="*/ 0 w 7554359"/>
              <a:gd name="connsiteY0" fmla="*/ 1356117 h 1356117"/>
              <a:gd name="connsiteX1" fmla="*/ 977352 w 7554359"/>
              <a:gd name="connsiteY1" fmla="*/ 1344190 h 1356117"/>
              <a:gd name="connsiteX2" fmla="*/ 3809039 w 7554359"/>
              <a:gd name="connsiteY2" fmla="*/ 120 h 1356117"/>
              <a:gd name="connsiteX3" fmla="*/ 6492450 w 7554359"/>
              <a:gd name="connsiteY3" fmla="*/ 1258853 h 1356117"/>
              <a:gd name="connsiteX4" fmla="*/ 7554359 w 7554359"/>
              <a:gd name="connsiteY4" fmla="*/ 1261997 h 1356117"/>
              <a:gd name="connsiteX0" fmla="*/ 0 w 7554359"/>
              <a:gd name="connsiteY0" fmla="*/ 1356117 h 1356117"/>
              <a:gd name="connsiteX1" fmla="*/ 977352 w 7554359"/>
              <a:gd name="connsiteY1" fmla="*/ 1344190 h 1356117"/>
              <a:gd name="connsiteX2" fmla="*/ 3809039 w 7554359"/>
              <a:gd name="connsiteY2" fmla="*/ 120 h 1356117"/>
              <a:gd name="connsiteX3" fmla="*/ 6492450 w 7554359"/>
              <a:gd name="connsiteY3" fmla="*/ 1258853 h 1356117"/>
              <a:gd name="connsiteX4" fmla="*/ 7554359 w 7554359"/>
              <a:gd name="connsiteY4" fmla="*/ 1261997 h 1356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54359" h="1356117">
                <a:moveTo>
                  <a:pt x="0" y="1356117"/>
                </a:moveTo>
                <a:lnTo>
                  <a:pt x="977352" y="1344190"/>
                </a:lnTo>
                <a:cubicBezTo>
                  <a:pt x="2631030" y="1327826"/>
                  <a:pt x="2889856" y="14343"/>
                  <a:pt x="3809039" y="120"/>
                </a:cubicBezTo>
                <a:cubicBezTo>
                  <a:pt x="4728222" y="-14103"/>
                  <a:pt x="4968500" y="1242611"/>
                  <a:pt x="6492450" y="1258853"/>
                </a:cubicBezTo>
                <a:lnTo>
                  <a:pt x="7554359" y="1261997"/>
                </a:lnTo>
              </a:path>
            </a:pathLst>
          </a:custGeom>
          <a:noFill/>
          <a:ln w="12700"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93" name="Textfeld 492"/>
          <p:cNvSpPr txBox="1"/>
          <p:nvPr/>
        </p:nvSpPr>
        <p:spPr>
          <a:xfrm>
            <a:off x="5840203" y="1344453"/>
            <a:ext cx="2797817" cy="618173"/>
          </a:xfrm>
          <a:prstGeom prst="rect">
            <a:avLst/>
          </a:prstGeom>
          <a:noFill/>
        </p:spPr>
        <p:txBody>
          <a:bodyPr wrap="none" rtlCol="0">
            <a:noAutofit/>
          </a:bodyPr>
          <a:lstStyle/>
          <a:p>
            <a:pPr eaLnBrk="0" fontAlgn="base" hangingPunct="0">
              <a:spcBef>
                <a:spcPct val="0"/>
              </a:spcBef>
              <a:spcAft>
                <a:spcPct val="0"/>
              </a:spcAft>
            </a:pPr>
            <a:r>
              <a:rPr lang="en-US" sz="1400" dirty="0">
                <a:solidFill>
                  <a:srgbClr val="000000"/>
                </a:solidFill>
              </a:rPr>
              <a:t>A point-like emitter generates a </a:t>
            </a:r>
          </a:p>
          <a:p>
            <a:pPr eaLnBrk="0" fontAlgn="base" hangingPunct="0">
              <a:spcBef>
                <a:spcPct val="0"/>
              </a:spcBef>
              <a:spcAft>
                <a:spcPct val="0"/>
              </a:spcAft>
            </a:pPr>
            <a:r>
              <a:rPr lang="en-US" sz="1400" dirty="0">
                <a:solidFill>
                  <a:srgbClr val="000000"/>
                </a:solidFill>
              </a:rPr>
              <a:t>diffraction limited pattern (~ PSF)</a:t>
            </a:r>
          </a:p>
        </p:txBody>
      </p:sp>
      <p:sp>
        <p:nvSpPr>
          <p:cNvPr id="494" name="Textfeld 493"/>
          <p:cNvSpPr txBox="1"/>
          <p:nvPr/>
        </p:nvSpPr>
        <p:spPr>
          <a:xfrm>
            <a:off x="7165886" y="3724546"/>
            <a:ext cx="733425" cy="400050"/>
          </a:xfrm>
          <a:prstGeom prst="rect">
            <a:avLst/>
          </a:prstGeom>
          <a:noFill/>
        </p:spPr>
        <p:txBody>
          <a:bodyPr wrap="none" rtlCol="0">
            <a:noAutofit/>
          </a:bodyPr>
          <a:lstStyle/>
          <a:p>
            <a:pPr eaLnBrk="0" fontAlgn="base" hangingPunct="0">
              <a:spcBef>
                <a:spcPct val="0"/>
              </a:spcBef>
              <a:spcAft>
                <a:spcPct val="0"/>
              </a:spcAft>
            </a:pPr>
            <a:r>
              <a:rPr lang="en-US" sz="1200" dirty="0">
                <a:solidFill>
                  <a:srgbClr val="000000"/>
                </a:solidFill>
              </a:rPr>
              <a:t>scan</a:t>
            </a:r>
          </a:p>
        </p:txBody>
      </p:sp>
      <p:sp>
        <p:nvSpPr>
          <p:cNvPr id="495" name="Textfeld 494"/>
          <p:cNvSpPr txBox="1"/>
          <p:nvPr/>
        </p:nvSpPr>
        <p:spPr>
          <a:xfrm>
            <a:off x="7165886" y="6006811"/>
            <a:ext cx="733425" cy="400050"/>
          </a:xfrm>
          <a:prstGeom prst="rect">
            <a:avLst/>
          </a:prstGeom>
          <a:noFill/>
        </p:spPr>
        <p:txBody>
          <a:bodyPr wrap="none" rtlCol="0">
            <a:noAutofit/>
          </a:bodyPr>
          <a:lstStyle/>
          <a:p>
            <a:pPr eaLnBrk="0" fontAlgn="base" hangingPunct="0">
              <a:spcBef>
                <a:spcPct val="0"/>
              </a:spcBef>
              <a:spcAft>
                <a:spcPct val="0"/>
              </a:spcAft>
            </a:pPr>
            <a:r>
              <a:rPr lang="en-US" sz="1200" dirty="0">
                <a:solidFill>
                  <a:srgbClr val="000000"/>
                </a:solidFill>
              </a:rPr>
              <a:t>scan</a:t>
            </a:r>
          </a:p>
        </p:txBody>
      </p:sp>
      <p:sp>
        <p:nvSpPr>
          <p:cNvPr id="506" name="Sechseck 505"/>
          <p:cNvSpPr/>
          <p:nvPr/>
        </p:nvSpPr>
        <p:spPr bwMode="auto">
          <a:xfrm>
            <a:off x="734134" y="3053352"/>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cxnSp>
        <p:nvCxnSpPr>
          <p:cNvPr id="60" name="Gerade Verbindung mit Pfeil 59"/>
          <p:cNvCxnSpPr>
            <a:endCxn id="506" idx="3"/>
          </p:cNvCxnSpPr>
          <p:nvPr/>
        </p:nvCxnSpPr>
        <p:spPr bwMode="auto">
          <a:xfrm>
            <a:off x="450321" y="3131662"/>
            <a:ext cx="283813" cy="0"/>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5" name="Gerade Verbindung mit Pfeil 64"/>
          <p:cNvCxnSpPr>
            <a:endCxn id="506" idx="0"/>
          </p:cNvCxnSpPr>
          <p:nvPr/>
        </p:nvCxnSpPr>
        <p:spPr bwMode="auto">
          <a:xfrm flipH="1">
            <a:off x="915814" y="3131662"/>
            <a:ext cx="313638" cy="0"/>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 name="TextBox 7"/>
          <p:cNvSpPr txBox="1"/>
          <p:nvPr/>
        </p:nvSpPr>
        <p:spPr>
          <a:xfrm>
            <a:off x="767389" y="934067"/>
            <a:ext cx="903498" cy="216976"/>
          </a:xfrm>
          <a:prstGeom prst="rect">
            <a:avLst/>
          </a:prstGeom>
          <a:noFill/>
        </p:spPr>
        <p:txBody>
          <a:bodyPr wrap="square" rtlCol="0">
            <a:noAutofit/>
          </a:bodyPr>
          <a:lstStyle/>
          <a:p>
            <a:pPr eaLnBrk="0" fontAlgn="base" hangingPunct="0">
              <a:spcBef>
                <a:spcPct val="0"/>
              </a:spcBef>
              <a:spcAft>
                <a:spcPct val="0"/>
              </a:spcAft>
            </a:pPr>
            <a:endParaRPr lang="en-GB" sz="1600" dirty="0">
              <a:solidFill>
                <a:srgbClr val="FF0000"/>
              </a:solidFill>
            </a:endParaRPr>
          </a:p>
        </p:txBody>
      </p:sp>
      <p:cxnSp>
        <p:nvCxnSpPr>
          <p:cNvPr id="389" name="Gerade Verbindung mit Pfeil 7"/>
          <p:cNvCxnSpPr/>
          <p:nvPr/>
        </p:nvCxnSpPr>
        <p:spPr bwMode="auto">
          <a:xfrm>
            <a:off x="3227967" y="5184475"/>
            <a:ext cx="2396456" cy="0"/>
          </a:xfrm>
          <a:prstGeom prst="straightConnector1">
            <a:avLst/>
          </a:prstGeom>
          <a:solidFill>
            <a:schemeClr val="folHlink"/>
          </a:solidFill>
          <a:ln w="3175" cap="flat" cmpd="sng" algn="ctr">
            <a:solidFill>
              <a:schemeClr val="folHlink"/>
            </a:solidFill>
            <a:prstDash val="solid"/>
            <a:round/>
            <a:headEnd type="arrow"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2" name="Gerade Verbindung mit Pfeil 503"/>
          <p:cNvCxnSpPr/>
          <p:nvPr/>
        </p:nvCxnSpPr>
        <p:spPr bwMode="auto">
          <a:xfrm flipV="1">
            <a:off x="2719219" y="5695026"/>
            <a:ext cx="1047421" cy="2875"/>
          </a:xfrm>
          <a:prstGeom prst="straightConnector1">
            <a:avLst/>
          </a:prstGeom>
          <a:solidFill>
            <a:schemeClr val="folHlink"/>
          </a:solidFill>
          <a:ln w="3175" cap="flat" cmpd="sng" algn="ctr">
            <a:solidFill>
              <a:schemeClr val="folHlink"/>
            </a:solidFill>
            <a:prstDash val="solid"/>
            <a:round/>
            <a:headEnd type="arrow"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96" name="Textfeld 492"/>
          <p:cNvSpPr txBox="1"/>
          <p:nvPr/>
        </p:nvSpPr>
        <p:spPr>
          <a:xfrm>
            <a:off x="5897898" y="2208018"/>
            <a:ext cx="2797817" cy="618173"/>
          </a:xfrm>
          <a:prstGeom prst="rect">
            <a:avLst/>
          </a:prstGeom>
          <a:noFill/>
        </p:spPr>
        <p:txBody>
          <a:bodyPr wrap="none" rtlCol="0">
            <a:noAutofit/>
          </a:bodyPr>
          <a:lstStyle/>
          <a:p>
            <a:pPr eaLnBrk="0" fontAlgn="base" hangingPunct="0">
              <a:spcBef>
                <a:spcPct val="0"/>
              </a:spcBef>
              <a:spcAft>
                <a:spcPct val="0"/>
              </a:spcAft>
            </a:pPr>
            <a:r>
              <a:rPr lang="en-US" sz="1400" dirty="0">
                <a:solidFill>
                  <a:srgbClr val="000000"/>
                </a:solidFill>
              </a:rPr>
              <a:t>By using an element offset from the </a:t>
            </a:r>
          </a:p>
          <a:p>
            <a:pPr eaLnBrk="0" fontAlgn="base" hangingPunct="0">
              <a:spcBef>
                <a:spcPct val="0"/>
              </a:spcBef>
              <a:spcAft>
                <a:spcPct val="0"/>
              </a:spcAft>
            </a:pPr>
            <a:r>
              <a:rPr lang="en-US" sz="1400" dirty="0" err="1">
                <a:solidFill>
                  <a:srgbClr val="000000"/>
                </a:solidFill>
              </a:rPr>
              <a:t>centre</a:t>
            </a:r>
            <a:r>
              <a:rPr lang="en-US" sz="1400" dirty="0">
                <a:solidFill>
                  <a:srgbClr val="000000"/>
                </a:solidFill>
              </a:rPr>
              <a:t>, resolution is still improved </a:t>
            </a:r>
          </a:p>
        </p:txBody>
      </p:sp>
      <p:grpSp>
        <p:nvGrpSpPr>
          <p:cNvPr id="378" name="Gruppieren 251"/>
          <p:cNvGrpSpPr/>
          <p:nvPr/>
        </p:nvGrpSpPr>
        <p:grpSpPr>
          <a:xfrm>
            <a:off x="3472224" y="1467307"/>
            <a:ext cx="1046394" cy="1046394"/>
            <a:chOff x="1484623" y="1384386"/>
            <a:chExt cx="1046394" cy="1046394"/>
          </a:xfrm>
        </p:grpSpPr>
        <p:grpSp>
          <p:nvGrpSpPr>
            <p:cNvPr id="379" name="Gruppieren 252"/>
            <p:cNvGrpSpPr/>
            <p:nvPr/>
          </p:nvGrpSpPr>
          <p:grpSpPr>
            <a:xfrm>
              <a:off x="1484623" y="1384386"/>
              <a:ext cx="1046394" cy="1046394"/>
              <a:chOff x="1249679" y="1384386"/>
              <a:chExt cx="1046394" cy="1046394"/>
            </a:xfrm>
          </p:grpSpPr>
          <p:sp>
            <p:nvSpPr>
              <p:cNvPr id="416" name="Ellipse 286"/>
              <p:cNvSpPr/>
              <p:nvPr/>
            </p:nvSpPr>
            <p:spPr bwMode="auto">
              <a:xfrm>
                <a:off x="1249679" y="1384386"/>
                <a:ext cx="1046394" cy="1046394"/>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17" name="Ellipse 287"/>
              <p:cNvSpPr/>
              <p:nvPr/>
            </p:nvSpPr>
            <p:spPr bwMode="auto">
              <a:xfrm flipV="1">
                <a:off x="1317282" y="1454590"/>
                <a:ext cx="915164" cy="915164"/>
              </a:xfrm>
              <a:prstGeom prst="ellipse">
                <a:avLst/>
              </a:prstGeom>
              <a:gradFill flip="none" rotWithShape="1">
                <a:gsLst>
                  <a:gs pos="0">
                    <a:srgbClr val="7030A0"/>
                  </a:gs>
                  <a:gs pos="33500">
                    <a:srgbClr val="B898D0">
                      <a:alpha val="79000"/>
                    </a:srgbClr>
                  </a:gs>
                  <a:gs pos="72000">
                    <a:srgbClr val="FFFFFE">
                      <a:alpha val="0"/>
                      <a:lumMod val="0"/>
                      <a:lumOff val="10000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nvGrpSpPr>
            <p:cNvPr id="380" name="Gruppieren 253"/>
            <p:cNvGrpSpPr/>
            <p:nvPr/>
          </p:nvGrpSpPr>
          <p:grpSpPr>
            <a:xfrm>
              <a:off x="1493990" y="1445270"/>
              <a:ext cx="1033538" cy="939724"/>
              <a:chOff x="386078" y="2179778"/>
              <a:chExt cx="3657046" cy="3325098"/>
            </a:xfrm>
            <a:noFill/>
          </p:grpSpPr>
          <p:sp>
            <p:nvSpPr>
              <p:cNvPr id="381" name="Sechseck 254"/>
              <p:cNvSpPr/>
              <p:nvPr/>
            </p:nvSpPr>
            <p:spPr bwMode="auto">
              <a:xfrm>
                <a:off x="1893455"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382" name="Sechseck 255"/>
              <p:cNvSpPr/>
              <p:nvPr/>
            </p:nvSpPr>
            <p:spPr bwMode="auto">
              <a:xfrm>
                <a:off x="2392220" y="328814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383" name="Sechseck 256"/>
              <p:cNvSpPr/>
              <p:nvPr/>
            </p:nvSpPr>
            <p:spPr bwMode="auto">
              <a:xfrm>
                <a:off x="239222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384" name="Sechseck 257"/>
              <p:cNvSpPr/>
              <p:nvPr/>
            </p:nvSpPr>
            <p:spPr bwMode="auto">
              <a:xfrm>
                <a:off x="1893455"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385" name="Sechseck 258"/>
              <p:cNvSpPr/>
              <p:nvPr/>
            </p:nvSpPr>
            <p:spPr bwMode="auto">
              <a:xfrm>
                <a:off x="139469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386" name="Sechseck 259"/>
              <p:cNvSpPr/>
              <p:nvPr/>
            </p:nvSpPr>
            <p:spPr bwMode="auto">
              <a:xfrm>
                <a:off x="1394690" y="328814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387" name="Sechseck 260"/>
              <p:cNvSpPr/>
              <p:nvPr/>
            </p:nvSpPr>
            <p:spPr bwMode="auto">
              <a:xfrm>
                <a:off x="1893455" y="3565236"/>
                <a:ext cx="642852" cy="554182"/>
              </a:xfrm>
              <a:prstGeom prst="hexagon">
                <a:avLst/>
              </a:prstGeom>
              <a:noFill/>
              <a:ln w="3175" cap="flat" cmpd="sng" algn="ctr">
                <a:solidFill>
                  <a:srgbClr val="0070C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388" name="Sechseck 261"/>
              <p:cNvSpPr/>
              <p:nvPr/>
            </p:nvSpPr>
            <p:spPr bwMode="auto">
              <a:xfrm>
                <a:off x="239222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390" name="Sechseck 262"/>
              <p:cNvSpPr/>
              <p:nvPr/>
            </p:nvSpPr>
            <p:spPr bwMode="auto">
              <a:xfrm>
                <a:off x="2897352"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391" name="Sechseck 263"/>
              <p:cNvSpPr/>
              <p:nvPr/>
            </p:nvSpPr>
            <p:spPr bwMode="auto">
              <a:xfrm>
                <a:off x="2897352" y="356523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393" name="Sechseck 264"/>
              <p:cNvSpPr/>
              <p:nvPr/>
            </p:nvSpPr>
            <p:spPr bwMode="auto">
              <a:xfrm>
                <a:off x="2897352"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394" name="Sechseck 265"/>
              <p:cNvSpPr/>
              <p:nvPr/>
            </p:nvSpPr>
            <p:spPr bwMode="auto">
              <a:xfrm>
                <a:off x="2404843"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395" name="Sechseck 266"/>
              <p:cNvSpPr/>
              <p:nvPr/>
            </p:nvSpPr>
            <p:spPr bwMode="auto">
              <a:xfrm>
                <a:off x="1893455"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397" name="Sechseck 267"/>
              <p:cNvSpPr/>
              <p:nvPr/>
            </p:nvSpPr>
            <p:spPr bwMode="auto">
              <a:xfrm>
                <a:off x="1394690"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398" name="Sechseck 268"/>
              <p:cNvSpPr/>
              <p:nvPr/>
            </p:nvSpPr>
            <p:spPr bwMode="auto">
              <a:xfrm>
                <a:off x="888998" y="301408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399" name="Sechseck 269"/>
              <p:cNvSpPr/>
              <p:nvPr/>
            </p:nvSpPr>
            <p:spPr bwMode="auto">
              <a:xfrm>
                <a:off x="888998" y="3568264"/>
                <a:ext cx="642852" cy="554182"/>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00" name="Sechseck 270"/>
              <p:cNvSpPr/>
              <p:nvPr/>
            </p:nvSpPr>
            <p:spPr bwMode="auto">
              <a:xfrm>
                <a:off x="888998" y="4122446"/>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01" name="Sechseck 271"/>
              <p:cNvSpPr/>
              <p:nvPr/>
            </p:nvSpPr>
            <p:spPr bwMode="auto">
              <a:xfrm>
                <a:off x="139469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02" name="Sechseck 272"/>
              <p:cNvSpPr/>
              <p:nvPr/>
            </p:nvSpPr>
            <p:spPr bwMode="auto">
              <a:xfrm>
                <a:off x="1893455"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03" name="Sechseck 273"/>
              <p:cNvSpPr/>
              <p:nvPr/>
            </p:nvSpPr>
            <p:spPr bwMode="auto">
              <a:xfrm>
                <a:off x="2392220" y="217977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04" name="Sechseck 274"/>
              <p:cNvSpPr/>
              <p:nvPr/>
            </p:nvSpPr>
            <p:spPr bwMode="auto">
              <a:xfrm>
                <a:off x="2897352"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05" name="Sechseck 275"/>
              <p:cNvSpPr/>
              <p:nvPr/>
            </p:nvSpPr>
            <p:spPr bwMode="auto">
              <a:xfrm>
                <a:off x="1394690" y="218713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06" name="Sechseck 276"/>
              <p:cNvSpPr/>
              <p:nvPr/>
            </p:nvSpPr>
            <p:spPr bwMode="auto">
              <a:xfrm>
                <a:off x="888998"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07" name="Sechseck 277"/>
              <p:cNvSpPr/>
              <p:nvPr/>
            </p:nvSpPr>
            <p:spPr bwMode="auto">
              <a:xfrm>
                <a:off x="386078" y="3291173"/>
                <a:ext cx="642852" cy="554182"/>
              </a:xfrm>
              <a:prstGeom prst="hexagon">
                <a:avLst/>
              </a:prstGeom>
              <a:solidFill>
                <a:srgbClr val="000000"/>
              </a:solidFill>
              <a:ln w="38100"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08" name="Sechseck 278"/>
              <p:cNvSpPr/>
              <p:nvPr/>
            </p:nvSpPr>
            <p:spPr bwMode="auto">
              <a:xfrm>
                <a:off x="386078" y="384536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09" name="Sechseck 279"/>
              <p:cNvSpPr/>
              <p:nvPr/>
            </p:nvSpPr>
            <p:spPr bwMode="auto">
              <a:xfrm>
                <a:off x="888998"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10" name="Sechseck 280"/>
              <p:cNvSpPr/>
              <p:nvPr/>
            </p:nvSpPr>
            <p:spPr bwMode="auto">
              <a:xfrm>
                <a:off x="1394690" y="495069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11" name="Sechseck 281"/>
              <p:cNvSpPr/>
              <p:nvPr/>
            </p:nvSpPr>
            <p:spPr bwMode="auto">
              <a:xfrm>
                <a:off x="2404843" y="494919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12" name="Sechseck 282"/>
              <p:cNvSpPr/>
              <p:nvPr/>
            </p:nvSpPr>
            <p:spPr bwMode="auto">
              <a:xfrm>
                <a:off x="2897352" y="46736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13" name="Sechseck 283"/>
              <p:cNvSpPr/>
              <p:nvPr/>
            </p:nvSpPr>
            <p:spPr bwMode="auto">
              <a:xfrm>
                <a:off x="3400272" y="384232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14" name="Sechseck 284"/>
              <p:cNvSpPr/>
              <p:nvPr/>
            </p:nvSpPr>
            <p:spPr bwMode="auto">
              <a:xfrm>
                <a:off x="3400272" y="32865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15" name="Sechseck 285"/>
              <p:cNvSpPr/>
              <p:nvPr/>
            </p:nvSpPr>
            <p:spPr bwMode="auto">
              <a:xfrm>
                <a:off x="3400272" y="273092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grpSp>
        <p:nvGrpSpPr>
          <p:cNvPr id="418" name="Gruppieren 288"/>
          <p:cNvGrpSpPr/>
          <p:nvPr/>
        </p:nvGrpSpPr>
        <p:grpSpPr>
          <a:xfrm>
            <a:off x="3659137" y="1467407"/>
            <a:ext cx="1046394" cy="1046394"/>
            <a:chOff x="1484623" y="1384386"/>
            <a:chExt cx="1046394" cy="1046394"/>
          </a:xfrm>
        </p:grpSpPr>
        <p:grpSp>
          <p:nvGrpSpPr>
            <p:cNvPr id="419" name="Gruppieren 289"/>
            <p:cNvGrpSpPr/>
            <p:nvPr/>
          </p:nvGrpSpPr>
          <p:grpSpPr>
            <a:xfrm>
              <a:off x="1484623" y="1384386"/>
              <a:ext cx="1046394" cy="1046394"/>
              <a:chOff x="1249679" y="1384386"/>
              <a:chExt cx="1046394" cy="1046394"/>
            </a:xfrm>
          </p:grpSpPr>
          <p:sp>
            <p:nvSpPr>
              <p:cNvPr id="453" name="Ellipse 323"/>
              <p:cNvSpPr/>
              <p:nvPr/>
            </p:nvSpPr>
            <p:spPr bwMode="auto">
              <a:xfrm>
                <a:off x="1249679" y="1384386"/>
                <a:ext cx="1046394" cy="1046394"/>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54" name="Ellipse 324"/>
              <p:cNvSpPr/>
              <p:nvPr/>
            </p:nvSpPr>
            <p:spPr bwMode="auto">
              <a:xfrm flipV="1">
                <a:off x="1317282" y="1454590"/>
                <a:ext cx="915164" cy="915164"/>
              </a:xfrm>
              <a:prstGeom prst="ellipse">
                <a:avLst/>
              </a:prstGeom>
              <a:gradFill flip="none" rotWithShape="1">
                <a:gsLst>
                  <a:gs pos="0">
                    <a:srgbClr val="7030A0"/>
                  </a:gs>
                  <a:gs pos="33500">
                    <a:srgbClr val="B898D0">
                      <a:alpha val="79000"/>
                    </a:srgbClr>
                  </a:gs>
                  <a:gs pos="72000">
                    <a:srgbClr val="FFFFFE">
                      <a:alpha val="0"/>
                      <a:lumMod val="0"/>
                      <a:lumOff val="10000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nvGrpSpPr>
            <p:cNvPr id="420" name="Gruppieren 290"/>
            <p:cNvGrpSpPr/>
            <p:nvPr/>
          </p:nvGrpSpPr>
          <p:grpSpPr>
            <a:xfrm>
              <a:off x="1493990" y="1445270"/>
              <a:ext cx="1033538" cy="939724"/>
              <a:chOff x="386078" y="2179778"/>
              <a:chExt cx="3657046" cy="3325098"/>
            </a:xfrm>
            <a:noFill/>
          </p:grpSpPr>
          <p:sp>
            <p:nvSpPr>
              <p:cNvPr id="421" name="Sechseck 291"/>
              <p:cNvSpPr/>
              <p:nvPr/>
            </p:nvSpPr>
            <p:spPr bwMode="auto">
              <a:xfrm>
                <a:off x="1893455"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22" name="Sechseck 292"/>
              <p:cNvSpPr/>
              <p:nvPr/>
            </p:nvSpPr>
            <p:spPr bwMode="auto">
              <a:xfrm>
                <a:off x="2392220" y="328814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23" name="Sechseck 293"/>
              <p:cNvSpPr/>
              <p:nvPr/>
            </p:nvSpPr>
            <p:spPr bwMode="auto">
              <a:xfrm>
                <a:off x="239222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24" name="Sechseck 294"/>
              <p:cNvSpPr/>
              <p:nvPr/>
            </p:nvSpPr>
            <p:spPr bwMode="auto">
              <a:xfrm>
                <a:off x="1893455"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25" name="Sechseck 295"/>
              <p:cNvSpPr/>
              <p:nvPr/>
            </p:nvSpPr>
            <p:spPr bwMode="auto">
              <a:xfrm>
                <a:off x="139469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26" name="Sechseck 296"/>
              <p:cNvSpPr/>
              <p:nvPr/>
            </p:nvSpPr>
            <p:spPr bwMode="auto">
              <a:xfrm>
                <a:off x="1394690" y="3288144"/>
                <a:ext cx="642852" cy="554182"/>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27" name="Sechseck 297"/>
              <p:cNvSpPr/>
              <p:nvPr/>
            </p:nvSpPr>
            <p:spPr bwMode="auto">
              <a:xfrm>
                <a:off x="1893455" y="3565236"/>
                <a:ext cx="642852" cy="554182"/>
              </a:xfrm>
              <a:prstGeom prst="hexagon">
                <a:avLst/>
              </a:prstGeom>
              <a:noFill/>
              <a:ln w="3175" cap="flat" cmpd="sng" algn="ctr">
                <a:solidFill>
                  <a:srgbClr val="0070C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28" name="Sechseck 298"/>
              <p:cNvSpPr/>
              <p:nvPr/>
            </p:nvSpPr>
            <p:spPr bwMode="auto">
              <a:xfrm>
                <a:off x="239222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29" name="Sechseck 299"/>
              <p:cNvSpPr/>
              <p:nvPr/>
            </p:nvSpPr>
            <p:spPr bwMode="auto">
              <a:xfrm>
                <a:off x="2897352"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30" name="Sechseck 300"/>
              <p:cNvSpPr/>
              <p:nvPr/>
            </p:nvSpPr>
            <p:spPr bwMode="auto">
              <a:xfrm>
                <a:off x="2897352" y="356523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31" name="Sechseck 301"/>
              <p:cNvSpPr/>
              <p:nvPr/>
            </p:nvSpPr>
            <p:spPr bwMode="auto">
              <a:xfrm>
                <a:off x="2897352"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32" name="Sechseck 302"/>
              <p:cNvSpPr/>
              <p:nvPr/>
            </p:nvSpPr>
            <p:spPr bwMode="auto">
              <a:xfrm>
                <a:off x="2404843"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33" name="Sechseck 303"/>
              <p:cNvSpPr/>
              <p:nvPr/>
            </p:nvSpPr>
            <p:spPr bwMode="auto">
              <a:xfrm>
                <a:off x="1893455"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34" name="Sechseck 304"/>
              <p:cNvSpPr/>
              <p:nvPr/>
            </p:nvSpPr>
            <p:spPr bwMode="auto">
              <a:xfrm>
                <a:off x="1394690"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35" name="Sechseck 305"/>
              <p:cNvSpPr/>
              <p:nvPr/>
            </p:nvSpPr>
            <p:spPr bwMode="auto">
              <a:xfrm>
                <a:off x="888998" y="301408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36" name="Sechseck 306"/>
              <p:cNvSpPr/>
              <p:nvPr/>
            </p:nvSpPr>
            <p:spPr bwMode="auto">
              <a:xfrm>
                <a:off x="888998" y="356826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37" name="Sechseck 307"/>
              <p:cNvSpPr/>
              <p:nvPr/>
            </p:nvSpPr>
            <p:spPr bwMode="auto">
              <a:xfrm>
                <a:off x="888998" y="4122446"/>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38" name="Sechseck 308"/>
              <p:cNvSpPr/>
              <p:nvPr/>
            </p:nvSpPr>
            <p:spPr bwMode="auto">
              <a:xfrm>
                <a:off x="139469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39" name="Sechseck 309"/>
              <p:cNvSpPr/>
              <p:nvPr/>
            </p:nvSpPr>
            <p:spPr bwMode="auto">
              <a:xfrm>
                <a:off x="1893455"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40" name="Sechseck 310"/>
              <p:cNvSpPr/>
              <p:nvPr/>
            </p:nvSpPr>
            <p:spPr bwMode="auto">
              <a:xfrm>
                <a:off x="2392220" y="217977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41" name="Sechseck 311"/>
              <p:cNvSpPr/>
              <p:nvPr/>
            </p:nvSpPr>
            <p:spPr bwMode="auto">
              <a:xfrm>
                <a:off x="2897352"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42" name="Sechseck 312"/>
              <p:cNvSpPr/>
              <p:nvPr/>
            </p:nvSpPr>
            <p:spPr bwMode="auto">
              <a:xfrm>
                <a:off x="1394690" y="218713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43" name="Sechseck 313"/>
              <p:cNvSpPr/>
              <p:nvPr/>
            </p:nvSpPr>
            <p:spPr bwMode="auto">
              <a:xfrm>
                <a:off x="888998"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44" name="Sechseck 314"/>
              <p:cNvSpPr/>
              <p:nvPr/>
            </p:nvSpPr>
            <p:spPr bwMode="auto">
              <a:xfrm>
                <a:off x="386078" y="3291173"/>
                <a:ext cx="642852" cy="554182"/>
              </a:xfrm>
              <a:prstGeom prst="hexagon">
                <a:avLst/>
              </a:prstGeom>
              <a:solidFill>
                <a:srgbClr val="0066FF"/>
              </a:solidFill>
              <a:ln w="38100"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45" name="Sechseck 315"/>
              <p:cNvSpPr/>
              <p:nvPr/>
            </p:nvSpPr>
            <p:spPr bwMode="auto">
              <a:xfrm>
                <a:off x="386078" y="384536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46" name="Sechseck 316"/>
              <p:cNvSpPr/>
              <p:nvPr/>
            </p:nvSpPr>
            <p:spPr bwMode="auto">
              <a:xfrm>
                <a:off x="888998"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47" name="Sechseck 317"/>
              <p:cNvSpPr/>
              <p:nvPr/>
            </p:nvSpPr>
            <p:spPr bwMode="auto">
              <a:xfrm>
                <a:off x="1394690" y="495069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48" name="Sechseck 318"/>
              <p:cNvSpPr/>
              <p:nvPr/>
            </p:nvSpPr>
            <p:spPr bwMode="auto">
              <a:xfrm>
                <a:off x="2404843" y="494919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49" name="Sechseck 319"/>
              <p:cNvSpPr/>
              <p:nvPr/>
            </p:nvSpPr>
            <p:spPr bwMode="auto">
              <a:xfrm>
                <a:off x="2897352" y="46736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50" name="Sechseck 320"/>
              <p:cNvSpPr/>
              <p:nvPr/>
            </p:nvSpPr>
            <p:spPr bwMode="auto">
              <a:xfrm>
                <a:off x="3400272" y="384232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51" name="Sechseck 321"/>
              <p:cNvSpPr/>
              <p:nvPr/>
            </p:nvSpPr>
            <p:spPr bwMode="auto">
              <a:xfrm>
                <a:off x="3400272" y="32865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52" name="Sechseck 322"/>
              <p:cNvSpPr/>
              <p:nvPr/>
            </p:nvSpPr>
            <p:spPr bwMode="auto">
              <a:xfrm>
                <a:off x="3400272" y="273092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grpSp>
        <p:nvGrpSpPr>
          <p:cNvPr id="455" name="Gruppieren 325"/>
          <p:cNvGrpSpPr/>
          <p:nvPr/>
        </p:nvGrpSpPr>
        <p:grpSpPr>
          <a:xfrm>
            <a:off x="3846049" y="1465923"/>
            <a:ext cx="1046394" cy="1046394"/>
            <a:chOff x="1484623" y="1384386"/>
            <a:chExt cx="1046394" cy="1046394"/>
          </a:xfrm>
        </p:grpSpPr>
        <p:grpSp>
          <p:nvGrpSpPr>
            <p:cNvPr id="456" name="Gruppieren 326"/>
            <p:cNvGrpSpPr/>
            <p:nvPr/>
          </p:nvGrpSpPr>
          <p:grpSpPr>
            <a:xfrm>
              <a:off x="1484623" y="1384386"/>
              <a:ext cx="1046394" cy="1046394"/>
              <a:chOff x="1249679" y="1384386"/>
              <a:chExt cx="1046394" cy="1046394"/>
            </a:xfrm>
          </p:grpSpPr>
          <p:sp>
            <p:nvSpPr>
              <p:cNvPr id="779" name="Ellipse 360"/>
              <p:cNvSpPr/>
              <p:nvPr/>
            </p:nvSpPr>
            <p:spPr bwMode="auto">
              <a:xfrm>
                <a:off x="1249679" y="1384386"/>
                <a:ext cx="1046394" cy="1046394"/>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80" name="Ellipse 361"/>
              <p:cNvSpPr/>
              <p:nvPr/>
            </p:nvSpPr>
            <p:spPr bwMode="auto">
              <a:xfrm flipV="1">
                <a:off x="1317282" y="1454590"/>
                <a:ext cx="915164" cy="915164"/>
              </a:xfrm>
              <a:prstGeom prst="ellipse">
                <a:avLst/>
              </a:prstGeom>
              <a:gradFill flip="none" rotWithShape="1">
                <a:gsLst>
                  <a:gs pos="0">
                    <a:srgbClr val="7030A0"/>
                  </a:gs>
                  <a:gs pos="33500">
                    <a:srgbClr val="B898D0">
                      <a:alpha val="79000"/>
                    </a:srgbClr>
                  </a:gs>
                  <a:gs pos="72000">
                    <a:srgbClr val="FFFFFE">
                      <a:alpha val="0"/>
                      <a:lumMod val="0"/>
                      <a:lumOff val="10000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nvGrpSpPr>
            <p:cNvPr id="457" name="Gruppieren 327"/>
            <p:cNvGrpSpPr/>
            <p:nvPr/>
          </p:nvGrpSpPr>
          <p:grpSpPr>
            <a:xfrm>
              <a:off x="1493990" y="1445270"/>
              <a:ext cx="1033538" cy="939724"/>
              <a:chOff x="386078" y="2179778"/>
              <a:chExt cx="3657046" cy="3325098"/>
            </a:xfrm>
            <a:noFill/>
          </p:grpSpPr>
          <p:sp>
            <p:nvSpPr>
              <p:cNvPr id="458" name="Sechseck 328"/>
              <p:cNvSpPr/>
              <p:nvPr/>
            </p:nvSpPr>
            <p:spPr bwMode="auto">
              <a:xfrm>
                <a:off x="1893455"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59" name="Sechseck 329"/>
              <p:cNvSpPr/>
              <p:nvPr/>
            </p:nvSpPr>
            <p:spPr bwMode="auto">
              <a:xfrm>
                <a:off x="2392220" y="328814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60" name="Sechseck 330"/>
              <p:cNvSpPr/>
              <p:nvPr/>
            </p:nvSpPr>
            <p:spPr bwMode="auto">
              <a:xfrm>
                <a:off x="239222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61" name="Sechseck 331"/>
              <p:cNvSpPr/>
              <p:nvPr/>
            </p:nvSpPr>
            <p:spPr bwMode="auto">
              <a:xfrm>
                <a:off x="1893455"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62" name="Sechseck 332"/>
              <p:cNvSpPr/>
              <p:nvPr/>
            </p:nvSpPr>
            <p:spPr bwMode="auto">
              <a:xfrm>
                <a:off x="139469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63" name="Sechseck 333"/>
              <p:cNvSpPr/>
              <p:nvPr/>
            </p:nvSpPr>
            <p:spPr bwMode="auto">
              <a:xfrm>
                <a:off x="1394690" y="328814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64" name="Sechseck 334"/>
              <p:cNvSpPr/>
              <p:nvPr/>
            </p:nvSpPr>
            <p:spPr bwMode="auto">
              <a:xfrm>
                <a:off x="1893455" y="3565236"/>
                <a:ext cx="642852" cy="554182"/>
              </a:xfrm>
              <a:prstGeom prst="hexagon">
                <a:avLst/>
              </a:prstGeom>
              <a:noFill/>
              <a:ln w="3175" cap="flat" cmpd="sng" algn="ctr">
                <a:solidFill>
                  <a:srgbClr val="0070C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65" name="Sechseck 335"/>
              <p:cNvSpPr/>
              <p:nvPr/>
            </p:nvSpPr>
            <p:spPr bwMode="auto">
              <a:xfrm>
                <a:off x="239222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66" name="Sechseck 336"/>
              <p:cNvSpPr/>
              <p:nvPr/>
            </p:nvSpPr>
            <p:spPr bwMode="auto">
              <a:xfrm>
                <a:off x="2897352"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67" name="Sechseck 337"/>
              <p:cNvSpPr/>
              <p:nvPr/>
            </p:nvSpPr>
            <p:spPr bwMode="auto">
              <a:xfrm>
                <a:off x="2897352" y="356523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68" name="Sechseck 338"/>
              <p:cNvSpPr/>
              <p:nvPr/>
            </p:nvSpPr>
            <p:spPr bwMode="auto">
              <a:xfrm>
                <a:off x="2897352"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69" name="Sechseck 339"/>
              <p:cNvSpPr/>
              <p:nvPr/>
            </p:nvSpPr>
            <p:spPr bwMode="auto">
              <a:xfrm>
                <a:off x="2404843"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70" name="Sechseck 340"/>
              <p:cNvSpPr/>
              <p:nvPr/>
            </p:nvSpPr>
            <p:spPr bwMode="auto">
              <a:xfrm>
                <a:off x="1893455"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71" name="Sechseck 341"/>
              <p:cNvSpPr/>
              <p:nvPr/>
            </p:nvSpPr>
            <p:spPr bwMode="auto">
              <a:xfrm>
                <a:off x="1394690"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72" name="Sechseck 342"/>
              <p:cNvSpPr/>
              <p:nvPr/>
            </p:nvSpPr>
            <p:spPr bwMode="auto">
              <a:xfrm>
                <a:off x="888998" y="301408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73" name="Sechseck 343"/>
              <p:cNvSpPr/>
              <p:nvPr/>
            </p:nvSpPr>
            <p:spPr bwMode="auto">
              <a:xfrm>
                <a:off x="888998" y="356826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74" name="Sechseck 344"/>
              <p:cNvSpPr/>
              <p:nvPr/>
            </p:nvSpPr>
            <p:spPr bwMode="auto">
              <a:xfrm>
                <a:off x="888998" y="4122446"/>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85" name="Sechseck 345"/>
              <p:cNvSpPr/>
              <p:nvPr/>
            </p:nvSpPr>
            <p:spPr bwMode="auto">
              <a:xfrm>
                <a:off x="139469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86" name="Sechseck 346"/>
              <p:cNvSpPr/>
              <p:nvPr/>
            </p:nvSpPr>
            <p:spPr bwMode="auto">
              <a:xfrm>
                <a:off x="1893455"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87" name="Sechseck 347"/>
              <p:cNvSpPr/>
              <p:nvPr/>
            </p:nvSpPr>
            <p:spPr bwMode="auto">
              <a:xfrm>
                <a:off x="2392220" y="217977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88" name="Sechseck 348"/>
              <p:cNvSpPr/>
              <p:nvPr/>
            </p:nvSpPr>
            <p:spPr bwMode="auto">
              <a:xfrm>
                <a:off x="2897352"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89" name="Sechseck 349"/>
              <p:cNvSpPr/>
              <p:nvPr/>
            </p:nvSpPr>
            <p:spPr bwMode="auto">
              <a:xfrm>
                <a:off x="1394690" y="218713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90" name="Sechseck 350"/>
              <p:cNvSpPr/>
              <p:nvPr/>
            </p:nvSpPr>
            <p:spPr bwMode="auto">
              <a:xfrm>
                <a:off x="888998"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91" name="Sechseck 351"/>
              <p:cNvSpPr/>
              <p:nvPr/>
            </p:nvSpPr>
            <p:spPr bwMode="auto">
              <a:xfrm>
                <a:off x="386078" y="3291173"/>
                <a:ext cx="642852" cy="554182"/>
              </a:xfrm>
              <a:prstGeom prst="hexagon">
                <a:avLst/>
              </a:prstGeom>
              <a:solidFill>
                <a:srgbClr val="66CCFF"/>
              </a:solidFill>
              <a:ln w="38100"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92" name="Sechseck 352"/>
              <p:cNvSpPr/>
              <p:nvPr/>
            </p:nvSpPr>
            <p:spPr bwMode="auto">
              <a:xfrm>
                <a:off x="386078" y="384536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97" name="Sechseck 353"/>
              <p:cNvSpPr/>
              <p:nvPr/>
            </p:nvSpPr>
            <p:spPr bwMode="auto">
              <a:xfrm>
                <a:off x="888998"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98" name="Sechseck 354"/>
              <p:cNvSpPr/>
              <p:nvPr/>
            </p:nvSpPr>
            <p:spPr bwMode="auto">
              <a:xfrm>
                <a:off x="1394690" y="495069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00" name="Sechseck 355"/>
              <p:cNvSpPr/>
              <p:nvPr/>
            </p:nvSpPr>
            <p:spPr bwMode="auto">
              <a:xfrm>
                <a:off x="2404843" y="494919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04" name="Sechseck 356"/>
              <p:cNvSpPr/>
              <p:nvPr/>
            </p:nvSpPr>
            <p:spPr bwMode="auto">
              <a:xfrm>
                <a:off x="2897352" y="46736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05" name="Sechseck 357"/>
              <p:cNvSpPr/>
              <p:nvPr/>
            </p:nvSpPr>
            <p:spPr bwMode="auto">
              <a:xfrm>
                <a:off x="3400272" y="384232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77" name="Sechseck 358"/>
              <p:cNvSpPr/>
              <p:nvPr/>
            </p:nvSpPr>
            <p:spPr bwMode="auto">
              <a:xfrm>
                <a:off x="3400272" y="32865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78" name="Sechseck 359"/>
              <p:cNvSpPr/>
              <p:nvPr/>
            </p:nvSpPr>
            <p:spPr bwMode="auto">
              <a:xfrm>
                <a:off x="3400272" y="273092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grpSp>
        <p:nvGrpSpPr>
          <p:cNvPr id="781" name="Gruppieren 362"/>
          <p:cNvGrpSpPr/>
          <p:nvPr/>
        </p:nvGrpSpPr>
        <p:grpSpPr>
          <a:xfrm>
            <a:off x="4032962" y="1468511"/>
            <a:ext cx="1046394" cy="1046394"/>
            <a:chOff x="1484623" y="1384386"/>
            <a:chExt cx="1046394" cy="1046394"/>
          </a:xfrm>
        </p:grpSpPr>
        <p:grpSp>
          <p:nvGrpSpPr>
            <p:cNvPr id="782" name="Gruppieren 363"/>
            <p:cNvGrpSpPr/>
            <p:nvPr/>
          </p:nvGrpSpPr>
          <p:grpSpPr>
            <a:xfrm>
              <a:off x="1484623" y="1384386"/>
              <a:ext cx="1046394" cy="1046394"/>
              <a:chOff x="1249679" y="1384386"/>
              <a:chExt cx="1046394" cy="1046394"/>
            </a:xfrm>
          </p:grpSpPr>
          <p:sp>
            <p:nvSpPr>
              <p:cNvPr id="816" name="Ellipse 397"/>
              <p:cNvSpPr/>
              <p:nvPr/>
            </p:nvSpPr>
            <p:spPr bwMode="auto">
              <a:xfrm>
                <a:off x="1249679" y="1384386"/>
                <a:ext cx="1046394" cy="1046394"/>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17" name="Ellipse 398"/>
              <p:cNvSpPr/>
              <p:nvPr/>
            </p:nvSpPr>
            <p:spPr bwMode="auto">
              <a:xfrm flipV="1">
                <a:off x="1317282" y="1454590"/>
                <a:ext cx="915164" cy="915164"/>
              </a:xfrm>
              <a:prstGeom prst="ellipse">
                <a:avLst/>
              </a:prstGeom>
              <a:gradFill flip="none" rotWithShape="1">
                <a:gsLst>
                  <a:gs pos="0">
                    <a:srgbClr val="7030A0"/>
                  </a:gs>
                  <a:gs pos="33500">
                    <a:srgbClr val="B898D0">
                      <a:alpha val="79000"/>
                    </a:srgbClr>
                  </a:gs>
                  <a:gs pos="72000">
                    <a:srgbClr val="FFFFFE">
                      <a:alpha val="0"/>
                      <a:lumMod val="0"/>
                      <a:lumOff val="10000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nvGrpSpPr>
            <p:cNvPr id="783" name="Gruppieren 364"/>
            <p:cNvGrpSpPr/>
            <p:nvPr/>
          </p:nvGrpSpPr>
          <p:grpSpPr>
            <a:xfrm>
              <a:off x="1493990" y="1445270"/>
              <a:ext cx="1033538" cy="939724"/>
              <a:chOff x="386078" y="2179778"/>
              <a:chExt cx="3657046" cy="3325098"/>
            </a:xfrm>
            <a:noFill/>
          </p:grpSpPr>
          <p:sp>
            <p:nvSpPr>
              <p:cNvPr id="784" name="Sechseck 365"/>
              <p:cNvSpPr/>
              <p:nvPr/>
            </p:nvSpPr>
            <p:spPr bwMode="auto">
              <a:xfrm>
                <a:off x="1893455"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85" name="Sechseck 366"/>
              <p:cNvSpPr/>
              <p:nvPr/>
            </p:nvSpPr>
            <p:spPr bwMode="auto">
              <a:xfrm>
                <a:off x="2392220" y="3288142"/>
                <a:ext cx="642852" cy="554182"/>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86" name="Sechseck 367"/>
              <p:cNvSpPr/>
              <p:nvPr/>
            </p:nvSpPr>
            <p:spPr bwMode="auto">
              <a:xfrm>
                <a:off x="239222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87" name="Sechseck 368"/>
              <p:cNvSpPr/>
              <p:nvPr/>
            </p:nvSpPr>
            <p:spPr bwMode="auto">
              <a:xfrm>
                <a:off x="1893455"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88" name="Sechseck 369"/>
              <p:cNvSpPr/>
              <p:nvPr/>
            </p:nvSpPr>
            <p:spPr bwMode="auto">
              <a:xfrm>
                <a:off x="139469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89" name="Sechseck 370"/>
              <p:cNvSpPr/>
              <p:nvPr/>
            </p:nvSpPr>
            <p:spPr bwMode="auto">
              <a:xfrm>
                <a:off x="1394690" y="328814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90" name="Sechseck 371"/>
              <p:cNvSpPr/>
              <p:nvPr/>
            </p:nvSpPr>
            <p:spPr bwMode="auto">
              <a:xfrm>
                <a:off x="1893455" y="3565236"/>
                <a:ext cx="642852" cy="554182"/>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91" name="Sechseck 372"/>
              <p:cNvSpPr/>
              <p:nvPr/>
            </p:nvSpPr>
            <p:spPr bwMode="auto">
              <a:xfrm>
                <a:off x="239222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92" name="Sechseck 373"/>
              <p:cNvSpPr/>
              <p:nvPr/>
            </p:nvSpPr>
            <p:spPr bwMode="auto">
              <a:xfrm>
                <a:off x="2897352"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93" name="Sechseck 374"/>
              <p:cNvSpPr/>
              <p:nvPr/>
            </p:nvSpPr>
            <p:spPr bwMode="auto">
              <a:xfrm>
                <a:off x="2897352" y="356523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94" name="Sechseck 375"/>
              <p:cNvSpPr/>
              <p:nvPr/>
            </p:nvSpPr>
            <p:spPr bwMode="auto">
              <a:xfrm>
                <a:off x="2897352"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95" name="Sechseck 376"/>
              <p:cNvSpPr/>
              <p:nvPr/>
            </p:nvSpPr>
            <p:spPr bwMode="auto">
              <a:xfrm>
                <a:off x="2404843"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96" name="Sechseck 377"/>
              <p:cNvSpPr/>
              <p:nvPr/>
            </p:nvSpPr>
            <p:spPr bwMode="auto">
              <a:xfrm>
                <a:off x="1893455"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97" name="Sechseck 378"/>
              <p:cNvSpPr/>
              <p:nvPr/>
            </p:nvSpPr>
            <p:spPr bwMode="auto">
              <a:xfrm>
                <a:off x="1394690"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98" name="Sechseck 379"/>
              <p:cNvSpPr/>
              <p:nvPr/>
            </p:nvSpPr>
            <p:spPr bwMode="auto">
              <a:xfrm>
                <a:off x="888998" y="301408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99" name="Sechseck 380"/>
              <p:cNvSpPr/>
              <p:nvPr/>
            </p:nvSpPr>
            <p:spPr bwMode="auto">
              <a:xfrm>
                <a:off x="888998" y="356826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00" name="Sechseck 381"/>
              <p:cNvSpPr/>
              <p:nvPr/>
            </p:nvSpPr>
            <p:spPr bwMode="auto">
              <a:xfrm>
                <a:off x="888998" y="4122446"/>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01" name="Sechseck 382"/>
              <p:cNvSpPr/>
              <p:nvPr/>
            </p:nvSpPr>
            <p:spPr bwMode="auto">
              <a:xfrm>
                <a:off x="139469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02" name="Sechseck 383"/>
              <p:cNvSpPr/>
              <p:nvPr/>
            </p:nvSpPr>
            <p:spPr bwMode="auto">
              <a:xfrm>
                <a:off x="1893455"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03" name="Sechseck 384"/>
              <p:cNvSpPr/>
              <p:nvPr/>
            </p:nvSpPr>
            <p:spPr bwMode="auto">
              <a:xfrm>
                <a:off x="2392220" y="217977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04" name="Sechseck 385"/>
              <p:cNvSpPr/>
              <p:nvPr/>
            </p:nvSpPr>
            <p:spPr bwMode="auto">
              <a:xfrm>
                <a:off x="2897352"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05" name="Sechseck 386"/>
              <p:cNvSpPr/>
              <p:nvPr/>
            </p:nvSpPr>
            <p:spPr bwMode="auto">
              <a:xfrm>
                <a:off x="1394690" y="218713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06" name="Sechseck 387"/>
              <p:cNvSpPr/>
              <p:nvPr/>
            </p:nvSpPr>
            <p:spPr bwMode="auto">
              <a:xfrm>
                <a:off x="888998"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07" name="Sechseck 388"/>
              <p:cNvSpPr/>
              <p:nvPr/>
            </p:nvSpPr>
            <p:spPr bwMode="auto">
              <a:xfrm>
                <a:off x="386078" y="3291173"/>
                <a:ext cx="642852" cy="554182"/>
              </a:xfrm>
              <a:prstGeom prst="hexagon">
                <a:avLst/>
              </a:prstGeom>
              <a:solidFill>
                <a:srgbClr val="0066FF"/>
              </a:solidFill>
              <a:ln w="38100"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08" name="Sechseck 389"/>
              <p:cNvSpPr/>
              <p:nvPr/>
            </p:nvSpPr>
            <p:spPr bwMode="auto">
              <a:xfrm>
                <a:off x="386078" y="384536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09" name="Sechseck 390"/>
              <p:cNvSpPr/>
              <p:nvPr/>
            </p:nvSpPr>
            <p:spPr bwMode="auto">
              <a:xfrm>
                <a:off x="888998"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10" name="Sechseck 391"/>
              <p:cNvSpPr/>
              <p:nvPr/>
            </p:nvSpPr>
            <p:spPr bwMode="auto">
              <a:xfrm>
                <a:off x="1394690" y="495069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11" name="Sechseck 392"/>
              <p:cNvSpPr/>
              <p:nvPr/>
            </p:nvSpPr>
            <p:spPr bwMode="auto">
              <a:xfrm>
                <a:off x="2404843" y="494919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12" name="Sechseck 393"/>
              <p:cNvSpPr/>
              <p:nvPr/>
            </p:nvSpPr>
            <p:spPr bwMode="auto">
              <a:xfrm>
                <a:off x="2897352" y="46736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13" name="Sechseck 394"/>
              <p:cNvSpPr/>
              <p:nvPr/>
            </p:nvSpPr>
            <p:spPr bwMode="auto">
              <a:xfrm>
                <a:off x="3400272" y="384232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14" name="Sechseck 395"/>
              <p:cNvSpPr/>
              <p:nvPr/>
            </p:nvSpPr>
            <p:spPr bwMode="auto">
              <a:xfrm>
                <a:off x="3400272" y="32865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15" name="Sechseck 396"/>
              <p:cNvSpPr/>
              <p:nvPr/>
            </p:nvSpPr>
            <p:spPr bwMode="auto">
              <a:xfrm>
                <a:off x="3400272" y="273092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grpSp>
        <p:nvGrpSpPr>
          <p:cNvPr id="818" name="Gruppieren 436"/>
          <p:cNvGrpSpPr/>
          <p:nvPr/>
        </p:nvGrpSpPr>
        <p:grpSpPr>
          <a:xfrm>
            <a:off x="4406786" y="1462451"/>
            <a:ext cx="1046394" cy="1046394"/>
            <a:chOff x="1484623" y="1384386"/>
            <a:chExt cx="1046394" cy="1046394"/>
          </a:xfrm>
        </p:grpSpPr>
        <p:grpSp>
          <p:nvGrpSpPr>
            <p:cNvPr id="819" name="Gruppieren 437"/>
            <p:cNvGrpSpPr/>
            <p:nvPr/>
          </p:nvGrpSpPr>
          <p:grpSpPr>
            <a:xfrm>
              <a:off x="1484623" y="1384386"/>
              <a:ext cx="1046394" cy="1046394"/>
              <a:chOff x="1249679" y="1384386"/>
              <a:chExt cx="1046394" cy="1046394"/>
            </a:xfrm>
          </p:grpSpPr>
          <p:sp>
            <p:nvSpPr>
              <p:cNvPr id="853" name="Ellipse 471"/>
              <p:cNvSpPr/>
              <p:nvPr/>
            </p:nvSpPr>
            <p:spPr bwMode="auto">
              <a:xfrm>
                <a:off x="1249679" y="1384386"/>
                <a:ext cx="1046394" cy="1046394"/>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54" name="Ellipse 472"/>
              <p:cNvSpPr/>
              <p:nvPr/>
            </p:nvSpPr>
            <p:spPr bwMode="auto">
              <a:xfrm flipV="1">
                <a:off x="1317282" y="1454590"/>
                <a:ext cx="915164" cy="915164"/>
              </a:xfrm>
              <a:prstGeom prst="ellipse">
                <a:avLst/>
              </a:prstGeom>
              <a:gradFill flip="none" rotWithShape="1">
                <a:gsLst>
                  <a:gs pos="0">
                    <a:srgbClr val="7030A0"/>
                  </a:gs>
                  <a:gs pos="33500">
                    <a:srgbClr val="B898D0">
                      <a:alpha val="79000"/>
                    </a:srgbClr>
                  </a:gs>
                  <a:gs pos="72000">
                    <a:srgbClr val="FFFFFE">
                      <a:alpha val="0"/>
                      <a:lumMod val="0"/>
                      <a:lumOff val="10000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nvGrpSpPr>
            <p:cNvPr id="820" name="Gruppieren 438"/>
            <p:cNvGrpSpPr/>
            <p:nvPr/>
          </p:nvGrpSpPr>
          <p:grpSpPr>
            <a:xfrm>
              <a:off x="1493990" y="1445270"/>
              <a:ext cx="1033538" cy="939724"/>
              <a:chOff x="386078" y="2179778"/>
              <a:chExt cx="3657046" cy="3325098"/>
            </a:xfrm>
            <a:noFill/>
          </p:grpSpPr>
          <p:sp>
            <p:nvSpPr>
              <p:cNvPr id="821" name="Sechseck 439"/>
              <p:cNvSpPr/>
              <p:nvPr/>
            </p:nvSpPr>
            <p:spPr bwMode="auto">
              <a:xfrm>
                <a:off x="1893455"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22" name="Sechseck 440"/>
              <p:cNvSpPr/>
              <p:nvPr/>
            </p:nvSpPr>
            <p:spPr bwMode="auto">
              <a:xfrm>
                <a:off x="2392220" y="328814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23" name="Sechseck 441"/>
              <p:cNvSpPr/>
              <p:nvPr/>
            </p:nvSpPr>
            <p:spPr bwMode="auto">
              <a:xfrm>
                <a:off x="239222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24" name="Sechseck 442"/>
              <p:cNvSpPr/>
              <p:nvPr/>
            </p:nvSpPr>
            <p:spPr bwMode="auto">
              <a:xfrm>
                <a:off x="1893455"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25" name="Sechseck 443"/>
              <p:cNvSpPr/>
              <p:nvPr/>
            </p:nvSpPr>
            <p:spPr bwMode="auto">
              <a:xfrm>
                <a:off x="139469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26" name="Sechseck 444"/>
              <p:cNvSpPr/>
              <p:nvPr/>
            </p:nvSpPr>
            <p:spPr bwMode="auto">
              <a:xfrm>
                <a:off x="1394690" y="328814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27" name="Sechseck 445"/>
              <p:cNvSpPr/>
              <p:nvPr/>
            </p:nvSpPr>
            <p:spPr bwMode="auto">
              <a:xfrm>
                <a:off x="1893455" y="3565236"/>
                <a:ext cx="642852" cy="554182"/>
              </a:xfrm>
              <a:prstGeom prst="hexagon">
                <a:avLst/>
              </a:prstGeom>
              <a:noFill/>
              <a:ln w="3175" cap="flat" cmpd="sng" algn="ctr">
                <a:solidFill>
                  <a:srgbClr val="0070C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28" name="Sechseck 446"/>
              <p:cNvSpPr/>
              <p:nvPr/>
            </p:nvSpPr>
            <p:spPr bwMode="auto">
              <a:xfrm>
                <a:off x="239222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29" name="Sechseck 447"/>
              <p:cNvSpPr/>
              <p:nvPr/>
            </p:nvSpPr>
            <p:spPr bwMode="auto">
              <a:xfrm>
                <a:off x="2897352"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30" name="Sechseck 448"/>
              <p:cNvSpPr/>
              <p:nvPr/>
            </p:nvSpPr>
            <p:spPr bwMode="auto">
              <a:xfrm>
                <a:off x="2897352" y="356523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31" name="Sechseck 449"/>
              <p:cNvSpPr/>
              <p:nvPr/>
            </p:nvSpPr>
            <p:spPr bwMode="auto">
              <a:xfrm>
                <a:off x="2897352"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32" name="Sechseck 450"/>
              <p:cNvSpPr/>
              <p:nvPr/>
            </p:nvSpPr>
            <p:spPr bwMode="auto">
              <a:xfrm>
                <a:off x="2404843"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33" name="Sechseck 451"/>
              <p:cNvSpPr/>
              <p:nvPr/>
            </p:nvSpPr>
            <p:spPr bwMode="auto">
              <a:xfrm>
                <a:off x="1893455"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34" name="Sechseck 452"/>
              <p:cNvSpPr/>
              <p:nvPr/>
            </p:nvSpPr>
            <p:spPr bwMode="auto">
              <a:xfrm>
                <a:off x="1394690"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35" name="Sechseck 453"/>
              <p:cNvSpPr/>
              <p:nvPr/>
            </p:nvSpPr>
            <p:spPr bwMode="auto">
              <a:xfrm>
                <a:off x="888998" y="301408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36" name="Sechseck 454"/>
              <p:cNvSpPr/>
              <p:nvPr/>
            </p:nvSpPr>
            <p:spPr bwMode="auto">
              <a:xfrm>
                <a:off x="888998" y="356826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37" name="Sechseck 455"/>
              <p:cNvSpPr/>
              <p:nvPr/>
            </p:nvSpPr>
            <p:spPr bwMode="auto">
              <a:xfrm>
                <a:off x="888998" y="4122446"/>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38" name="Sechseck 456"/>
              <p:cNvSpPr/>
              <p:nvPr/>
            </p:nvSpPr>
            <p:spPr bwMode="auto">
              <a:xfrm>
                <a:off x="139469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39" name="Sechseck 457"/>
              <p:cNvSpPr/>
              <p:nvPr/>
            </p:nvSpPr>
            <p:spPr bwMode="auto">
              <a:xfrm>
                <a:off x="1893455"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40" name="Sechseck 458"/>
              <p:cNvSpPr/>
              <p:nvPr/>
            </p:nvSpPr>
            <p:spPr bwMode="auto">
              <a:xfrm>
                <a:off x="2392220" y="217977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41" name="Sechseck 459"/>
              <p:cNvSpPr/>
              <p:nvPr/>
            </p:nvSpPr>
            <p:spPr bwMode="auto">
              <a:xfrm>
                <a:off x="2897352"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42" name="Sechseck 460"/>
              <p:cNvSpPr/>
              <p:nvPr/>
            </p:nvSpPr>
            <p:spPr bwMode="auto">
              <a:xfrm>
                <a:off x="1394690" y="218713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43" name="Sechseck 461"/>
              <p:cNvSpPr/>
              <p:nvPr/>
            </p:nvSpPr>
            <p:spPr bwMode="auto">
              <a:xfrm>
                <a:off x="888998"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44" name="Sechseck 462"/>
              <p:cNvSpPr/>
              <p:nvPr/>
            </p:nvSpPr>
            <p:spPr bwMode="auto">
              <a:xfrm>
                <a:off x="386078" y="3291173"/>
                <a:ext cx="642852" cy="554182"/>
              </a:xfrm>
              <a:prstGeom prst="hexagon">
                <a:avLst/>
              </a:prstGeom>
              <a:solidFill>
                <a:schemeClr val="tx1"/>
              </a:solidFill>
              <a:ln w="38100"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45" name="Sechseck 463"/>
              <p:cNvSpPr/>
              <p:nvPr/>
            </p:nvSpPr>
            <p:spPr bwMode="auto">
              <a:xfrm>
                <a:off x="386078" y="384536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46" name="Sechseck 464"/>
              <p:cNvSpPr/>
              <p:nvPr/>
            </p:nvSpPr>
            <p:spPr bwMode="auto">
              <a:xfrm>
                <a:off x="888998"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47" name="Sechseck 465"/>
              <p:cNvSpPr/>
              <p:nvPr/>
            </p:nvSpPr>
            <p:spPr bwMode="auto">
              <a:xfrm>
                <a:off x="1394690" y="495069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48" name="Sechseck 466"/>
              <p:cNvSpPr/>
              <p:nvPr/>
            </p:nvSpPr>
            <p:spPr bwMode="auto">
              <a:xfrm>
                <a:off x="2404843" y="494919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49" name="Sechseck 467"/>
              <p:cNvSpPr/>
              <p:nvPr/>
            </p:nvSpPr>
            <p:spPr bwMode="auto">
              <a:xfrm>
                <a:off x="2897352" y="46736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50" name="Sechseck 468"/>
              <p:cNvSpPr/>
              <p:nvPr/>
            </p:nvSpPr>
            <p:spPr bwMode="auto">
              <a:xfrm>
                <a:off x="3400272" y="384232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51" name="Sechseck 469"/>
              <p:cNvSpPr/>
              <p:nvPr/>
            </p:nvSpPr>
            <p:spPr bwMode="auto">
              <a:xfrm>
                <a:off x="3400272" y="3286503"/>
                <a:ext cx="642852" cy="554182"/>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52" name="Sechseck 470"/>
              <p:cNvSpPr/>
              <p:nvPr/>
            </p:nvSpPr>
            <p:spPr bwMode="auto">
              <a:xfrm>
                <a:off x="3400272" y="273092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grpSp>
        <p:nvGrpSpPr>
          <p:cNvPr id="855" name="Gruppieren 1027"/>
          <p:cNvGrpSpPr/>
          <p:nvPr/>
        </p:nvGrpSpPr>
        <p:grpSpPr>
          <a:xfrm>
            <a:off x="3823748" y="1518801"/>
            <a:ext cx="1110090" cy="942393"/>
            <a:chOff x="7587534" y="2619677"/>
            <a:chExt cx="1110090" cy="942393"/>
          </a:xfrm>
        </p:grpSpPr>
        <p:sp>
          <p:nvSpPr>
            <p:cNvPr id="856" name="Ellipse 138"/>
            <p:cNvSpPr/>
            <p:nvPr/>
          </p:nvSpPr>
          <p:spPr bwMode="auto">
            <a:xfrm flipV="1">
              <a:off x="7684997" y="2646906"/>
              <a:ext cx="915164" cy="915164"/>
            </a:xfrm>
            <a:prstGeom prst="ellipse">
              <a:avLst/>
            </a:prstGeom>
            <a:gradFill flip="none" rotWithShape="1">
              <a:gsLst>
                <a:gs pos="0">
                  <a:srgbClr val="66CCFF">
                    <a:tint val="66000"/>
                    <a:satMod val="160000"/>
                  </a:srgbClr>
                </a:gs>
                <a:gs pos="34000">
                  <a:srgbClr val="66CCFF">
                    <a:tint val="44500"/>
                    <a:satMod val="160000"/>
                    <a:alpha val="61000"/>
                  </a:srgbClr>
                </a:gs>
                <a:gs pos="58000">
                  <a:srgbClr val="66CCFF">
                    <a:tint val="23500"/>
                    <a:satMod val="160000"/>
                    <a:alpha val="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57" name="Freihandform 65"/>
            <p:cNvSpPr/>
            <p:nvPr/>
          </p:nvSpPr>
          <p:spPr bwMode="auto">
            <a:xfrm>
              <a:off x="7587534" y="2619677"/>
              <a:ext cx="1110090" cy="774383"/>
            </a:xfrm>
            <a:custGeom>
              <a:avLst/>
              <a:gdLst>
                <a:gd name="connsiteX0" fmla="*/ 0 w 4119418"/>
                <a:gd name="connsiteY0" fmla="*/ 1341527 h 1396945"/>
                <a:gd name="connsiteX1" fmla="*/ 775854 w 4119418"/>
                <a:gd name="connsiteY1" fmla="*/ 1202981 h 1396945"/>
                <a:gd name="connsiteX2" fmla="*/ 1477818 w 4119418"/>
                <a:gd name="connsiteY2" fmla="*/ 279345 h 1396945"/>
                <a:gd name="connsiteX3" fmla="*/ 1911927 w 4119418"/>
                <a:gd name="connsiteY3" fmla="*/ 20727 h 1396945"/>
                <a:gd name="connsiteX4" fmla="*/ 2401454 w 4119418"/>
                <a:gd name="connsiteY4" fmla="*/ 113090 h 1396945"/>
                <a:gd name="connsiteX5" fmla="*/ 2992582 w 4119418"/>
                <a:gd name="connsiteY5" fmla="*/ 879709 h 1396945"/>
                <a:gd name="connsiteX6" fmla="*/ 3445163 w 4119418"/>
                <a:gd name="connsiteY6" fmla="*/ 1286109 h 1396945"/>
                <a:gd name="connsiteX7" fmla="*/ 4119418 w 4119418"/>
                <a:gd name="connsiteY7" fmla="*/ 1396945 h 1396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418" h="1396945">
                  <a:moveTo>
                    <a:pt x="0" y="1341527"/>
                  </a:moveTo>
                  <a:cubicBezTo>
                    <a:pt x="264775" y="1360769"/>
                    <a:pt x="529551" y="1380011"/>
                    <a:pt x="775854" y="1202981"/>
                  </a:cubicBezTo>
                  <a:cubicBezTo>
                    <a:pt x="1022157" y="1025951"/>
                    <a:pt x="1288473" y="476387"/>
                    <a:pt x="1477818" y="279345"/>
                  </a:cubicBezTo>
                  <a:cubicBezTo>
                    <a:pt x="1667164" y="82303"/>
                    <a:pt x="1757988" y="48436"/>
                    <a:pt x="1911927" y="20727"/>
                  </a:cubicBezTo>
                  <a:cubicBezTo>
                    <a:pt x="2065866" y="-6982"/>
                    <a:pt x="2221345" y="-30074"/>
                    <a:pt x="2401454" y="113090"/>
                  </a:cubicBezTo>
                  <a:cubicBezTo>
                    <a:pt x="2581563" y="256254"/>
                    <a:pt x="2818631" y="684206"/>
                    <a:pt x="2992582" y="879709"/>
                  </a:cubicBezTo>
                  <a:cubicBezTo>
                    <a:pt x="3166534" y="1075212"/>
                    <a:pt x="3257357" y="1199903"/>
                    <a:pt x="3445163" y="1286109"/>
                  </a:cubicBezTo>
                  <a:cubicBezTo>
                    <a:pt x="3632969" y="1372315"/>
                    <a:pt x="3876193" y="1384630"/>
                    <a:pt x="4119418" y="1396945"/>
                  </a:cubicBezTo>
                </a:path>
              </a:pathLst>
            </a:custGeom>
            <a:noFill/>
            <a:ln w="3175" cap="flat" cmpd="sng" algn="ctr">
              <a:solidFill>
                <a:schemeClr val="tx1"/>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58" name="Ellipse 30"/>
            <p:cNvSpPr/>
            <p:nvPr/>
          </p:nvSpPr>
          <p:spPr bwMode="auto">
            <a:xfrm flipV="1">
              <a:off x="8044026" y="3006869"/>
              <a:ext cx="175464" cy="175464"/>
            </a:xfrm>
            <a:prstGeom prst="ellipse">
              <a:avLst/>
            </a:prstGeom>
            <a:solidFill>
              <a:srgbClr val="66CCFF"/>
            </a:solidFill>
            <a:ln w="3175" cap="flat" cmpd="sng" algn="ctr">
              <a:solidFill>
                <a:srgbClr val="0070C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nvGrpSpPr>
          <p:cNvPr id="859" name="Gruppieren 13"/>
          <p:cNvGrpSpPr/>
          <p:nvPr/>
        </p:nvGrpSpPr>
        <p:grpSpPr>
          <a:xfrm>
            <a:off x="3646868" y="2316480"/>
            <a:ext cx="1466152" cy="114300"/>
            <a:chOff x="3646868" y="2202180"/>
            <a:chExt cx="1466152" cy="114300"/>
          </a:xfrm>
        </p:grpSpPr>
        <p:cxnSp>
          <p:nvCxnSpPr>
            <p:cNvPr id="860" name="Gerade Verbindung 6"/>
            <p:cNvCxnSpPr/>
            <p:nvPr/>
          </p:nvCxnSpPr>
          <p:spPr bwMode="auto">
            <a:xfrm>
              <a:off x="3646868" y="2263140"/>
              <a:ext cx="1466152" cy="0"/>
            </a:xfrm>
            <a:prstGeom prst="line">
              <a:avLst/>
            </a:prstGeom>
            <a:solidFill>
              <a:schemeClr val="folHlink"/>
            </a:solidFill>
            <a:ln w="3175" cap="flat" cmpd="sng" algn="ctr">
              <a:solidFill>
                <a:schemeClr val="folHlink"/>
              </a:solidFill>
              <a:prstDash val="solid"/>
              <a:round/>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861" name="Gruppieren 12"/>
            <p:cNvGrpSpPr/>
            <p:nvPr/>
          </p:nvGrpSpPr>
          <p:grpSpPr>
            <a:xfrm>
              <a:off x="3806888" y="2202180"/>
              <a:ext cx="1110090" cy="114300"/>
              <a:chOff x="3806888" y="2148840"/>
              <a:chExt cx="1110090" cy="266700"/>
            </a:xfrm>
          </p:grpSpPr>
          <p:cxnSp>
            <p:nvCxnSpPr>
              <p:cNvPr id="862" name="Gerade Verbindung 22"/>
              <p:cNvCxnSpPr/>
              <p:nvPr/>
            </p:nvCxnSpPr>
            <p:spPr bwMode="auto">
              <a:xfrm flipV="1">
                <a:off x="3806888"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63" name="Gerade Verbindung 24"/>
              <p:cNvCxnSpPr/>
              <p:nvPr/>
            </p:nvCxnSpPr>
            <p:spPr bwMode="auto">
              <a:xfrm flipV="1">
                <a:off x="3991903"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64" name="Gerade Verbindung 25"/>
              <p:cNvCxnSpPr/>
              <p:nvPr/>
            </p:nvCxnSpPr>
            <p:spPr bwMode="auto">
              <a:xfrm flipV="1">
                <a:off x="4176918"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65" name="Gerade Verbindung 26"/>
              <p:cNvCxnSpPr/>
              <p:nvPr/>
            </p:nvCxnSpPr>
            <p:spPr bwMode="auto">
              <a:xfrm flipV="1">
                <a:off x="4361933"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66" name="Gerade Verbindung 27"/>
              <p:cNvCxnSpPr/>
              <p:nvPr/>
            </p:nvCxnSpPr>
            <p:spPr bwMode="auto">
              <a:xfrm flipV="1">
                <a:off x="4546948"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67" name="Gerade Verbindung 28"/>
              <p:cNvCxnSpPr/>
              <p:nvPr/>
            </p:nvCxnSpPr>
            <p:spPr bwMode="auto">
              <a:xfrm flipV="1">
                <a:off x="4731963"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68" name="Gerade Verbindung 29"/>
              <p:cNvCxnSpPr/>
              <p:nvPr/>
            </p:nvCxnSpPr>
            <p:spPr bwMode="auto">
              <a:xfrm flipV="1">
                <a:off x="4916978"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869" name="Gruppieren 214"/>
          <p:cNvGrpSpPr/>
          <p:nvPr/>
        </p:nvGrpSpPr>
        <p:grpSpPr>
          <a:xfrm>
            <a:off x="3285311" y="1473561"/>
            <a:ext cx="1046394" cy="1046394"/>
            <a:chOff x="1484623" y="1384386"/>
            <a:chExt cx="1046394" cy="1046394"/>
          </a:xfrm>
        </p:grpSpPr>
        <p:grpSp>
          <p:nvGrpSpPr>
            <p:cNvPr id="870" name="Gruppieren 215"/>
            <p:cNvGrpSpPr/>
            <p:nvPr/>
          </p:nvGrpSpPr>
          <p:grpSpPr>
            <a:xfrm>
              <a:off x="1484623" y="1384386"/>
              <a:ext cx="1046394" cy="1046394"/>
              <a:chOff x="1249679" y="1384386"/>
              <a:chExt cx="1046394" cy="1046394"/>
            </a:xfrm>
          </p:grpSpPr>
          <p:sp>
            <p:nvSpPr>
              <p:cNvPr id="904" name="Ellipse 249"/>
              <p:cNvSpPr/>
              <p:nvPr/>
            </p:nvSpPr>
            <p:spPr bwMode="auto">
              <a:xfrm>
                <a:off x="1249679" y="1384386"/>
                <a:ext cx="1046394" cy="1046394"/>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905" name="Ellipse 250"/>
              <p:cNvSpPr/>
              <p:nvPr/>
            </p:nvSpPr>
            <p:spPr bwMode="auto">
              <a:xfrm flipV="1">
                <a:off x="1317282" y="1454590"/>
                <a:ext cx="915164" cy="915164"/>
              </a:xfrm>
              <a:prstGeom prst="ellipse">
                <a:avLst/>
              </a:prstGeom>
              <a:gradFill flip="none" rotWithShape="1">
                <a:gsLst>
                  <a:gs pos="0">
                    <a:srgbClr val="7030A0"/>
                  </a:gs>
                  <a:gs pos="33500">
                    <a:srgbClr val="B898D0">
                      <a:alpha val="79000"/>
                    </a:srgbClr>
                  </a:gs>
                  <a:gs pos="72000">
                    <a:srgbClr val="FFFFFE">
                      <a:alpha val="0"/>
                      <a:lumMod val="0"/>
                      <a:lumOff val="10000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nvGrpSpPr>
            <p:cNvPr id="871" name="Gruppieren 216"/>
            <p:cNvGrpSpPr/>
            <p:nvPr/>
          </p:nvGrpSpPr>
          <p:grpSpPr>
            <a:xfrm>
              <a:off x="1493990" y="1445270"/>
              <a:ext cx="1033538" cy="939724"/>
              <a:chOff x="386078" y="2179778"/>
              <a:chExt cx="3657046" cy="3325098"/>
            </a:xfrm>
            <a:noFill/>
          </p:grpSpPr>
          <p:sp>
            <p:nvSpPr>
              <p:cNvPr id="872" name="Sechseck 217"/>
              <p:cNvSpPr/>
              <p:nvPr/>
            </p:nvSpPr>
            <p:spPr bwMode="auto">
              <a:xfrm>
                <a:off x="1893455"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73" name="Sechseck 218"/>
              <p:cNvSpPr/>
              <p:nvPr/>
            </p:nvSpPr>
            <p:spPr bwMode="auto">
              <a:xfrm>
                <a:off x="2392220" y="328814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74" name="Sechseck 219"/>
              <p:cNvSpPr/>
              <p:nvPr/>
            </p:nvSpPr>
            <p:spPr bwMode="auto">
              <a:xfrm>
                <a:off x="239222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75" name="Sechseck 220"/>
              <p:cNvSpPr/>
              <p:nvPr/>
            </p:nvSpPr>
            <p:spPr bwMode="auto">
              <a:xfrm>
                <a:off x="1893455"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76" name="Sechseck 221"/>
              <p:cNvSpPr/>
              <p:nvPr/>
            </p:nvSpPr>
            <p:spPr bwMode="auto">
              <a:xfrm>
                <a:off x="139469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77" name="Sechseck 222"/>
              <p:cNvSpPr/>
              <p:nvPr/>
            </p:nvSpPr>
            <p:spPr bwMode="auto">
              <a:xfrm>
                <a:off x="1394690" y="328814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78" name="Sechseck 223"/>
              <p:cNvSpPr/>
              <p:nvPr/>
            </p:nvSpPr>
            <p:spPr bwMode="auto">
              <a:xfrm>
                <a:off x="1893455" y="3565236"/>
                <a:ext cx="642852" cy="554182"/>
              </a:xfrm>
              <a:prstGeom prst="hexagon">
                <a:avLst/>
              </a:prstGeom>
              <a:noFill/>
              <a:ln w="3175" cap="flat" cmpd="sng" algn="ctr">
                <a:solidFill>
                  <a:srgbClr val="0070C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79" name="Sechseck 224"/>
              <p:cNvSpPr/>
              <p:nvPr/>
            </p:nvSpPr>
            <p:spPr bwMode="auto">
              <a:xfrm>
                <a:off x="239222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80" name="Sechseck 225"/>
              <p:cNvSpPr/>
              <p:nvPr/>
            </p:nvSpPr>
            <p:spPr bwMode="auto">
              <a:xfrm>
                <a:off x="2897352"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81" name="Sechseck 226"/>
              <p:cNvSpPr/>
              <p:nvPr/>
            </p:nvSpPr>
            <p:spPr bwMode="auto">
              <a:xfrm>
                <a:off x="2897352" y="356523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82" name="Sechseck 227"/>
              <p:cNvSpPr/>
              <p:nvPr/>
            </p:nvSpPr>
            <p:spPr bwMode="auto">
              <a:xfrm>
                <a:off x="2897352"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83" name="Sechseck 228"/>
              <p:cNvSpPr/>
              <p:nvPr/>
            </p:nvSpPr>
            <p:spPr bwMode="auto">
              <a:xfrm>
                <a:off x="2404843"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84" name="Sechseck 229"/>
              <p:cNvSpPr/>
              <p:nvPr/>
            </p:nvSpPr>
            <p:spPr bwMode="auto">
              <a:xfrm>
                <a:off x="1893455"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85" name="Sechseck 230"/>
              <p:cNvSpPr/>
              <p:nvPr/>
            </p:nvSpPr>
            <p:spPr bwMode="auto">
              <a:xfrm>
                <a:off x="1394690"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86" name="Sechseck 231"/>
              <p:cNvSpPr/>
              <p:nvPr/>
            </p:nvSpPr>
            <p:spPr bwMode="auto">
              <a:xfrm>
                <a:off x="888998" y="301408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87" name="Sechseck 232"/>
              <p:cNvSpPr/>
              <p:nvPr/>
            </p:nvSpPr>
            <p:spPr bwMode="auto">
              <a:xfrm>
                <a:off x="888998" y="356826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88" name="Sechseck 233"/>
              <p:cNvSpPr/>
              <p:nvPr/>
            </p:nvSpPr>
            <p:spPr bwMode="auto">
              <a:xfrm>
                <a:off x="888998" y="4122446"/>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89" name="Sechseck 234"/>
              <p:cNvSpPr/>
              <p:nvPr/>
            </p:nvSpPr>
            <p:spPr bwMode="auto">
              <a:xfrm>
                <a:off x="139469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90" name="Sechseck 235"/>
              <p:cNvSpPr/>
              <p:nvPr/>
            </p:nvSpPr>
            <p:spPr bwMode="auto">
              <a:xfrm>
                <a:off x="1893455"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91" name="Sechseck 236"/>
              <p:cNvSpPr/>
              <p:nvPr/>
            </p:nvSpPr>
            <p:spPr bwMode="auto">
              <a:xfrm>
                <a:off x="2392220" y="217977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92" name="Sechseck 237"/>
              <p:cNvSpPr/>
              <p:nvPr/>
            </p:nvSpPr>
            <p:spPr bwMode="auto">
              <a:xfrm>
                <a:off x="2897352"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93" name="Sechseck 238"/>
              <p:cNvSpPr/>
              <p:nvPr/>
            </p:nvSpPr>
            <p:spPr bwMode="auto">
              <a:xfrm>
                <a:off x="1394690" y="218713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94" name="Sechseck 239"/>
              <p:cNvSpPr/>
              <p:nvPr/>
            </p:nvSpPr>
            <p:spPr bwMode="auto">
              <a:xfrm>
                <a:off x="888998"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95" name="Sechseck 240"/>
              <p:cNvSpPr/>
              <p:nvPr/>
            </p:nvSpPr>
            <p:spPr bwMode="auto">
              <a:xfrm>
                <a:off x="386078" y="3291173"/>
                <a:ext cx="642852" cy="554182"/>
              </a:xfrm>
              <a:prstGeom prst="hexagon">
                <a:avLst/>
              </a:prstGeom>
              <a:solidFill>
                <a:srgbClr val="0F0000"/>
              </a:solidFill>
              <a:ln w="38100"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96" name="Sechseck 241"/>
              <p:cNvSpPr/>
              <p:nvPr/>
            </p:nvSpPr>
            <p:spPr bwMode="auto">
              <a:xfrm>
                <a:off x="386078" y="3845361"/>
                <a:ext cx="642852" cy="554182"/>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97" name="Sechseck 242"/>
              <p:cNvSpPr/>
              <p:nvPr/>
            </p:nvSpPr>
            <p:spPr bwMode="auto">
              <a:xfrm>
                <a:off x="888998"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98" name="Sechseck 243"/>
              <p:cNvSpPr/>
              <p:nvPr/>
            </p:nvSpPr>
            <p:spPr bwMode="auto">
              <a:xfrm>
                <a:off x="1394690" y="495069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99" name="Sechseck 244"/>
              <p:cNvSpPr/>
              <p:nvPr/>
            </p:nvSpPr>
            <p:spPr bwMode="auto">
              <a:xfrm>
                <a:off x="2404843" y="494919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900" name="Sechseck 245"/>
              <p:cNvSpPr/>
              <p:nvPr/>
            </p:nvSpPr>
            <p:spPr bwMode="auto">
              <a:xfrm>
                <a:off x="2897352" y="46736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901" name="Sechseck 246"/>
              <p:cNvSpPr/>
              <p:nvPr/>
            </p:nvSpPr>
            <p:spPr bwMode="auto">
              <a:xfrm>
                <a:off x="3400272" y="384232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902" name="Sechseck 247"/>
              <p:cNvSpPr/>
              <p:nvPr/>
            </p:nvSpPr>
            <p:spPr bwMode="auto">
              <a:xfrm>
                <a:off x="3400272" y="32865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903" name="Sechseck 248"/>
              <p:cNvSpPr/>
              <p:nvPr/>
            </p:nvSpPr>
            <p:spPr bwMode="auto">
              <a:xfrm>
                <a:off x="3400272" y="273092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grpSp>
        <p:nvGrpSpPr>
          <p:cNvPr id="906" name="Gruppieren 399"/>
          <p:cNvGrpSpPr/>
          <p:nvPr/>
        </p:nvGrpSpPr>
        <p:grpSpPr>
          <a:xfrm>
            <a:off x="4219874" y="1467314"/>
            <a:ext cx="1046394" cy="1046394"/>
            <a:chOff x="1484623" y="1384386"/>
            <a:chExt cx="1046394" cy="1046394"/>
          </a:xfrm>
        </p:grpSpPr>
        <p:grpSp>
          <p:nvGrpSpPr>
            <p:cNvPr id="907" name="Gruppieren 400"/>
            <p:cNvGrpSpPr/>
            <p:nvPr/>
          </p:nvGrpSpPr>
          <p:grpSpPr>
            <a:xfrm>
              <a:off x="1484623" y="1384386"/>
              <a:ext cx="1046394" cy="1046394"/>
              <a:chOff x="1249679" y="1384386"/>
              <a:chExt cx="1046394" cy="1046394"/>
            </a:xfrm>
          </p:grpSpPr>
          <p:sp>
            <p:nvSpPr>
              <p:cNvPr id="941" name="Ellipse 434"/>
              <p:cNvSpPr/>
              <p:nvPr/>
            </p:nvSpPr>
            <p:spPr bwMode="auto">
              <a:xfrm>
                <a:off x="1249679" y="1384386"/>
                <a:ext cx="1046394" cy="1046394"/>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942" name="Ellipse 435"/>
              <p:cNvSpPr/>
              <p:nvPr/>
            </p:nvSpPr>
            <p:spPr bwMode="auto">
              <a:xfrm flipV="1">
                <a:off x="1317282" y="1454590"/>
                <a:ext cx="915164" cy="915164"/>
              </a:xfrm>
              <a:prstGeom prst="ellipse">
                <a:avLst/>
              </a:prstGeom>
              <a:gradFill flip="none" rotWithShape="1">
                <a:gsLst>
                  <a:gs pos="0">
                    <a:srgbClr val="7030A0"/>
                  </a:gs>
                  <a:gs pos="33500">
                    <a:srgbClr val="B898D0">
                      <a:alpha val="79000"/>
                    </a:srgbClr>
                  </a:gs>
                  <a:gs pos="72000">
                    <a:srgbClr val="FFFFFE">
                      <a:alpha val="0"/>
                      <a:lumMod val="0"/>
                      <a:lumOff val="10000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nvGrpSpPr>
            <p:cNvPr id="908" name="Gruppieren 401"/>
            <p:cNvGrpSpPr/>
            <p:nvPr/>
          </p:nvGrpSpPr>
          <p:grpSpPr>
            <a:xfrm>
              <a:off x="1493990" y="1445270"/>
              <a:ext cx="1033538" cy="939724"/>
              <a:chOff x="386078" y="2179778"/>
              <a:chExt cx="3657046" cy="3325098"/>
            </a:xfrm>
            <a:noFill/>
          </p:grpSpPr>
          <p:sp>
            <p:nvSpPr>
              <p:cNvPr id="909" name="Sechseck 402"/>
              <p:cNvSpPr/>
              <p:nvPr/>
            </p:nvSpPr>
            <p:spPr bwMode="auto">
              <a:xfrm>
                <a:off x="1893455"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910" name="Sechseck 403"/>
              <p:cNvSpPr/>
              <p:nvPr/>
            </p:nvSpPr>
            <p:spPr bwMode="auto">
              <a:xfrm>
                <a:off x="2392220" y="328814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911" name="Sechseck 404"/>
              <p:cNvSpPr/>
              <p:nvPr/>
            </p:nvSpPr>
            <p:spPr bwMode="auto">
              <a:xfrm>
                <a:off x="239222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912" name="Sechseck 405"/>
              <p:cNvSpPr/>
              <p:nvPr/>
            </p:nvSpPr>
            <p:spPr bwMode="auto">
              <a:xfrm>
                <a:off x="1893455"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913" name="Sechseck 406"/>
              <p:cNvSpPr/>
              <p:nvPr/>
            </p:nvSpPr>
            <p:spPr bwMode="auto">
              <a:xfrm>
                <a:off x="139469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914" name="Sechseck 407"/>
              <p:cNvSpPr/>
              <p:nvPr/>
            </p:nvSpPr>
            <p:spPr bwMode="auto">
              <a:xfrm>
                <a:off x="1394690" y="328814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915" name="Sechseck 408"/>
              <p:cNvSpPr/>
              <p:nvPr/>
            </p:nvSpPr>
            <p:spPr bwMode="auto">
              <a:xfrm>
                <a:off x="1893455" y="3565236"/>
                <a:ext cx="642852" cy="554182"/>
              </a:xfrm>
              <a:prstGeom prst="hexagon">
                <a:avLst/>
              </a:prstGeom>
              <a:noFill/>
              <a:ln w="3175" cap="flat" cmpd="sng" algn="ctr">
                <a:solidFill>
                  <a:srgbClr val="0070C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916" name="Sechseck 409"/>
              <p:cNvSpPr/>
              <p:nvPr/>
            </p:nvSpPr>
            <p:spPr bwMode="auto">
              <a:xfrm>
                <a:off x="239222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917" name="Sechseck 410"/>
              <p:cNvSpPr/>
              <p:nvPr/>
            </p:nvSpPr>
            <p:spPr bwMode="auto">
              <a:xfrm>
                <a:off x="2897352"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918" name="Sechseck 411"/>
              <p:cNvSpPr/>
              <p:nvPr/>
            </p:nvSpPr>
            <p:spPr bwMode="auto">
              <a:xfrm>
                <a:off x="2897352" y="3565239"/>
                <a:ext cx="642852" cy="554182"/>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919" name="Sechseck 412"/>
              <p:cNvSpPr/>
              <p:nvPr/>
            </p:nvSpPr>
            <p:spPr bwMode="auto">
              <a:xfrm>
                <a:off x="2897352"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920" name="Sechseck 413"/>
              <p:cNvSpPr/>
              <p:nvPr/>
            </p:nvSpPr>
            <p:spPr bwMode="auto">
              <a:xfrm>
                <a:off x="2404843"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921" name="Sechseck 414"/>
              <p:cNvSpPr/>
              <p:nvPr/>
            </p:nvSpPr>
            <p:spPr bwMode="auto">
              <a:xfrm>
                <a:off x="1893455"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922" name="Sechseck 415"/>
              <p:cNvSpPr/>
              <p:nvPr/>
            </p:nvSpPr>
            <p:spPr bwMode="auto">
              <a:xfrm>
                <a:off x="1394690"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923" name="Sechseck 416"/>
              <p:cNvSpPr/>
              <p:nvPr/>
            </p:nvSpPr>
            <p:spPr bwMode="auto">
              <a:xfrm>
                <a:off x="888998" y="301408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924" name="Sechseck 417"/>
              <p:cNvSpPr/>
              <p:nvPr/>
            </p:nvSpPr>
            <p:spPr bwMode="auto">
              <a:xfrm>
                <a:off x="888998" y="356826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925" name="Sechseck 418"/>
              <p:cNvSpPr/>
              <p:nvPr/>
            </p:nvSpPr>
            <p:spPr bwMode="auto">
              <a:xfrm>
                <a:off x="888998" y="4122446"/>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926" name="Sechseck 419"/>
              <p:cNvSpPr/>
              <p:nvPr/>
            </p:nvSpPr>
            <p:spPr bwMode="auto">
              <a:xfrm>
                <a:off x="139469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927" name="Sechseck 420"/>
              <p:cNvSpPr/>
              <p:nvPr/>
            </p:nvSpPr>
            <p:spPr bwMode="auto">
              <a:xfrm>
                <a:off x="1893455"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928" name="Sechseck 421"/>
              <p:cNvSpPr/>
              <p:nvPr/>
            </p:nvSpPr>
            <p:spPr bwMode="auto">
              <a:xfrm>
                <a:off x="2392220" y="217977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929" name="Sechseck 422"/>
              <p:cNvSpPr/>
              <p:nvPr/>
            </p:nvSpPr>
            <p:spPr bwMode="auto">
              <a:xfrm>
                <a:off x="2897352"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930" name="Sechseck 423"/>
              <p:cNvSpPr/>
              <p:nvPr/>
            </p:nvSpPr>
            <p:spPr bwMode="auto">
              <a:xfrm>
                <a:off x="1394690" y="218713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931" name="Sechseck 424"/>
              <p:cNvSpPr/>
              <p:nvPr/>
            </p:nvSpPr>
            <p:spPr bwMode="auto">
              <a:xfrm>
                <a:off x="888998"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932" name="Sechseck 425"/>
              <p:cNvSpPr/>
              <p:nvPr/>
            </p:nvSpPr>
            <p:spPr bwMode="auto">
              <a:xfrm>
                <a:off x="386078" y="3291173"/>
                <a:ext cx="642852" cy="554182"/>
              </a:xfrm>
              <a:prstGeom prst="hexagon">
                <a:avLst/>
              </a:prstGeom>
              <a:solidFill>
                <a:schemeClr val="tx1"/>
              </a:solidFill>
              <a:ln w="38100"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933" name="Sechseck 426"/>
              <p:cNvSpPr/>
              <p:nvPr/>
            </p:nvSpPr>
            <p:spPr bwMode="auto">
              <a:xfrm>
                <a:off x="386078" y="384536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934" name="Sechseck 427"/>
              <p:cNvSpPr/>
              <p:nvPr/>
            </p:nvSpPr>
            <p:spPr bwMode="auto">
              <a:xfrm>
                <a:off x="888998"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935" name="Sechseck 428"/>
              <p:cNvSpPr/>
              <p:nvPr/>
            </p:nvSpPr>
            <p:spPr bwMode="auto">
              <a:xfrm>
                <a:off x="1394690" y="495069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936" name="Sechseck 429"/>
              <p:cNvSpPr/>
              <p:nvPr/>
            </p:nvSpPr>
            <p:spPr bwMode="auto">
              <a:xfrm>
                <a:off x="2404843" y="494919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937" name="Sechseck 430"/>
              <p:cNvSpPr/>
              <p:nvPr/>
            </p:nvSpPr>
            <p:spPr bwMode="auto">
              <a:xfrm>
                <a:off x="2897352" y="46736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938" name="Sechseck 431"/>
              <p:cNvSpPr/>
              <p:nvPr/>
            </p:nvSpPr>
            <p:spPr bwMode="auto">
              <a:xfrm>
                <a:off x="3400272" y="384232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939" name="Sechseck 432"/>
              <p:cNvSpPr/>
              <p:nvPr/>
            </p:nvSpPr>
            <p:spPr bwMode="auto">
              <a:xfrm>
                <a:off x="3400272" y="32865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940" name="Sechseck 433"/>
              <p:cNvSpPr/>
              <p:nvPr/>
            </p:nvSpPr>
            <p:spPr bwMode="auto">
              <a:xfrm>
                <a:off x="3400272" y="273092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sp>
        <p:nvSpPr>
          <p:cNvPr id="3" name="Date Placeholder 2"/>
          <p:cNvSpPr>
            <a:spLocks noGrp="1"/>
          </p:cNvSpPr>
          <p:nvPr>
            <p:ph type="dt" sz="half" idx="10"/>
          </p:nvPr>
        </p:nvSpPr>
        <p:spPr/>
        <p:txBody>
          <a:bodyPr/>
          <a:lstStyle/>
          <a:p>
            <a:fld id="{69FE3A02-D85C-4DB8-BB6D-9158282DBC05}" type="datetime1">
              <a:rPr lang="de-DE" smtClean="0">
                <a:solidFill>
                  <a:srgbClr val="000000"/>
                </a:solidFill>
              </a:rPr>
              <a:pPr/>
              <a:t>28.02.2019</a:t>
            </a:fld>
            <a:endParaRPr lang="en-US" dirty="0">
              <a:solidFill>
                <a:srgbClr val="000000"/>
              </a:solidFill>
            </a:endParaRPr>
          </a:p>
        </p:txBody>
      </p:sp>
      <p:sp>
        <p:nvSpPr>
          <p:cNvPr id="7" name="Slide Number Placeholder 6"/>
          <p:cNvSpPr>
            <a:spLocks noGrp="1"/>
          </p:cNvSpPr>
          <p:nvPr>
            <p:ph type="sldNum" sz="quarter" idx="11"/>
          </p:nvPr>
        </p:nvSpPr>
        <p:spPr/>
        <p:txBody>
          <a:bodyPr/>
          <a:lstStyle/>
          <a:p>
            <a:fld id="{E7106F61-AEF5-4A9D-9A53-47E3DFDE314C}" type="slidenum">
              <a:rPr lang="de-DE" smtClean="0">
                <a:solidFill>
                  <a:srgbClr val="000000"/>
                </a:solidFill>
              </a:rPr>
              <a:pPr/>
              <a:t>41</a:t>
            </a:fld>
            <a:endParaRPr lang="de-DE">
              <a:solidFill>
                <a:srgbClr val="000000"/>
              </a:solidFill>
            </a:endParaRPr>
          </a:p>
        </p:txBody>
      </p:sp>
    </p:spTree>
    <p:extLst>
      <p:ext uri="{BB962C8B-B14F-4D97-AF65-F5344CB8AC3E}">
        <p14:creationId xmlns:p14="http://schemas.microsoft.com/office/powerpoint/2010/main" val="7267466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69"/>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475"/>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nodeType="after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childTnLst>
                          </p:cTn>
                        </p:par>
                        <p:par>
                          <p:cTn id="13" fill="hold">
                            <p:stCondLst>
                              <p:cond delay="0"/>
                            </p:stCondLst>
                            <p:childTnLst>
                              <p:par>
                                <p:cTn id="14" presetID="1" presetClass="entr" presetSubtype="0" fill="hold" grpId="0" nodeType="afterEffect">
                                  <p:stCondLst>
                                    <p:cond delay="0"/>
                                  </p:stCondLst>
                                  <p:childTnLst>
                                    <p:set>
                                      <p:cBhvr>
                                        <p:cTn id="15" dur="1" fill="hold">
                                          <p:stCondLst>
                                            <p:cond delay="0"/>
                                          </p:stCondLst>
                                        </p:cTn>
                                        <p:tgtEl>
                                          <p:spTgt spid="20"/>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378"/>
                                        </p:tgtEl>
                                        <p:attrNameLst>
                                          <p:attrName>style.visibility</p:attrName>
                                        </p:attrNameLst>
                                      </p:cBhvr>
                                      <p:to>
                                        <p:strVal val="visible"/>
                                      </p:to>
                                    </p:set>
                                  </p:childTnLst>
                                </p:cTn>
                              </p:par>
                            </p:childTnLst>
                          </p:cTn>
                        </p:par>
                        <p:par>
                          <p:cTn id="20" fill="hold">
                            <p:stCondLst>
                              <p:cond delay="0"/>
                            </p:stCondLst>
                            <p:childTnLst>
                              <p:par>
                                <p:cTn id="21" presetID="1" presetClass="entr" presetSubtype="0" fill="hold" grpId="0" nodeType="afterEffect">
                                  <p:stCondLst>
                                    <p:cond delay="0"/>
                                  </p:stCondLst>
                                  <p:childTnLst>
                                    <p:set>
                                      <p:cBhvr>
                                        <p:cTn id="22" dur="1" fill="hold">
                                          <p:stCondLst>
                                            <p:cond delay="0"/>
                                          </p:stCondLst>
                                        </p:cTn>
                                        <p:tgtEl>
                                          <p:spTgt spid="476"/>
                                        </p:tgtEl>
                                        <p:attrNameLst>
                                          <p:attrName>style.visibility</p:attrName>
                                        </p:attrNameLst>
                                      </p:cBhvr>
                                      <p:to>
                                        <p:strVal val="visible"/>
                                      </p:to>
                                    </p:set>
                                  </p:childTnLst>
                                </p:cTn>
                              </p:par>
                            </p:childTnLst>
                          </p:cTn>
                        </p:par>
                        <p:par>
                          <p:cTn id="23" fill="hold">
                            <p:stCondLst>
                              <p:cond delay="0"/>
                            </p:stCondLst>
                            <p:childTnLst>
                              <p:par>
                                <p:cTn id="24" presetID="1" presetClass="entr" presetSubtype="0" fill="hold" nodeType="afterEffect">
                                  <p:stCondLst>
                                    <p:cond delay="0"/>
                                  </p:stCondLst>
                                  <p:childTnLst>
                                    <p:set>
                                      <p:cBhvr>
                                        <p:cTn id="25" dur="1" fill="hold">
                                          <p:stCondLst>
                                            <p:cond delay="0"/>
                                          </p:stCondLst>
                                        </p:cTn>
                                        <p:tgtEl>
                                          <p:spTgt spid="93"/>
                                        </p:tgtEl>
                                        <p:attrNameLst>
                                          <p:attrName>style.visibility</p:attrName>
                                        </p:attrNameLst>
                                      </p:cBhvr>
                                      <p:to>
                                        <p:strVal val="visible"/>
                                      </p:to>
                                    </p:set>
                                  </p:childTnLst>
                                </p:cTn>
                              </p:par>
                            </p:childTnLst>
                          </p:cTn>
                        </p:par>
                        <p:par>
                          <p:cTn id="26" fill="hold">
                            <p:stCondLst>
                              <p:cond delay="0"/>
                            </p:stCondLst>
                            <p:childTnLst>
                              <p:par>
                                <p:cTn id="27" presetID="1" presetClass="entr" presetSubtype="0" fill="hold" grpId="0" nodeType="afterEffect">
                                  <p:stCondLst>
                                    <p:cond delay="0"/>
                                  </p:stCondLst>
                                  <p:childTnLst>
                                    <p:set>
                                      <p:cBhvr>
                                        <p:cTn id="28" dur="1" fill="hold">
                                          <p:stCondLst>
                                            <p:cond delay="0"/>
                                          </p:stCondLst>
                                        </p:cTn>
                                        <p:tgtEl>
                                          <p:spTgt spid="483"/>
                                        </p:tgtEl>
                                        <p:attrNameLst>
                                          <p:attrName>style.visibility</p:attrName>
                                        </p:attrNameLst>
                                      </p:cBhvr>
                                      <p:to>
                                        <p:strVal val="visible"/>
                                      </p:to>
                                    </p:set>
                                  </p:childTnLst>
                                </p:cTn>
                              </p:par>
                              <p:par>
                                <p:cTn id="29" presetID="1" presetClass="exit" presetSubtype="0" fill="hold" nodeType="withEffect">
                                  <p:stCondLst>
                                    <p:cond delay="0"/>
                                  </p:stCondLst>
                                  <p:childTnLst>
                                    <p:set>
                                      <p:cBhvr>
                                        <p:cTn id="30" dur="1" fill="hold">
                                          <p:stCondLst>
                                            <p:cond delay="0"/>
                                          </p:stCondLst>
                                        </p:cTn>
                                        <p:tgtEl>
                                          <p:spTgt spid="869"/>
                                        </p:tgtEl>
                                        <p:attrNameLst>
                                          <p:attrName>style.visibility</p:attrName>
                                        </p:attrNameLst>
                                      </p:cBhvr>
                                      <p:to>
                                        <p:strVal val="hidden"/>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18"/>
                                        </p:tgtEl>
                                        <p:attrNameLst>
                                          <p:attrName>style.visibility</p:attrName>
                                        </p:attrNameLst>
                                      </p:cBhvr>
                                      <p:to>
                                        <p:strVal val="visible"/>
                                      </p:to>
                                    </p:set>
                                  </p:childTnLst>
                                </p:cTn>
                              </p:par>
                            </p:childTnLst>
                          </p:cTn>
                        </p:par>
                        <p:par>
                          <p:cTn id="35" fill="hold">
                            <p:stCondLst>
                              <p:cond delay="0"/>
                            </p:stCondLst>
                            <p:childTnLst>
                              <p:par>
                                <p:cTn id="36" presetID="1" presetClass="entr" presetSubtype="0" fill="hold" grpId="0" nodeType="afterEffect">
                                  <p:stCondLst>
                                    <p:cond delay="0"/>
                                  </p:stCondLst>
                                  <p:childTnLst>
                                    <p:set>
                                      <p:cBhvr>
                                        <p:cTn id="37" dur="1" fill="hold">
                                          <p:stCondLst>
                                            <p:cond delay="0"/>
                                          </p:stCondLst>
                                        </p:cTn>
                                        <p:tgtEl>
                                          <p:spTgt spid="477"/>
                                        </p:tgtEl>
                                        <p:attrNameLst>
                                          <p:attrName>style.visibility</p:attrName>
                                        </p:attrNameLst>
                                      </p:cBhvr>
                                      <p:to>
                                        <p:strVal val="visible"/>
                                      </p:to>
                                    </p:set>
                                  </p:childTnLst>
                                </p:cTn>
                              </p:par>
                            </p:childTnLst>
                          </p:cTn>
                        </p:par>
                        <p:par>
                          <p:cTn id="38" fill="hold">
                            <p:stCondLst>
                              <p:cond delay="0"/>
                            </p:stCondLst>
                            <p:childTnLst>
                              <p:par>
                                <p:cTn id="39" presetID="1" presetClass="entr" presetSubtype="0" fill="hold" nodeType="afterEffect">
                                  <p:stCondLst>
                                    <p:cond delay="0"/>
                                  </p:stCondLst>
                                  <p:childTnLst>
                                    <p:set>
                                      <p:cBhvr>
                                        <p:cTn id="40" dur="1" fill="hold">
                                          <p:stCondLst>
                                            <p:cond delay="0"/>
                                          </p:stCondLst>
                                        </p:cTn>
                                        <p:tgtEl>
                                          <p:spTgt spid="94"/>
                                        </p:tgtEl>
                                        <p:attrNameLst>
                                          <p:attrName>style.visibility</p:attrName>
                                        </p:attrNameLst>
                                      </p:cBhvr>
                                      <p:to>
                                        <p:strVal val="visible"/>
                                      </p:to>
                                    </p:set>
                                  </p:childTnLst>
                                </p:cTn>
                              </p:par>
                            </p:childTnLst>
                          </p:cTn>
                        </p:par>
                        <p:par>
                          <p:cTn id="41" fill="hold">
                            <p:stCondLst>
                              <p:cond delay="0"/>
                            </p:stCondLst>
                            <p:childTnLst>
                              <p:par>
                                <p:cTn id="42" presetID="1" presetClass="entr" presetSubtype="0" fill="hold" grpId="0" nodeType="afterEffect">
                                  <p:stCondLst>
                                    <p:cond delay="0"/>
                                  </p:stCondLst>
                                  <p:childTnLst>
                                    <p:set>
                                      <p:cBhvr>
                                        <p:cTn id="43" dur="1" fill="hold">
                                          <p:stCondLst>
                                            <p:cond delay="0"/>
                                          </p:stCondLst>
                                        </p:cTn>
                                        <p:tgtEl>
                                          <p:spTgt spid="81"/>
                                        </p:tgtEl>
                                        <p:attrNameLst>
                                          <p:attrName>style.visibility</p:attrName>
                                        </p:attrNameLst>
                                      </p:cBhvr>
                                      <p:to>
                                        <p:strVal val="visible"/>
                                      </p:to>
                                    </p:set>
                                  </p:childTnLst>
                                </p:cTn>
                              </p:par>
                              <p:par>
                                <p:cTn id="44" presetID="1" presetClass="exit" presetSubtype="0" fill="hold" nodeType="withEffect">
                                  <p:stCondLst>
                                    <p:cond delay="0"/>
                                  </p:stCondLst>
                                  <p:childTnLst>
                                    <p:set>
                                      <p:cBhvr>
                                        <p:cTn id="45" dur="1" fill="hold">
                                          <p:stCondLst>
                                            <p:cond delay="0"/>
                                          </p:stCondLst>
                                        </p:cTn>
                                        <p:tgtEl>
                                          <p:spTgt spid="378"/>
                                        </p:tgtEl>
                                        <p:attrNameLst>
                                          <p:attrName>style.visibility</p:attrName>
                                        </p:attrNameLst>
                                      </p:cBhvr>
                                      <p:to>
                                        <p:strVal val="hidden"/>
                                      </p:to>
                                    </p:set>
                                  </p:childTnLst>
                                </p:cTn>
                              </p:par>
                            </p:childTnLst>
                          </p:cTn>
                        </p:par>
                      </p:childTnLst>
                    </p:cTn>
                  </p:par>
                  <p:par>
                    <p:cTn id="46" fill="hold">
                      <p:stCondLst>
                        <p:cond delay="indefinite"/>
                      </p:stCondLst>
                      <p:childTnLst>
                        <p:par>
                          <p:cTn id="47" fill="hold">
                            <p:stCondLst>
                              <p:cond delay="0"/>
                            </p:stCondLst>
                            <p:childTnLst>
                              <p:par>
                                <p:cTn id="48" presetID="1" presetClass="entr" presetSubtype="0" fill="hold" nodeType="clickEffect">
                                  <p:stCondLst>
                                    <p:cond delay="0"/>
                                  </p:stCondLst>
                                  <p:childTnLst>
                                    <p:set>
                                      <p:cBhvr>
                                        <p:cTn id="49" dur="1" fill="hold">
                                          <p:stCondLst>
                                            <p:cond delay="0"/>
                                          </p:stCondLst>
                                        </p:cTn>
                                        <p:tgtEl>
                                          <p:spTgt spid="455"/>
                                        </p:tgtEl>
                                        <p:attrNameLst>
                                          <p:attrName>style.visibility</p:attrName>
                                        </p:attrNameLst>
                                      </p:cBhvr>
                                      <p:to>
                                        <p:strVal val="visible"/>
                                      </p:to>
                                    </p:set>
                                  </p:childTnLst>
                                </p:cTn>
                              </p:par>
                            </p:childTnLst>
                          </p:cTn>
                        </p:par>
                        <p:par>
                          <p:cTn id="50" fill="hold">
                            <p:stCondLst>
                              <p:cond delay="0"/>
                            </p:stCondLst>
                            <p:childTnLst>
                              <p:par>
                                <p:cTn id="51" presetID="1" presetClass="entr" presetSubtype="0" fill="hold" grpId="0" nodeType="afterEffect">
                                  <p:stCondLst>
                                    <p:cond delay="0"/>
                                  </p:stCondLst>
                                  <p:childTnLst>
                                    <p:set>
                                      <p:cBhvr>
                                        <p:cTn id="52" dur="1" fill="hold">
                                          <p:stCondLst>
                                            <p:cond delay="0"/>
                                          </p:stCondLst>
                                        </p:cTn>
                                        <p:tgtEl>
                                          <p:spTgt spid="478"/>
                                        </p:tgtEl>
                                        <p:attrNameLst>
                                          <p:attrName>style.visibility</p:attrName>
                                        </p:attrNameLst>
                                      </p:cBhvr>
                                      <p:to>
                                        <p:strVal val="visible"/>
                                      </p:to>
                                    </p:set>
                                  </p:childTnLst>
                                </p:cTn>
                              </p:par>
                            </p:childTnLst>
                          </p:cTn>
                        </p:par>
                        <p:par>
                          <p:cTn id="53" fill="hold">
                            <p:stCondLst>
                              <p:cond delay="0"/>
                            </p:stCondLst>
                            <p:childTnLst>
                              <p:par>
                                <p:cTn id="54" presetID="1" presetClass="entr" presetSubtype="0" fill="hold" nodeType="afterEffect">
                                  <p:stCondLst>
                                    <p:cond delay="0"/>
                                  </p:stCondLst>
                                  <p:childTnLst>
                                    <p:set>
                                      <p:cBhvr>
                                        <p:cTn id="55" dur="1" fill="hold">
                                          <p:stCondLst>
                                            <p:cond delay="0"/>
                                          </p:stCondLst>
                                        </p:cTn>
                                        <p:tgtEl>
                                          <p:spTgt spid="95"/>
                                        </p:tgtEl>
                                        <p:attrNameLst>
                                          <p:attrName>style.visibility</p:attrName>
                                        </p:attrNameLst>
                                      </p:cBhvr>
                                      <p:to>
                                        <p:strVal val="visible"/>
                                      </p:to>
                                    </p:set>
                                  </p:childTnLst>
                                </p:cTn>
                              </p:par>
                            </p:childTnLst>
                          </p:cTn>
                        </p:par>
                        <p:par>
                          <p:cTn id="56" fill="hold">
                            <p:stCondLst>
                              <p:cond delay="0"/>
                            </p:stCondLst>
                            <p:childTnLst>
                              <p:par>
                                <p:cTn id="57" presetID="1" presetClass="entr" presetSubtype="0" fill="hold" grpId="0" nodeType="afterEffect">
                                  <p:stCondLst>
                                    <p:cond delay="0"/>
                                  </p:stCondLst>
                                  <p:childTnLst>
                                    <p:set>
                                      <p:cBhvr>
                                        <p:cTn id="58" dur="1" fill="hold">
                                          <p:stCondLst>
                                            <p:cond delay="0"/>
                                          </p:stCondLst>
                                        </p:cTn>
                                        <p:tgtEl>
                                          <p:spTgt spid="83"/>
                                        </p:tgtEl>
                                        <p:attrNameLst>
                                          <p:attrName>style.visibility</p:attrName>
                                        </p:attrNameLst>
                                      </p:cBhvr>
                                      <p:to>
                                        <p:strVal val="visible"/>
                                      </p:to>
                                    </p:set>
                                  </p:childTnLst>
                                </p:cTn>
                              </p:par>
                              <p:par>
                                <p:cTn id="59" presetID="1" presetClass="exit" presetSubtype="0" fill="hold" nodeType="withEffect">
                                  <p:stCondLst>
                                    <p:cond delay="0"/>
                                  </p:stCondLst>
                                  <p:childTnLst>
                                    <p:set>
                                      <p:cBhvr>
                                        <p:cTn id="60" dur="1" fill="hold">
                                          <p:stCondLst>
                                            <p:cond delay="0"/>
                                          </p:stCondLst>
                                        </p:cTn>
                                        <p:tgtEl>
                                          <p:spTgt spid="418"/>
                                        </p:tgtEl>
                                        <p:attrNameLst>
                                          <p:attrName>style.visibility</p:attrName>
                                        </p:attrNameLst>
                                      </p:cBhvr>
                                      <p:to>
                                        <p:strVal val="hidden"/>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781"/>
                                        </p:tgtEl>
                                        <p:attrNameLst>
                                          <p:attrName>style.visibility</p:attrName>
                                        </p:attrNameLst>
                                      </p:cBhvr>
                                      <p:to>
                                        <p:strVal val="visible"/>
                                      </p:to>
                                    </p:set>
                                  </p:childTnLst>
                                </p:cTn>
                              </p:par>
                            </p:childTnLst>
                          </p:cTn>
                        </p:par>
                        <p:par>
                          <p:cTn id="65" fill="hold">
                            <p:stCondLst>
                              <p:cond delay="0"/>
                            </p:stCondLst>
                            <p:childTnLst>
                              <p:par>
                                <p:cTn id="66" presetID="1" presetClass="entr" presetSubtype="0" fill="hold" grpId="0" nodeType="afterEffect">
                                  <p:stCondLst>
                                    <p:cond delay="0"/>
                                  </p:stCondLst>
                                  <p:childTnLst>
                                    <p:set>
                                      <p:cBhvr>
                                        <p:cTn id="67" dur="1" fill="hold">
                                          <p:stCondLst>
                                            <p:cond delay="0"/>
                                          </p:stCondLst>
                                        </p:cTn>
                                        <p:tgtEl>
                                          <p:spTgt spid="479"/>
                                        </p:tgtEl>
                                        <p:attrNameLst>
                                          <p:attrName>style.visibility</p:attrName>
                                        </p:attrNameLst>
                                      </p:cBhvr>
                                      <p:to>
                                        <p:strVal val="visible"/>
                                      </p:to>
                                    </p:set>
                                  </p:childTnLst>
                                </p:cTn>
                              </p:par>
                            </p:childTnLst>
                          </p:cTn>
                        </p:par>
                        <p:par>
                          <p:cTn id="68" fill="hold">
                            <p:stCondLst>
                              <p:cond delay="0"/>
                            </p:stCondLst>
                            <p:childTnLst>
                              <p:par>
                                <p:cTn id="69" presetID="1" presetClass="entr" presetSubtype="0" fill="hold" nodeType="afterEffect">
                                  <p:stCondLst>
                                    <p:cond delay="0"/>
                                  </p:stCondLst>
                                  <p:childTnLst>
                                    <p:set>
                                      <p:cBhvr>
                                        <p:cTn id="70" dur="1" fill="hold">
                                          <p:stCondLst>
                                            <p:cond delay="0"/>
                                          </p:stCondLst>
                                        </p:cTn>
                                        <p:tgtEl>
                                          <p:spTgt spid="96"/>
                                        </p:tgtEl>
                                        <p:attrNameLst>
                                          <p:attrName>style.visibility</p:attrName>
                                        </p:attrNameLst>
                                      </p:cBhvr>
                                      <p:to>
                                        <p:strVal val="visible"/>
                                      </p:to>
                                    </p:set>
                                  </p:childTnLst>
                                </p:cTn>
                              </p:par>
                            </p:childTnLst>
                          </p:cTn>
                        </p:par>
                        <p:par>
                          <p:cTn id="71" fill="hold">
                            <p:stCondLst>
                              <p:cond delay="0"/>
                            </p:stCondLst>
                            <p:childTnLst>
                              <p:par>
                                <p:cTn id="72" presetID="1" presetClass="entr" presetSubtype="0" fill="hold" grpId="0" nodeType="afterEffect">
                                  <p:stCondLst>
                                    <p:cond delay="0"/>
                                  </p:stCondLst>
                                  <p:childTnLst>
                                    <p:set>
                                      <p:cBhvr>
                                        <p:cTn id="73" dur="1" fill="hold">
                                          <p:stCondLst>
                                            <p:cond delay="0"/>
                                          </p:stCondLst>
                                        </p:cTn>
                                        <p:tgtEl>
                                          <p:spTgt spid="87"/>
                                        </p:tgtEl>
                                        <p:attrNameLst>
                                          <p:attrName>style.visibility</p:attrName>
                                        </p:attrNameLst>
                                      </p:cBhvr>
                                      <p:to>
                                        <p:strVal val="visible"/>
                                      </p:to>
                                    </p:set>
                                  </p:childTnLst>
                                </p:cTn>
                              </p:par>
                              <p:par>
                                <p:cTn id="74" presetID="1" presetClass="exit" presetSubtype="0" fill="hold" nodeType="withEffect">
                                  <p:stCondLst>
                                    <p:cond delay="0"/>
                                  </p:stCondLst>
                                  <p:childTnLst>
                                    <p:set>
                                      <p:cBhvr>
                                        <p:cTn id="75" dur="1" fill="hold">
                                          <p:stCondLst>
                                            <p:cond delay="0"/>
                                          </p:stCondLst>
                                        </p:cTn>
                                        <p:tgtEl>
                                          <p:spTgt spid="455"/>
                                        </p:tgtEl>
                                        <p:attrNameLst>
                                          <p:attrName>style.visibility</p:attrName>
                                        </p:attrNameLst>
                                      </p:cBhvr>
                                      <p:to>
                                        <p:strVal val="hidden"/>
                                      </p:to>
                                    </p:set>
                                  </p:childTnLst>
                                </p:cTn>
                              </p:par>
                            </p:childTnLst>
                          </p:cTn>
                        </p:par>
                      </p:childTnLst>
                    </p:cTn>
                  </p:par>
                  <p:par>
                    <p:cTn id="76" fill="hold">
                      <p:stCondLst>
                        <p:cond delay="indefinite"/>
                      </p:stCondLst>
                      <p:childTnLst>
                        <p:par>
                          <p:cTn id="77" fill="hold">
                            <p:stCondLst>
                              <p:cond delay="0"/>
                            </p:stCondLst>
                            <p:childTnLst>
                              <p:par>
                                <p:cTn id="78" presetID="1" presetClass="entr" presetSubtype="0" fill="hold" nodeType="clickEffect">
                                  <p:stCondLst>
                                    <p:cond delay="0"/>
                                  </p:stCondLst>
                                  <p:childTnLst>
                                    <p:set>
                                      <p:cBhvr>
                                        <p:cTn id="79" dur="1" fill="hold">
                                          <p:stCondLst>
                                            <p:cond delay="0"/>
                                          </p:stCondLst>
                                        </p:cTn>
                                        <p:tgtEl>
                                          <p:spTgt spid="906"/>
                                        </p:tgtEl>
                                        <p:attrNameLst>
                                          <p:attrName>style.visibility</p:attrName>
                                        </p:attrNameLst>
                                      </p:cBhvr>
                                      <p:to>
                                        <p:strVal val="visible"/>
                                      </p:to>
                                    </p:set>
                                  </p:childTnLst>
                                </p:cTn>
                              </p:par>
                            </p:childTnLst>
                          </p:cTn>
                        </p:par>
                        <p:par>
                          <p:cTn id="80" fill="hold">
                            <p:stCondLst>
                              <p:cond delay="0"/>
                            </p:stCondLst>
                            <p:childTnLst>
                              <p:par>
                                <p:cTn id="81" presetID="1" presetClass="entr" presetSubtype="0" fill="hold" grpId="0" nodeType="afterEffect">
                                  <p:stCondLst>
                                    <p:cond delay="0"/>
                                  </p:stCondLst>
                                  <p:childTnLst>
                                    <p:set>
                                      <p:cBhvr>
                                        <p:cTn id="82" dur="1" fill="hold">
                                          <p:stCondLst>
                                            <p:cond delay="0"/>
                                          </p:stCondLst>
                                        </p:cTn>
                                        <p:tgtEl>
                                          <p:spTgt spid="480"/>
                                        </p:tgtEl>
                                        <p:attrNameLst>
                                          <p:attrName>style.visibility</p:attrName>
                                        </p:attrNameLst>
                                      </p:cBhvr>
                                      <p:to>
                                        <p:strVal val="visible"/>
                                      </p:to>
                                    </p:set>
                                  </p:childTnLst>
                                </p:cTn>
                              </p:par>
                            </p:childTnLst>
                          </p:cTn>
                        </p:par>
                        <p:par>
                          <p:cTn id="83" fill="hold">
                            <p:stCondLst>
                              <p:cond delay="0"/>
                            </p:stCondLst>
                            <p:childTnLst>
                              <p:par>
                                <p:cTn id="84" presetID="1" presetClass="entr" presetSubtype="0" fill="hold" nodeType="afterEffect">
                                  <p:stCondLst>
                                    <p:cond delay="0"/>
                                  </p:stCondLst>
                                  <p:childTnLst>
                                    <p:set>
                                      <p:cBhvr>
                                        <p:cTn id="85" dur="1" fill="hold">
                                          <p:stCondLst>
                                            <p:cond delay="0"/>
                                          </p:stCondLst>
                                        </p:cTn>
                                        <p:tgtEl>
                                          <p:spTgt spid="97"/>
                                        </p:tgtEl>
                                        <p:attrNameLst>
                                          <p:attrName>style.visibility</p:attrName>
                                        </p:attrNameLst>
                                      </p:cBhvr>
                                      <p:to>
                                        <p:strVal val="visible"/>
                                      </p:to>
                                    </p:set>
                                  </p:childTnLst>
                                </p:cTn>
                              </p:par>
                            </p:childTnLst>
                          </p:cTn>
                        </p:par>
                        <p:par>
                          <p:cTn id="86" fill="hold">
                            <p:stCondLst>
                              <p:cond delay="0"/>
                            </p:stCondLst>
                            <p:childTnLst>
                              <p:par>
                                <p:cTn id="87" presetID="1" presetClass="entr" presetSubtype="0" fill="hold" grpId="0" nodeType="afterEffect">
                                  <p:stCondLst>
                                    <p:cond delay="0"/>
                                  </p:stCondLst>
                                  <p:childTnLst>
                                    <p:set>
                                      <p:cBhvr>
                                        <p:cTn id="88" dur="1" fill="hold">
                                          <p:stCondLst>
                                            <p:cond delay="0"/>
                                          </p:stCondLst>
                                        </p:cTn>
                                        <p:tgtEl>
                                          <p:spTgt spid="482"/>
                                        </p:tgtEl>
                                        <p:attrNameLst>
                                          <p:attrName>style.visibility</p:attrName>
                                        </p:attrNameLst>
                                      </p:cBhvr>
                                      <p:to>
                                        <p:strVal val="visible"/>
                                      </p:to>
                                    </p:set>
                                  </p:childTnLst>
                                </p:cTn>
                              </p:par>
                              <p:par>
                                <p:cTn id="89" presetID="1" presetClass="exit" presetSubtype="0" fill="hold" nodeType="withEffect">
                                  <p:stCondLst>
                                    <p:cond delay="0"/>
                                  </p:stCondLst>
                                  <p:childTnLst>
                                    <p:set>
                                      <p:cBhvr>
                                        <p:cTn id="90" dur="1" fill="hold">
                                          <p:stCondLst>
                                            <p:cond delay="0"/>
                                          </p:stCondLst>
                                        </p:cTn>
                                        <p:tgtEl>
                                          <p:spTgt spid="781"/>
                                        </p:tgtEl>
                                        <p:attrNameLst>
                                          <p:attrName>style.visibility</p:attrName>
                                        </p:attrNameLst>
                                      </p:cBhvr>
                                      <p:to>
                                        <p:strVal val="hidden"/>
                                      </p:to>
                                    </p:set>
                                  </p:childTnLst>
                                </p:cTn>
                              </p:par>
                            </p:childTnLst>
                          </p:cTn>
                        </p:par>
                      </p:childTnLst>
                    </p:cTn>
                  </p:par>
                  <p:par>
                    <p:cTn id="91" fill="hold">
                      <p:stCondLst>
                        <p:cond delay="indefinite"/>
                      </p:stCondLst>
                      <p:childTnLst>
                        <p:par>
                          <p:cTn id="92" fill="hold">
                            <p:stCondLst>
                              <p:cond delay="0"/>
                            </p:stCondLst>
                            <p:childTnLst>
                              <p:par>
                                <p:cTn id="93" presetID="1" presetClass="entr" presetSubtype="0" fill="hold" nodeType="clickEffect">
                                  <p:stCondLst>
                                    <p:cond delay="0"/>
                                  </p:stCondLst>
                                  <p:childTnLst>
                                    <p:set>
                                      <p:cBhvr>
                                        <p:cTn id="94" dur="1" fill="hold">
                                          <p:stCondLst>
                                            <p:cond delay="0"/>
                                          </p:stCondLst>
                                        </p:cTn>
                                        <p:tgtEl>
                                          <p:spTgt spid="818"/>
                                        </p:tgtEl>
                                        <p:attrNameLst>
                                          <p:attrName>style.visibility</p:attrName>
                                        </p:attrNameLst>
                                      </p:cBhvr>
                                      <p:to>
                                        <p:strVal val="visible"/>
                                      </p:to>
                                    </p:set>
                                  </p:childTnLst>
                                </p:cTn>
                              </p:par>
                            </p:childTnLst>
                          </p:cTn>
                        </p:par>
                        <p:par>
                          <p:cTn id="95" fill="hold">
                            <p:stCondLst>
                              <p:cond delay="0"/>
                            </p:stCondLst>
                            <p:childTnLst>
                              <p:par>
                                <p:cTn id="96" presetID="1" presetClass="entr" presetSubtype="0" fill="hold" grpId="0" nodeType="afterEffect">
                                  <p:stCondLst>
                                    <p:cond delay="0"/>
                                  </p:stCondLst>
                                  <p:childTnLst>
                                    <p:set>
                                      <p:cBhvr>
                                        <p:cTn id="97" dur="1" fill="hold">
                                          <p:stCondLst>
                                            <p:cond delay="0"/>
                                          </p:stCondLst>
                                        </p:cTn>
                                        <p:tgtEl>
                                          <p:spTgt spid="481"/>
                                        </p:tgtEl>
                                        <p:attrNameLst>
                                          <p:attrName>style.visibility</p:attrName>
                                        </p:attrNameLst>
                                      </p:cBhvr>
                                      <p:to>
                                        <p:strVal val="visible"/>
                                      </p:to>
                                    </p:set>
                                  </p:childTnLst>
                                </p:cTn>
                              </p:par>
                            </p:childTnLst>
                          </p:cTn>
                        </p:par>
                        <p:par>
                          <p:cTn id="98" fill="hold">
                            <p:stCondLst>
                              <p:cond delay="0"/>
                            </p:stCondLst>
                            <p:childTnLst>
                              <p:par>
                                <p:cTn id="99" presetID="1" presetClass="entr" presetSubtype="0" fill="hold" nodeType="afterEffect">
                                  <p:stCondLst>
                                    <p:cond delay="0"/>
                                  </p:stCondLst>
                                  <p:childTnLst>
                                    <p:set>
                                      <p:cBhvr>
                                        <p:cTn id="100" dur="1" fill="hold">
                                          <p:stCondLst>
                                            <p:cond delay="0"/>
                                          </p:stCondLst>
                                        </p:cTn>
                                        <p:tgtEl>
                                          <p:spTgt spid="98"/>
                                        </p:tgtEl>
                                        <p:attrNameLst>
                                          <p:attrName>style.visibility</p:attrName>
                                        </p:attrNameLst>
                                      </p:cBhvr>
                                      <p:to>
                                        <p:strVal val="visible"/>
                                      </p:to>
                                    </p:set>
                                  </p:childTnLst>
                                </p:cTn>
                              </p:par>
                            </p:childTnLst>
                          </p:cTn>
                        </p:par>
                        <p:par>
                          <p:cTn id="101" fill="hold">
                            <p:stCondLst>
                              <p:cond delay="0"/>
                            </p:stCondLst>
                            <p:childTnLst>
                              <p:par>
                                <p:cTn id="102" presetID="1" presetClass="entr" presetSubtype="0" fill="hold" grpId="0" nodeType="afterEffect">
                                  <p:stCondLst>
                                    <p:cond delay="0"/>
                                  </p:stCondLst>
                                  <p:childTnLst>
                                    <p:set>
                                      <p:cBhvr>
                                        <p:cTn id="103" dur="1" fill="hold">
                                          <p:stCondLst>
                                            <p:cond delay="0"/>
                                          </p:stCondLst>
                                        </p:cTn>
                                        <p:tgtEl>
                                          <p:spTgt spid="92"/>
                                        </p:tgtEl>
                                        <p:attrNameLst>
                                          <p:attrName>style.visibility</p:attrName>
                                        </p:attrNameLst>
                                      </p:cBhvr>
                                      <p:to>
                                        <p:strVal val="visible"/>
                                      </p:to>
                                    </p:set>
                                  </p:childTnLst>
                                </p:cTn>
                              </p:par>
                              <p:par>
                                <p:cTn id="104" presetID="1" presetClass="exit" presetSubtype="0" fill="hold" nodeType="withEffect">
                                  <p:stCondLst>
                                    <p:cond delay="0"/>
                                  </p:stCondLst>
                                  <p:childTnLst>
                                    <p:set>
                                      <p:cBhvr>
                                        <p:cTn id="105" dur="1" fill="hold">
                                          <p:stCondLst>
                                            <p:cond delay="0"/>
                                          </p:stCondLst>
                                        </p:cTn>
                                        <p:tgtEl>
                                          <p:spTgt spid="906"/>
                                        </p:tgtEl>
                                        <p:attrNameLst>
                                          <p:attrName>style.visibility</p:attrName>
                                        </p:attrNameLst>
                                      </p:cBhvr>
                                      <p:to>
                                        <p:strVal val="hidden"/>
                                      </p:to>
                                    </p:set>
                                  </p:childTnLst>
                                </p:cTn>
                              </p:par>
                              <p:par>
                                <p:cTn id="106" presetID="10" presetClass="exit" presetSubtype="0" fill="hold" nodeType="withEffect">
                                  <p:stCondLst>
                                    <p:cond delay="0"/>
                                  </p:stCondLst>
                                  <p:childTnLst>
                                    <p:animEffect transition="out" filter="fade">
                                      <p:cBhvr>
                                        <p:cTn id="107" dur="500"/>
                                        <p:tgtEl>
                                          <p:spTgt spid="818"/>
                                        </p:tgtEl>
                                      </p:cBhvr>
                                    </p:animEffect>
                                    <p:set>
                                      <p:cBhvr>
                                        <p:cTn id="108" dur="1" fill="hold">
                                          <p:stCondLst>
                                            <p:cond delay="499"/>
                                          </p:stCondLst>
                                        </p:cTn>
                                        <p:tgtEl>
                                          <p:spTgt spid="818"/>
                                        </p:tgtEl>
                                        <p:attrNameLst>
                                          <p:attrName>style.visibility</p:attrName>
                                        </p:attrNameLst>
                                      </p:cBhvr>
                                      <p:to>
                                        <p:strVal val="hidden"/>
                                      </p:to>
                                    </p:set>
                                  </p:childTnLst>
                                </p:cTn>
                              </p:par>
                            </p:childTnLst>
                          </p:cTn>
                        </p:par>
                      </p:childTnLst>
                    </p:cTn>
                  </p:par>
                  <p:par>
                    <p:cTn id="109" fill="hold">
                      <p:stCondLst>
                        <p:cond delay="indefinite"/>
                      </p:stCondLst>
                      <p:childTnLst>
                        <p:par>
                          <p:cTn id="110" fill="hold">
                            <p:stCondLst>
                              <p:cond delay="0"/>
                            </p:stCondLst>
                            <p:childTnLst>
                              <p:par>
                                <p:cTn id="111" presetID="10" presetClass="entr" presetSubtype="0" fill="hold" grpId="0" nodeType="clickEffect">
                                  <p:stCondLst>
                                    <p:cond delay="0"/>
                                  </p:stCondLst>
                                  <p:childTnLst>
                                    <p:set>
                                      <p:cBhvr>
                                        <p:cTn id="112" dur="1" fill="hold">
                                          <p:stCondLst>
                                            <p:cond delay="0"/>
                                          </p:stCondLst>
                                        </p:cTn>
                                        <p:tgtEl>
                                          <p:spTgt spid="484"/>
                                        </p:tgtEl>
                                        <p:attrNameLst>
                                          <p:attrName>style.visibility</p:attrName>
                                        </p:attrNameLst>
                                      </p:cBhvr>
                                      <p:to>
                                        <p:strVal val="visible"/>
                                      </p:to>
                                    </p:set>
                                    <p:animEffect transition="in" filter="fade">
                                      <p:cBhvr>
                                        <p:cTn id="113" dur="500"/>
                                        <p:tgtEl>
                                          <p:spTgt spid="484"/>
                                        </p:tgtEl>
                                      </p:cBhvr>
                                    </p:animEffect>
                                  </p:childTnLst>
                                </p:cTn>
                              </p:par>
                            </p:childTnLst>
                          </p:cTn>
                        </p:par>
                      </p:childTnLst>
                    </p:cTn>
                  </p:par>
                  <p:par>
                    <p:cTn id="114" fill="hold">
                      <p:stCondLst>
                        <p:cond delay="indefinite"/>
                      </p:stCondLst>
                      <p:childTnLst>
                        <p:par>
                          <p:cTn id="115" fill="hold">
                            <p:stCondLst>
                              <p:cond delay="0"/>
                            </p:stCondLst>
                            <p:childTnLst>
                              <p:par>
                                <p:cTn id="116" presetID="1" presetClass="entr" presetSubtype="0" fill="hold" nodeType="clickEffect">
                                  <p:stCondLst>
                                    <p:cond delay="0"/>
                                  </p:stCondLst>
                                  <p:childTnLst>
                                    <p:set>
                                      <p:cBhvr>
                                        <p:cTn id="117" dur="1" fill="hold">
                                          <p:stCondLst>
                                            <p:cond delay="0"/>
                                          </p:stCondLst>
                                        </p:cTn>
                                        <p:tgtEl>
                                          <p:spTgt spid="389"/>
                                        </p:tgtEl>
                                        <p:attrNameLst>
                                          <p:attrName>style.visibility</p:attrName>
                                        </p:attrNameLst>
                                      </p:cBhvr>
                                      <p:to>
                                        <p:strVal val="visible"/>
                                      </p:to>
                                    </p:set>
                                  </p:childTnLst>
                                </p:cTn>
                              </p:par>
                            </p:childTnLst>
                          </p:cTn>
                        </p:par>
                      </p:childTnLst>
                    </p:cTn>
                  </p:par>
                  <p:par>
                    <p:cTn id="118" fill="hold">
                      <p:stCondLst>
                        <p:cond delay="indefinite"/>
                      </p:stCondLst>
                      <p:childTnLst>
                        <p:par>
                          <p:cTn id="119" fill="hold">
                            <p:stCondLst>
                              <p:cond delay="0"/>
                            </p:stCondLst>
                            <p:childTnLst>
                              <p:par>
                                <p:cTn id="120" presetID="1" presetClass="entr" presetSubtype="0" fill="hold" nodeType="clickEffect">
                                  <p:stCondLst>
                                    <p:cond delay="0"/>
                                  </p:stCondLst>
                                  <p:childTnLst>
                                    <p:set>
                                      <p:cBhvr>
                                        <p:cTn id="121" dur="1" fill="hold">
                                          <p:stCondLst>
                                            <p:cond delay="0"/>
                                          </p:stCondLst>
                                        </p:cTn>
                                        <p:tgtEl>
                                          <p:spTgt spid="3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81" grpId="0" animBg="1"/>
      <p:bldP spid="83" grpId="0" animBg="1"/>
      <p:bldP spid="87" grpId="0" animBg="1"/>
      <p:bldP spid="92" grpId="0" animBg="1"/>
      <p:bldP spid="475" grpId="0" animBg="1"/>
      <p:bldP spid="476" grpId="0" animBg="1"/>
      <p:bldP spid="477" grpId="0" animBg="1"/>
      <p:bldP spid="478" grpId="0" animBg="1"/>
      <p:bldP spid="479" grpId="0" animBg="1"/>
      <p:bldP spid="480" grpId="0" animBg="1"/>
      <p:bldP spid="481" grpId="0" animBg="1"/>
      <p:bldP spid="482" grpId="0" animBg="1"/>
      <p:bldP spid="483" grpId="0" animBg="1"/>
      <p:bldP spid="484"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bwMode="auto">
          <a:xfrm>
            <a:off x="0" y="0"/>
            <a:ext cx="914400" cy="0"/>
          </a:xfrm>
          <a:prstGeom prst="line">
            <a:avLst/>
          </a:prstGeom>
          <a:solidFill>
            <a:schemeClr val="folHlink"/>
          </a:solidFill>
          <a:ln w="0" cap="flat" cmpd="sng" algn="ctr">
            <a:solidFill>
              <a:srgbClr val="FBFFFF"/>
            </a:solidFill>
            <a:prstDash val="solid"/>
            <a:round/>
            <a:headEnd type="none" w="sm" len="sm"/>
            <a:tailEnd type="none" w="sm" len="sm"/>
          </a:ln>
          <a:effectLst/>
          <a:extLst>
            <a:ext uri="{AF507438-7753-43E0-B8FC-AC1667EBCBE1}">
              <a14:hiddenEffects xmlns:a14="http://schemas.microsoft.com/office/drawing/2010/main">
                <a:effectLst>
                  <a:outerShdw algn="ctr" rotWithShape="0">
                    <a:schemeClr val="bg2"/>
                  </a:outerShdw>
                </a:effectLst>
              </a14:hiddenEffects>
            </a:ext>
          </a:extLst>
        </p:spPr>
      </p:cxnSp>
      <p:sp>
        <p:nvSpPr>
          <p:cNvPr id="507" name="Textfeld 506"/>
          <p:cNvSpPr txBox="1"/>
          <p:nvPr/>
        </p:nvSpPr>
        <p:spPr>
          <a:xfrm>
            <a:off x="485018" y="3161146"/>
            <a:ext cx="928854" cy="400050"/>
          </a:xfrm>
          <a:prstGeom prst="rect">
            <a:avLst/>
          </a:prstGeom>
          <a:noFill/>
        </p:spPr>
        <p:txBody>
          <a:bodyPr wrap="none" rtlCol="0">
            <a:noAutofit/>
          </a:bodyPr>
          <a:lstStyle/>
          <a:p>
            <a:pPr eaLnBrk="0" fontAlgn="base" hangingPunct="0">
              <a:spcBef>
                <a:spcPct val="0"/>
              </a:spcBef>
              <a:spcAft>
                <a:spcPct val="0"/>
              </a:spcAft>
            </a:pPr>
            <a:r>
              <a:rPr lang="en-US" sz="1200" dirty="0">
                <a:solidFill>
                  <a:srgbClr val="000000"/>
                </a:solidFill>
              </a:rPr>
              <a:t>subunit </a:t>
            </a:r>
          </a:p>
          <a:p>
            <a:pPr eaLnBrk="0" fontAlgn="base" hangingPunct="0">
              <a:spcBef>
                <a:spcPct val="0"/>
              </a:spcBef>
              <a:spcAft>
                <a:spcPct val="0"/>
              </a:spcAft>
            </a:pPr>
            <a:r>
              <a:rPr lang="en-US" sz="1200" dirty="0">
                <a:solidFill>
                  <a:srgbClr val="000000"/>
                </a:solidFill>
              </a:rPr>
              <a:t>~ 0.2 </a:t>
            </a:r>
            <a:r>
              <a:rPr lang="en-US" sz="1200" dirty="0" err="1">
                <a:solidFill>
                  <a:srgbClr val="000000"/>
                </a:solidFill>
              </a:rPr>
              <a:t>A.u</a:t>
            </a:r>
            <a:r>
              <a:rPr lang="en-US" sz="1200" dirty="0">
                <a:solidFill>
                  <a:srgbClr val="000000"/>
                </a:solidFill>
              </a:rPr>
              <a:t>.</a:t>
            </a:r>
          </a:p>
        </p:txBody>
      </p:sp>
      <p:sp>
        <p:nvSpPr>
          <p:cNvPr id="496" name="Textfeld 495"/>
          <p:cNvSpPr txBox="1"/>
          <p:nvPr/>
        </p:nvSpPr>
        <p:spPr>
          <a:xfrm>
            <a:off x="310842" y="2653302"/>
            <a:ext cx="928854" cy="400050"/>
          </a:xfrm>
          <a:prstGeom prst="rect">
            <a:avLst/>
          </a:prstGeom>
          <a:noFill/>
        </p:spPr>
        <p:txBody>
          <a:bodyPr wrap="none" rtlCol="0">
            <a:noAutofit/>
          </a:bodyPr>
          <a:lstStyle/>
          <a:p>
            <a:pPr eaLnBrk="0" fontAlgn="base" hangingPunct="0">
              <a:spcBef>
                <a:spcPct val="0"/>
              </a:spcBef>
              <a:spcAft>
                <a:spcPct val="0"/>
              </a:spcAft>
            </a:pPr>
            <a:r>
              <a:rPr lang="en-US" sz="1200" dirty="0">
                <a:solidFill>
                  <a:srgbClr val="000000"/>
                </a:solidFill>
              </a:rPr>
              <a:t>detection</a:t>
            </a:r>
          </a:p>
        </p:txBody>
      </p:sp>
      <p:sp>
        <p:nvSpPr>
          <p:cNvPr id="21" name="Freihandform 20"/>
          <p:cNvSpPr/>
          <p:nvPr/>
        </p:nvSpPr>
        <p:spPr bwMode="auto">
          <a:xfrm>
            <a:off x="1548958" y="4396575"/>
            <a:ext cx="5762723" cy="1505603"/>
          </a:xfrm>
          <a:custGeom>
            <a:avLst/>
            <a:gdLst>
              <a:gd name="connsiteX0" fmla="*/ 0 w 6134100"/>
              <a:gd name="connsiteY0" fmla="*/ 15240 h 15240"/>
              <a:gd name="connsiteX1" fmla="*/ 6134100 w 6134100"/>
              <a:gd name="connsiteY1" fmla="*/ 0 h 15240"/>
              <a:gd name="connsiteX2" fmla="*/ 6134100 w 6134100"/>
              <a:gd name="connsiteY2" fmla="*/ 0 h 15240"/>
              <a:gd name="connsiteX0" fmla="*/ 0 w 6134100"/>
              <a:gd name="connsiteY0" fmla="*/ 15240 h 15240"/>
              <a:gd name="connsiteX1" fmla="*/ 3009900 w 6134100"/>
              <a:gd name="connsiteY1" fmla="*/ 15240 h 15240"/>
              <a:gd name="connsiteX2" fmla="*/ 6134100 w 6134100"/>
              <a:gd name="connsiteY2" fmla="*/ 0 h 15240"/>
              <a:gd name="connsiteX3" fmla="*/ 6134100 w 6134100"/>
              <a:gd name="connsiteY3" fmla="*/ 0 h 1524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1310640 w 6134100"/>
              <a:gd name="connsiteY1" fmla="*/ 74676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495800 w 6134100"/>
              <a:gd name="connsiteY3" fmla="*/ 632460 h 1341120"/>
              <a:gd name="connsiteX4" fmla="*/ 6134100 w 6134100"/>
              <a:gd name="connsiteY4" fmla="*/ 1325880 h 1341120"/>
              <a:gd name="connsiteX5" fmla="*/ 6134100 w 6134100"/>
              <a:gd name="connsiteY5"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556760 w 6134100"/>
              <a:gd name="connsiteY3" fmla="*/ 1036320 h 1341120"/>
              <a:gd name="connsiteX4" fmla="*/ 6134100 w 6134100"/>
              <a:gd name="connsiteY4" fmla="*/ 1325880 h 1341120"/>
              <a:gd name="connsiteX5" fmla="*/ 6134100 w 6134100"/>
              <a:gd name="connsiteY5" fmla="*/ 1325880 h 1341120"/>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64"/>
              <a:gd name="connsiteX1" fmla="*/ 2987040 w 6134100"/>
              <a:gd name="connsiteY1" fmla="*/ 4 h 1341164"/>
              <a:gd name="connsiteX2" fmla="*/ 6134100 w 6134100"/>
              <a:gd name="connsiteY2" fmla="*/ 1325884 h 1341164"/>
              <a:gd name="connsiteX3" fmla="*/ 6134100 w 6134100"/>
              <a:gd name="connsiteY3" fmla="*/ 1325884 h 1341164"/>
              <a:gd name="connsiteX0" fmla="*/ 0 w 6449629"/>
              <a:gd name="connsiteY0" fmla="*/ 1341124 h 1375661"/>
              <a:gd name="connsiteX1" fmla="*/ 2987040 w 6449629"/>
              <a:gd name="connsiteY1" fmla="*/ 4 h 1375661"/>
              <a:gd name="connsiteX2" fmla="*/ 6134100 w 6449629"/>
              <a:gd name="connsiteY2" fmla="*/ 1325884 h 1375661"/>
              <a:gd name="connsiteX3" fmla="*/ 6399310 w 6449629"/>
              <a:gd name="connsiteY3" fmla="*/ 1067921 h 1375661"/>
              <a:gd name="connsiteX0" fmla="*/ 0 w 6431465"/>
              <a:gd name="connsiteY0" fmla="*/ 1341229 h 1341269"/>
              <a:gd name="connsiteX1" fmla="*/ 2987040 w 6431465"/>
              <a:gd name="connsiteY1" fmla="*/ 109 h 1341269"/>
              <a:gd name="connsiteX2" fmla="*/ 6101953 w 6431465"/>
              <a:gd name="connsiteY2" fmla="*/ 1264892 h 1341269"/>
              <a:gd name="connsiteX3" fmla="*/ 6399310 w 6431465"/>
              <a:gd name="connsiteY3" fmla="*/ 1068026 h 1341269"/>
              <a:gd name="connsiteX0" fmla="*/ 0 w 6101953"/>
              <a:gd name="connsiteY0" fmla="*/ 1341229 h 1341269"/>
              <a:gd name="connsiteX1" fmla="*/ 2987040 w 6101953"/>
              <a:gd name="connsiteY1" fmla="*/ 109 h 1341269"/>
              <a:gd name="connsiteX2" fmla="*/ 6101953 w 6101953"/>
              <a:gd name="connsiteY2" fmla="*/ 1264892 h 1341269"/>
              <a:gd name="connsiteX0" fmla="*/ 0 w 6077843"/>
              <a:gd name="connsiteY0" fmla="*/ 1341298 h 1341338"/>
              <a:gd name="connsiteX1" fmla="*/ 2987040 w 6077843"/>
              <a:gd name="connsiteY1" fmla="*/ 178 h 1341338"/>
              <a:gd name="connsiteX2" fmla="*/ 6077843 w 6077843"/>
              <a:gd name="connsiteY2" fmla="*/ 1244596 h 1341338"/>
              <a:gd name="connsiteX0" fmla="*/ 0 w 6077843"/>
              <a:gd name="connsiteY0" fmla="*/ 1341271 h 1341311"/>
              <a:gd name="connsiteX1" fmla="*/ 2987040 w 6077843"/>
              <a:gd name="connsiteY1" fmla="*/ 151 h 1341311"/>
              <a:gd name="connsiteX2" fmla="*/ 6077843 w 6077843"/>
              <a:gd name="connsiteY2" fmla="*/ 1244569 h 1341311"/>
            </a:gdLst>
            <a:ahLst/>
            <a:cxnLst>
              <a:cxn ang="0">
                <a:pos x="connsiteX0" y="connsiteY0"/>
              </a:cxn>
              <a:cxn ang="0">
                <a:pos x="connsiteX1" y="connsiteY1"/>
              </a:cxn>
              <a:cxn ang="0">
                <a:pos x="connsiteX2" y="connsiteY2"/>
              </a:cxn>
            </a:cxnLst>
            <a:rect l="l" t="t" r="r" b="b"/>
            <a:pathLst>
              <a:path w="6077843" h="1341311">
                <a:moveTo>
                  <a:pt x="0" y="1341271"/>
                </a:moveTo>
                <a:cubicBezTo>
                  <a:pt x="1811173" y="1349768"/>
                  <a:pt x="1974066" y="16268"/>
                  <a:pt x="2987040" y="151"/>
                </a:cubicBezTo>
                <a:cubicBezTo>
                  <a:pt x="4000014" y="-15966"/>
                  <a:pt x="4207189" y="1270238"/>
                  <a:pt x="6077843" y="1244569"/>
                </a:cubicBezTo>
              </a:path>
            </a:pathLst>
          </a:custGeom>
          <a:noFill/>
          <a:ln w="12700" cap="flat" cmpd="sng" algn="ctr">
            <a:solidFill>
              <a:srgbClr val="0070C0"/>
            </a:solidFill>
            <a:prstDash val="dash"/>
            <a:round/>
            <a:headEnd type="none" w="sm" len="sm"/>
            <a:tailEnd type="none" w="sm" len="sm"/>
          </a:ln>
          <a:effectLst/>
        </p:spPr>
        <p:txBody>
          <a:bodyPr vert="horz" wrap="none" lIns="0" tIns="0" rIns="0" bIns="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 name="Titel 1"/>
          <p:cNvSpPr>
            <a:spLocks noGrp="1"/>
          </p:cNvSpPr>
          <p:nvPr>
            <p:ph type="title"/>
          </p:nvPr>
        </p:nvSpPr>
        <p:spPr/>
        <p:txBody>
          <a:bodyPr/>
          <a:lstStyle/>
          <a:p>
            <a:r>
              <a:rPr lang="en-US" dirty="0" err="1"/>
              <a:t>Airyscan</a:t>
            </a:r>
            <a:r>
              <a:rPr lang="en-US" dirty="0"/>
              <a:t>: PH ~ 0.2 </a:t>
            </a:r>
            <a:r>
              <a:rPr lang="en-US" dirty="0" err="1"/>
              <a:t>A.u</a:t>
            </a:r>
            <a:r>
              <a:rPr lang="en-US" dirty="0"/>
              <a:t>. scanning without loss.</a:t>
            </a:r>
            <a:br>
              <a:rPr lang="en-US" dirty="0"/>
            </a:br>
            <a:r>
              <a:rPr lang="en-GB" sz="1800" b="0" dirty="0">
                <a:solidFill>
                  <a:schemeClr val="tx1"/>
                </a:solidFill>
              </a:rPr>
              <a:t>Combining the data</a:t>
            </a:r>
            <a:endParaRPr lang="en-US" sz="2000" b="0" dirty="0">
              <a:solidFill>
                <a:schemeClr val="tx1"/>
              </a:solidFill>
            </a:endParaRPr>
          </a:p>
        </p:txBody>
      </p:sp>
      <p:sp>
        <p:nvSpPr>
          <p:cNvPr id="5" name="Fußzeilenplatzhalter 4"/>
          <p:cNvSpPr>
            <a:spLocks noGrp="1"/>
          </p:cNvSpPr>
          <p:nvPr>
            <p:ph type="ftr" sz="quarter" idx="12"/>
          </p:nvPr>
        </p:nvSpPr>
        <p:spPr/>
        <p:txBody>
          <a:bodyPr/>
          <a:lstStyle/>
          <a:p>
            <a:r>
              <a:rPr lang="en-US">
                <a:solidFill>
                  <a:srgbClr val="000000"/>
                </a:solidFill>
              </a:rPr>
              <a:t>Carl Zeiss Microscopy</a:t>
            </a:r>
            <a:endParaRPr lang="en-US" dirty="0">
              <a:solidFill>
                <a:srgbClr val="000000"/>
              </a:solidFill>
            </a:endParaRPr>
          </a:p>
        </p:txBody>
      </p:sp>
      <p:sp>
        <p:nvSpPr>
          <p:cNvPr id="91" name="Textfeld 90"/>
          <p:cNvSpPr txBox="1"/>
          <p:nvPr/>
        </p:nvSpPr>
        <p:spPr>
          <a:xfrm>
            <a:off x="308803" y="1420580"/>
            <a:ext cx="1247775" cy="400050"/>
          </a:xfrm>
          <a:prstGeom prst="rect">
            <a:avLst/>
          </a:prstGeom>
          <a:noFill/>
        </p:spPr>
        <p:txBody>
          <a:bodyPr wrap="none" rtlCol="0">
            <a:noAutofit/>
          </a:bodyPr>
          <a:lstStyle/>
          <a:p>
            <a:pPr eaLnBrk="0" fontAlgn="base" hangingPunct="0">
              <a:spcBef>
                <a:spcPct val="0"/>
              </a:spcBef>
              <a:spcAft>
                <a:spcPct val="0"/>
              </a:spcAft>
            </a:pPr>
            <a:r>
              <a:rPr lang="en-US" sz="1200" dirty="0">
                <a:solidFill>
                  <a:srgbClr val="000000"/>
                </a:solidFill>
              </a:rPr>
              <a:t>PH = 1,25 </a:t>
            </a:r>
            <a:r>
              <a:rPr lang="en-US" sz="1200" dirty="0" err="1">
                <a:solidFill>
                  <a:srgbClr val="000000"/>
                </a:solidFill>
              </a:rPr>
              <a:t>a.u</a:t>
            </a:r>
            <a:r>
              <a:rPr lang="en-US" sz="1200" dirty="0">
                <a:solidFill>
                  <a:srgbClr val="000000"/>
                </a:solidFill>
              </a:rPr>
              <a:t>.</a:t>
            </a:r>
          </a:p>
        </p:txBody>
      </p:sp>
      <p:cxnSp>
        <p:nvCxnSpPr>
          <p:cNvPr id="32" name="Gerade Verbindung mit Pfeil 31"/>
          <p:cNvCxnSpPr/>
          <p:nvPr/>
        </p:nvCxnSpPr>
        <p:spPr bwMode="auto">
          <a:xfrm flipV="1">
            <a:off x="1542461" y="4168140"/>
            <a:ext cx="0" cy="1938783"/>
          </a:xfrm>
          <a:prstGeom prst="straightConnector1">
            <a:avLst/>
          </a:prstGeom>
          <a:solidFill>
            <a:schemeClr val="folHlink"/>
          </a:solidFill>
          <a:ln w="19050" cap="flat" cmpd="sng" algn="ctr">
            <a:solidFill>
              <a:srgbClr val="0070C0"/>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8" name="Gruppieren 37"/>
          <p:cNvGrpSpPr/>
          <p:nvPr/>
        </p:nvGrpSpPr>
        <p:grpSpPr>
          <a:xfrm>
            <a:off x="1363980" y="3611880"/>
            <a:ext cx="6198184" cy="213360"/>
            <a:chOff x="3646868" y="2202180"/>
            <a:chExt cx="1466152" cy="114300"/>
          </a:xfrm>
        </p:grpSpPr>
        <p:cxnSp>
          <p:nvCxnSpPr>
            <p:cNvPr id="39" name="Gerade Verbindung 38"/>
            <p:cNvCxnSpPr/>
            <p:nvPr/>
          </p:nvCxnSpPr>
          <p:spPr bwMode="auto">
            <a:xfrm>
              <a:off x="3646868" y="2263140"/>
              <a:ext cx="1466152" cy="0"/>
            </a:xfrm>
            <a:prstGeom prst="line">
              <a:avLst/>
            </a:prstGeom>
            <a:solidFill>
              <a:schemeClr val="folHlink"/>
            </a:solidFill>
            <a:ln w="19050" cap="flat" cmpd="sng" algn="ctr">
              <a:solidFill>
                <a:schemeClr val="folHlink"/>
              </a:solidFill>
              <a:prstDash val="solid"/>
              <a:round/>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0" name="Gruppieren 39"/>
            <p:cNvGrpSpPr/>
            <p:nvPr/>
          </p:nvGrpSpPr>
          <p:grpSpPr>
            <a:xfrm>
              <a:off x="3806888" y="2202180"/>
              <a:ext cx="1110090" cy="114300"/>
              <a:chOff x="3806888" y="2148840"/>
              <a:chExt cx="1110090" cy="266700"/>
            </a:xfrm>
          </p:grpSpPr>
          <p:cxnSp>
            <p:nvCxnSpPr>
              <p:cNvPr id="41" name="Gerade Verbindung 40"/>
              <p:cNvCxnSpPr/>
              <p:nvPr/>
            </p:nvCxnSpPr>
            <p:spPr bwMode="auto">
              <a:xfrm flipV="1">
                <a:off x="380688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2" name="Gerade Verbindung 41"/>
              <p:cNvCxnSpPr/>
              <p:nvPr/>
            </p:nvCxnSpPr>
            <p:spPr bwMode="auto">
              <a:xfrm flipV="1">
                <a:off x="399190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Gerade Verbindung 42"/>
              <p:cNvCxnSpPr/>
              <p:nvPr/>
            </p:nvCxnSpPr>
            <p:spPr bwMode="auto">
              <a:xfrm flipV="1">
                <a:off x="417691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Gerade Verbindung 43"/>
              <p:cNvCxnSpPr/>
              <p:nvPr/>
            </p:nvCxnSpPr>
            <p:spPr bwMode="auto">
              <a:xfrm flipV="1">
                <a:off x="436193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Gerade Verbindung 44"/>
              <p:cNvCxnSpPr/>
              <p:nvPr/>
            </p:nvCxnSpPr>
            <p:spPr bwMode="auto">
              <a:xfrm flipV="1">
                <a:off x="454694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Gerade Verbindung 45"/>
              <p:cNvCxnSpPr/>
              <p:nvPr/>
            </p:nvCxnSpPr>
            <p:spPr bwMode="auto">
              <a:xfrm flipV="1">
                <a:off x="473196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7" name="Gerade Verbindung 46"/>
              <p:cNvCxnSpPr/>
              <p:nvPr/>
            </p:nvCxnSpPr>
            <p:spPr bwMode="auto">
              <a:xfrm flipV="1">
                <a:off x="491697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50" name="Gruppieren 49"/>
          <p:cNvGrpSpPr/>
          <p:nvPr/>
        </p:nvGrpSpPr>
        <p:grpSpPr>
          <a:xfrm>
            <a:off x="1363980" y="5893562"/>
            <a:ext cx="6217920" cy="213360"/>
            <a:chOff x="3646868" y="2202180"/>
            <a:chExt cx="1466152" cy="114300"/>
          </a:xfrm>
        </p:grpSpPr>
        <p:cxnSp>
          <p:nvCxnSpPr>
            <p:cNvPr id="51" name="Gerade Verbindung 50"/>
            <p:cNvCxnSpPr/>
            <p:nvPr/>
          </p:nvCxnSpPr>
          <p:spPr bwMode="auto">
            <a:xfrm>
              <a:off x="3646868" y="2263140"/>
              <a:ext cx="1466152" cy="0"/>
            </a:xfrm>
            <a:prstGeom prst="line">
              <a:avLst/>
            </a:prstGeom>
            <a:solidFill>
              <a:schemeClr val="folHlink"/>
            </a:solidFill>
            <a:ln w="19050" cap="flat" cmpd="sng" algn="ctr">
              <a:solidFill>
                <a:schemeClr val="folHlink"/>
              </a:solidFill>
              <a:prstDash val="solid"/>
              <a:round/>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52" name="Gruppieren 51"/>
            <p:cNvGrpSpPr/>
            <p:nvPr/>
          </p:nvGrpSpPr>
          <p:grpSpPr>
            <a:xfrm>
              <a:off x="3806888" y="2202180"/>
              <a:ext cx="1110090" cy="114300"/>
              <a:chOff x="3806888" y="2148840"/>
              <a:chExt cx="1110090" cy="266700"/>
            </a:xfrm>
          </p:grpSpPr>
          <p:cxnSp>
            <p:nvCxnSpPr>
              <p:cNvPr id="53" name="Gerade Verbindung 52"/>
              <p:cNvCxnSpPr/>
              <p:nvPr/>
            </p:nvCxnSpPr>
            <p:spPr bwMode="auto">
              <a:xfrm flipV="1">
                <a:off x="380688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4" name="Gerade Verbindung 53"/>
              <p:cNvCxnSpPr/>
              <p:nvPr/>
            </p:nvCxnSpPr>
            <p:spPr bwMode="auto">
              <a:xfrm flipV="1">
                <a:off x="399190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5" name="Gerade Verbindung 54"/>
              <p:cNvCxnSpPr/>
              <p:nvPr/>
            </p:nvCxnSpPr>
            <p:spPr bwMode="auto">
              <a:xfrm flipV="1">
                <a:off x="417691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6" name="Gerade Verbindung 55"/>
              <p:cNvCxnSpPr/>
              <p:nvPr/>
            </p:nvCxnSpPr>
            <p:spPr bwMode="auto">
              <a:xfrm flipV="1">
                <a:off x="436193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7" name="Gerade Verbindung 56"/>
              <p:cNvCxnSpPr/>
              <p:nvPr/>
            </p:nvCxnSpPr>
            <p:spPr bwMode="auto">
              <a:xfrm flipV="1">
                <a:off x="454694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Gerade Verbindung 62"/>
              <p:cNvCxnSpPr/>
              <p:nvPr/>
            </p:nvCxnSpPr>
            <p:spPr bwMode="auto">
              <a:xfrm flipV="1">
                <a:off x="473196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4" name="Gerade Verbindung 63"/>
              <p:cNvCxnSpPr/>
              <p:nvPr/>
            </p:nvCxnSpPr>
            <p:spPr bwMode="auto">
              <a:xfrm flipV="1">
                <a:off x="491697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pic>
        <p:nvPicPr>
          <p:cNvPr id="102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99848"/>
          <a:stretch/>
        </p:blipFill>
        <p:spPr bwMode="auto">
          <a:xfrm>
            <a:off x="1668624" y="4167597"/>
            <a:ext cx="164684" cy="1839214"/>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80" name="Textfeld 79"/>
          <p:cNvSpPr txBox="1"/>
          <p:nvPr/>
        </p:nvSpPr>
        <p:spPr>
          <a:xfrm rot="16200000">
            <a:off x="760516" y="4880133"/>
            <a:ext cx="970597" cy="400050"/>
          </a:xfrm>
          <a:prstGeom prst="rect">
            <a:avLst/>
          </a:prstGeom>
          <a:noFill/>
        </p:spPr>
        <p:txBody>
          <a:bodyPr wrap="none" rtlCol="0">
            <a:noAutofit/>
          </a:bodyPr>
          <a:lstStyle/>
          <a:p>
            <a:pPr eaLnBrk="0" fontAlgn="base" hangingPunct="0">
              <a:spcBef>
                <a:spcPct val="0"/>
              </a:spcBef>
              <a:spcAft>
                <a:spcPct val="0"/>
              </a:spcAft>
            </a:pPr>
            <a:r>
              <a:rPr lang="en-US" sz="1600" dirty="0">
                <a:solidFill>
                  <a:srgbClr val="000000"/>
                </a:solidFill>
              </a:rPr>
              <a:t>Intensity</a:t>
            </a:r>
          </a:p>
        </p:txBody>
      </p:sp>
      <p:sp>
        <p:nvSpPr>
          <p:cNvPr id="132" name="Textfeld 131"/>
          <p:cNvSpPr txBox="1"/>
          <p:nvPr/>
        </p:nvSpPr>
        <p:spPr>
          <a:xfrm>
            <a:off x="308803" y="2053310"/>
            <a:ext cx="1133476" cy="400050"/>
          </a:xfrm>
          <a:prstGeom prst="rect">
            <a:avLst/>
          </a:prstGeom>
          <a:noFill/>
        </p:spPr>
        <p:txBody>
          <a:bodyPr wrap="none" rtlCol="0">
            <a:noAutofit/>
          </a:bodyPr>
          <a:lstStyle/>
          <a:p>
            <a:pPr eaLnBrk="0" fontAlgn="base" hangingPunct="0">
              <a:spcBef>
                <a:spcPct val="0"/>
              </a:spcBef>
              <a:spcAft>
                <a:spcPct val="0"/>
              </a:spcAft>
            </a:pPr>
            <a:r>
              <a:rPr lang="en-US" sz="1200" dirty="0">
                <a:solidFill>
                  <a:srgbClr val="000000"/>
                </a:solidFill>
              </a:rPr>
              <a:t>excitation</a:t>
            </a:r>
          </a:p>
        </p:txBody>
      </p:sp>
      <p:sp>
        <p:nvSpPr>
          <p:cNvPr id="1027" name="Freihandform 1026"/>
          <p:cNvSpPr/>
          <p:nvPr/>
        </p:nvSpPr>
        <p:spPr bwMode="auto">
          <a:xfrm>
            <a:off x="411480" y="1653540"/>
            <a:ext cx="1104900" cy="121920"/>
          </a:xfrm>
          <a:custGeom>
            <a:avLst/>
            <a:gdLst>
              <a:gd name="connsiteX0" fmla="*/ 0 w 1203960"/>
              <a:gd name="connsiteY0" fmla="*/ 0 h 243840"/>
              <a:gd name="connsiteX1" fmla="*/ 670560 w 1203960"/>
              <a:gd name="connsiteY1" fmla="*/ 0 h 243840"/>
              <a:gd name="connsiteX2" fmla="*/ 1203960 w 1203960"/>
              <a:gd name="connsiteY2" fmla="*/ 243840 h 243840"/>
              <a:gd name="connsiteX0" fmla="*/ 0 w 1234440"/>
              <a:gd name="connsiteY0" fmla="*/ 0 h 160020"/>
              <a:gd name="connsiteX1" fmla="*/ 670560 w 1234440"/>
              <a:gd name="connsiteY1" fmla="*/ 0 h 160020"/>
              <a:gd name="connsiteX2" fmla="*/ 1234440 w 1234440"/>
              <a:gd name="connsiteY2" fmla="*/ 160020 h 160020"/>
              <a:gd name="connsiteX0" fmla="*/ 0 w 1104900"/>
              <a:gd name="connsiteY0" fmla="*/ 0 h 121920"/>
              <a:gd name="connsiteX1" fmla="*/ 670560 w 1104900"/>
              <a:gd name="connsiteY1" fmla="*/ 0 h 121920"/>
              <a:gd name="connsiteX2" fmla="*/ 1104900 w 1104900"/>
              <a:gd name="connsiteY2" fmla="*/ 121920 h 121920"/>
            </a:gdLst>
            <a:ahLst/>
            <a:cxnLst>
              <a:cxn ang="0">
                <a:pos x="connsiteX0" y="connsiteY0"/>
              </a:cxn>
              <a:cxn ang="0">
                <a:pos x="connsiteX1" y="connsiteY1"/>
              </a:cxn>
              <a:cxn ang="0">
                <a:pos x="connsiteX2" y="connsiteY2"/>
              </a:cxn>
            </a:cxnLst>
            <a:rect l="l" t="t" r="r" b="b"/>
            <a:pathLst>
              <a:path w="1104900" h="121920">
                <a:moveTo>
                  <a:pt x="0" y="0"/>
                </a:moveTo>
                <a:lnTo>
                  <a:pt x="670560" y="0"/>
                </a:lnTo>
                <a:lnTo>
                  <a:pt x="1104900" y="121920"/>
                </a:lnTo>
              </a:path>
            </a:pathLst>
          </a:custGeom>
          <a:noFill/>
          <a:ln w="3175"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37" name="Freihandform 136"/>
          <p:cNvSpPr/>
          <p:nvPr/>
        </p:nvSpPr>
        <p:spPr bwMode="auto">
          <a:xfrm flipV="1">
            <a:off x="411480" y="1924518"/>
            <a:ext cx="1575468" cy="361481"/>
          </a:xfrm>
          <a:custGeom>
            <a:avLst/>
            <a:gdLst>
              <a:gd name="connsiteX0" fmla="*/ 0 w 1203960"/>
              <a:gd name="connsiteY0" fmla="*/ 0 h 243840"/>
              <a:gd name="connsiteX1" fmla="*/ 670560 w 1203960"/>
              <a:gd name="connsiteY1" fmla="*/ 0 h 243840"/>
              <a:gd name="connsiteX2" fmla="*/ 1203960 w 1203960"/>
              <a:gd name="connsiteY2" fmla="*/ 243840 h 243840"/>
              <a:gd name="connsiteX0" fmla="*/ 0 w 1234440"/>
              <a:gd name="connsiteY0" fmla="*/ 0 h 160020"/>
              <a:gd name="connsiteX1" fmla="*/ 670560 w 1234440"/>
              <a:gd name="connsiteY1" fmla="*/ 0 h 160020"/>
              <a:gd name="connsiteX2" fmla="*/ 1234440 w 1234440"/>
              <a:gd name="connsiteY2" fmla="*/ 160020 h 160020"/>
            </a:gdLst>
            <a:ahLst/>
            <a:cxnLst>
              <a:cxn ang="0">
                <a:pos x="connsiteX0" y="connsiteY0"/>
              </a:cxn>
              <a:cxn ang="0">
                <a:pos x="connsiteX1" y="connsiteY1"/>
              </a:cxn>
              <a:cxn ang="0">
                <a:pos x="connsiteX2" y="connsiteY2"/>
              </a:cxn>
            </a:cxnLst>
            <a:rect l="l" t="t" r="r" b="b"/>
            <a:pathLst>
              <a:path w="1234440" h="160020">
                <a:moveTo>
                  <a:pt x="0" y="0"/>
                </a:moveTo>
                <a:lnTo>
                  <a:pt x="670560" y="0"/>
                </a:lnTo>
                <a:lnTo>
                  <a:pt x="1234440" y="160020"/>
                </a:lnTo>
              </a:path>
            </a:pathLst>
          </a:custGeom>
          <a:noFill/>
          <a:ln w="3175"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nvGrpSpPr>
          <p:cNvPr id="6" name="Gruppieren 5"/>
          <p:cNvGrpSpPr/>
          <p:nvPr/>
        </p:nvGrpSpPr>
        <p:grpSpPr>
          <a:xfrm>
            <a:off x="1484623" y="1384386"/>
            <a:ext cx="1046394" cy="1046394"/>
            <a:chOff x="1484623" y="1384386"/>
            <a:chExt cx="1046394" cy="1046394"/>
          </a:xfrm>
        </p:grpSpPr>
        <p:grpSp>
          <p:nvGrpSpPr>
            <p:cNvPr id="129" name="Gruppieren 128"/>
            <p:cNvGrpSpPr/>
            <p:nvPr/>
          </p:nvGrpSpPr>
          <p:grpSpPr>
            <a:xfrm>
              <a:off x="1484623" y="1384386"/>
              <a:ext cx="1046394" cy="1046394"/>
              <a:chOff x="1249679" y="1384386"/>
              <a:chExt cx="1046394" cy="1046394"/>
            </a:xfrm>
          </p:grpSpPr>
          <p:sp>
            <p:nvSpPr>
              <p:cNvPr id="130" name="Ellipse 129"/>
              <p:cNvSpPr/>
              <p:nvPr/>
            </p:nvSpPr>
            <p:spPr bwMode="auto">
              <a:xfrm>
                <a:off x="1249679" y="1384386"/>
                <a:ext cx="1046394" cy="1046394"/>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31" name="Ellipse 130"/>
              <p:cNvSpPr/>
              <p:nvPr/>
            </p:nvSpPr>
            <p:spPr bwMode="auto">
              <a:xfrm flipV="1">
                <a:off x="1317282" y="1454590"/>
                <a:ext cx="915164" cy="915164"/>
              </a:xfrm>
              <a:prstGeom prst="ellipse">
                <a:avLst/>
              </a:prstGeom>
              <a:gradFill flip="none" rotWithShape="1">
                <a:gsLst>
                  <a:gs pos="0">
                    <a:srgbClr val="7030A0"/>
                  </a:gs>
                  <a:gs pos="33500">
                    <a:srgbClr val="B898D0">
                      <a:alpha val="79000"/>
                    </a:srgbClr>
                  </a:gs>
                  <a:gs pos="72000">
                    <a:srgbClr val="FFFFFE">
                      <a:alpha val="0"/>
                      <a:lumMod val="0"/>
                      <a:lumOff val="10000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nvGrpSpPr>
            <p:cNvPr id="180" name="Gruppieren 179"/>
            <p:cNvGrpSpPr/>
            <p:nvPr/>
          </p:nvGrpSpPr>
          <p:grpSpPr>
            <a:xfrm>
              <a:off x="1493990" y="1445270"/>
              <a:ext cx="1033538" cy="939724"/>
              <a:chOff x="386078" y="2179778"/>
              <a:chExt cx="3657046" cy="3325098"/>
            </a:xfrm>
            <a:noFill/>
          </p:grpSpPr>
          <p:sp>
            <p:nvSpPr>
              <p:cNvPr id="181" name="Sechseck 180"/>
              <p:cNvSpPr/>
              <p:nvPr/>
            </p:nvSpPr>
            <p:spPr bwMode="auto">
              <a:xfrm>
                <a:off x="1893455"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82" name="Sechseck 181"/>
              <p:cNvSpPr/>
              <p:nvPr/>
            </p:nvSpPr>
            <p:spPr bwMode="auto">
              <a:xfrm>
                <a:off x="2392220" y="328814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83" name="Sechseck 182"/>
              <p:cNvSpPr/>
              <p:nvPr/>
            </p:nvSpPr>
            <p:spPr bwMode="auto">
              <a:xfrm>
                <a:off x="239222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84" name="Sechseck 183"/>
              <p:cNvSpPr/>
              <p:nvPr/>
            </p:nvSpPr>
            <p:spPr bwMode="auto">
              <a:xfrm>
                <a:off x="1893455"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85" name="Sechseck 184"/>
              <p:cNvSpPr/>
              <p:nvPr/>
            </p:nvSpPr>
            <p:spPr bwMode="auto">
              <a:xfrm>
                <a:off x="139469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86" name="Sechseck 185"/>
              <p:cNvSpPr/>
              <p:nvPr/>
            </p:nvSpPr>
            <p:spPr bwMode="auto">
              <a:xfrm>
                <a:off x="1394690" y="328814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87" name="Sechseck 186"/>
              <p:cNvSpPr/>
              <p:nvPr/>
            </p:nvSpPr>
            <p:spPr bwMode="auto">
              <a:xfrm>
                <a:off x="1893455" y="3565236"/>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88" name="Sechseck 187"/>
              <p:cNvSpPr/>
              <p:nvPr/>
            </p:nvSpPr>
            <p:spPr bwMode="auto">
              <a:xfrm>
                <a:off x="239222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89" name="Sechseck 188"/>
              <p:cNvSpPr/>
              <p:nvPr/>
            </p:nvSpPr>
            <p:spPr bwMode="auto">
              <a:xfrm>
                <a:off x="2897352"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90" name="Sechseck 189"/>
              <p:cNvSpPr/>
              <p:nvPr/>
            </p:nvSpPr>
            <p:spPr bwMode="auto">
              <a:xfrm>
                <a:off x="2897352" y="356523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91" name="Sechseck 190"/>
              <p:cNvSpPr/>
              <p:nvPr/>
            </p:nvSpPr>
            <p:spPr bwMode="auto">
              <a:xfrm>
                <a:off x="2897352"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92" name="Sechseck 191"/>
              <p:cNvSpPr/>
              <p:nvPr/>
            </p:nvSpPr>
            <p:spPr bwMode="auto">
              <a:xfrm>
                <a:off x="2404843"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93" name="Sechseck 192"/>
              <p:cNvSpPr/>
              <p:nvPr/>
            </p:nvSpPr>
            <p:spPr bwMode="auto">
              <a:xfrm>
                <a:off x="1893455"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94" name="Sechseck 193"/>
              <p:cNvSpPr/>
              <p:nvPr/>
            </p:nvSpPr>
            <p:spPr bwMode="auto">
              <a:xfrm>
                <a:off x="1394690"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95" name="Sechseck 194"/>
              <p:cNvSpPr/>
              <p:nvPr/>
            </p:nvSpPr>
            <p:spPr bwMode="auto">
              <a:xfrm>
                <a:off x="888998" y="301408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96" name="Sechseck 195"/>
              <p:cNvSpPr/>
              <p:nvPr/>
            </p:nvSpPr>
            <p:spPr bwMode="auto">
              <a:xfrm>
                <a:off x="888998" y="356826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97" name="Sechseck 196"/>
              <p:cNvSpPr/>
              <p:nvPr/>
            </p:nvSpPr>
            <p:spPr bwMode="auto">
              <a:xfrm>
                <a:off x="888998" y="4122446"/>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98" name="Sechseck 197"/>
              <p:cNvSpPr/>
              <p:nvPr/>
            </p:nvSpPr>
            <p:spPr bwMode="auto">
              <a:xfrm>
                <a:off x="139469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99" name="Sechseck 198"/>
              <p:cNvSpPr/>
              <p:nvPr/>
            </p:nvSpPr>
            <p:spPr bwMode="auto">
              <a:xfrm>
                <a:off x="1893455"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00" name="Sechseck 199"/>
              <p:cNvSpPr/>
              <p:nvPr/>
            </p:nvSpPr>
            <p:spPr bwMode="auto">
              <a:xfrm>
                <a:off x="2392220" y="217977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01" name="Sechseck 200"/>
              <p:cNvSpPr/>
              <p:nvPr/>
            </p:nvSpPr>
            <p:spPr bwMode="auto">
              <a:xfrm>
                <a:off x="2897352"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02" name="Sechseck 201"/>
              <p:cNvSpPr/>
              <p:nvPr/>
            </p:nvSpPr>
            <p:spPr bwMode="auto">
              <a:xfrm>
                <a:off x="1394690" y="218713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03" name="Sechseck 202"/>
              <p:cNvSpPr/>
              <p:nvPr/>
            </p:nvSpPr>
            <p:spPr bwMode="auto">
              <a:xfrm>
                <a:off x="888998"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04" name="Sechseck 203"/>
              <p:cNvSpPr/>
              <p:nvPr/>
            </p:nvSpPr>
            <p:spPr bwMode="auto">
              <a:xfrm>
                <a:off x="386078" y="329117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05" name="Sechseck 204"/>
              <p:cNvSpPr/>
              <p:nvPr/>
            </p:nvSpPr>
            <p:spPr bwMode="auto">
              <a:xfrm>
                <a:off x="386078" y="384536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06" name="Sechseck 205"/>
              <p:cNvSpPr/>
              <p:nvPr/>
            </p:nvSpPr>
            <p:spPr bwMode="auto">
              <a:xfrm>
                <a:off x="888998"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07" name="Sechseck 206"/>
              <p:cNvSpPr/>
              <p:nvPr/>
            </p:nvSpPr>
            <p:spPr bwMode="auto">
              <a:xfrm>
                <a:off x="1394690" y="495069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08" name="Sechseck 207"/>
              <p:cNvSpPr/>
              <p:nvPr/>
            </p:nvSpPr>
            <p:spPr bwMode="auto">
              <a:xfrm>
                <a:off x="2404843" y="494919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09" name="Sechseck 208"/>
              <p:cNvSpPr/>
              <p:nvPr/>
            </p:nvSpPr>
            <p:spPr bwMode="auto">
              <a:xfrm>
                <a:off x="2897352" y="46736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10" name="Sechseck 209"/>
              <p:cNvSpPr/>
              <p:nvPr/>
            </p:nvSpPr>
            <p:spPr bwMode="auto">
              <a:xfrm>
                <a:off x="3400272" y="384232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11" name="Sechseck 210"/>
              <p:cNvSpPr/>
              <p:nvPr/>
            </p:nvSpPr>
            <p:spPr bwMode="auto">
              <a:xfrm>
                <a:off x="3400272" y="32865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12" name="Sechseck 211"/>
              <p:cNvSpPr/>
              <p:nvPr/>
            </p:nvSpPr>
            <p:spPr bwMode="auto">
              <a:xfrm>
                <a:off x="3400272" y="273092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sp>
        <p:nvSpPr>
          <p:cNvPr id="214" name="Freihandform 213"/>
          <p:cNvSpPr/>
          <p:nvPr/>
        </p:nvSpPr>
        <p:spPr bwMode="auto">
          <a:xfrm flipV="1">
            <a:off x="411480" y="2331283"/>
            <a:ext cx="1367559" cy="350015"/>
          </a:xfrm>
          <a:custGeom>
            <a:avLst/>
            <a:gdLst>
              <a:gd name="connsiteX0" fmla="*/ 0 w 1203960"/>
              <a:gd name="connsiteY0" fmla="*/ 0 h 243840"/>
              <a:gd name="connsiteX1" fmla="*/ 670560 w 1203960"/>
              <a:gd name="connsiteY1" fmla="*/ 0 h 243840"/>
              <a:gd name="connsiteX2" fmla="*/ 1203960 w 1203960"/>
              <a:gd name="connsiteY2" fmla="*/ 243840 h 243840"/>
              <a:gd name="connsiteX0" fmla="*/ 0 w 1234440"/>
              <a:gd name="connsiteY0" fmla="*/ 0 h 160020"/>
              <a:gd name="connsiteX1" fmla="*/ 670560 w 1234440"/>
              <a:gd name="connsiteY1" fmla="*/ 0 h 160020"/>
              <a:gd name="connsiteX2" fmla="*/ 1234440 w 1234440"/>
              <a:gd name="connsiteY2" fmla="*/ 160020 h 160020"/>
            </a:gdLst>
            <a:ahLst/>
            <a:cxnLst>
              <a:cxn ang="0">
                <a:pos x="connsiteX0" y="connsiteY0"/>
              </a:cxn>
              <a:cxn ang="0">
                <a:pos x="connsiteX1" y="connsiteY1"/>
              </a:cxn>
              <a:cxn ang="0">
                <a:pos x="connsiteX2" y="connsiteY2"/>
              </a:cxn>
            </a:cxnLst>
            <a:rect l="l" t="t" r="r" b="b"/>
            <a:pathLst>
              <a:path w="1234440" h="160020">
                <a:moveTo>
                  <a:pt x="0" y="0"/>
                </a:moveTo>
                <a:lnTo>
                  <a:pt x="670560" y="0"/>
                </a:lnTo>
                <a:lnTo>
                  <a:pt x="1234440" y="160020"/>
                </a:lnTo>
              </a:path>
            </a:pathLst>
          </a:custGeom>
          <a:noFill/>
          <a:ln w="3175"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84" name="Freihandform 483"/>
          <p:cNvSpPr/>
          <p:nvPr/>
        </p:nvSpPr>
        <p:spPr bwMode="auto">
          <a:xfrm>
            <a:off x="1558897" y="5463540"/>
            <a:ext cx="3358081" cy="439774"/>
          </a:xfrm>
          <a:custGeom>
            <a:avLst/>
            <a:gdLst>
              <a:gd name="connsiteX0" fmla="*/ 0 w 6134100"/>
              <a:gd name="connsiteY0" fmla="*/ 15240 h 15240"/>
              <a:gd name="connsiteX1" fmla="*/ 6134100 w 6134100"/>
              <a:gd name="connsiteY1" fmla="*/ 0 h 15240"/>
              <a:gd name="connsiteX2" fmla="*/ 6134100 w 6134100"/>
              <a:gd name="connsiteY2" fmla="*/ 0 h 15240"/>
              <a:gd name="connsiteX0" fmla="*/ 0 w 6134100"/>
              <a:gd name="connsiteY0" fmla="*/ 15240 h 15240"/>
              <a:gd name="connsiteX1" fmla="*/ 3009900 w 6134100"/>
              <a:gd name="connsiteY1" fmla="*/ 15240 h 15240"/>
              <a:gd name="connsiteX2" fmla="*/ 6134100 w 6134100"/>
              <a:gd name="connsiteY2" fmla="*/ 0 h 15240"/>
              <a:gd name="connsiteX3" fmla="*/ 6134100 w 6134100"/>
              <a:gd name="connsiteY3" fmla="*/ 0 h 1524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1310640 w 6134100"/>
              <a:gd name="connsiteY1" fmla="*/ 74676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495800 w 6134100"/>
              <a:gd name="connsiteY3" fmla="*/ 632460 h 1341120"/>
              <a:gd name="connsiteX4" fmla="*/ 6134100 w 6134100"/>
              <a:gd name="connsiteY4" fmla="*/ 1325880 h 1341120"/>
              <a:gd name="connsiteX5" fmla="*/ 6134100 w 6134100"/>
              <a:gd name="connsiteY5"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556760 w 6134100"/>
              <a:gd name="connsiteY3" fmla="*/ 1036320 h 1341120"/>
              <a:gd name="connsiteX4" fmla="*/ 6134100 w 6134100"/>
              <a:gd name="connsiteY4" fmla="*/ 1325880 h 1341120"/>
              <a:gd name="connsiteX5" fmla="*/ 6134100 w 6134100"/>
              <a:gd name="connsiteY5" fmla="*/ 1325880 h 1341120"/>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64"/>
              <a:gd name="connsiteX1" fmla="*/ 2987040 w 6134100"/>
              <a:gd name="connsiteY1" fmla="*/ 4 h 1341164"/>
              <a:gd name="connsiteX2" fmla="*/ 6134100 w 6134100"/>
              <a:gd name="connsiteY2" fmla="*/ 1325884 h 1341164"/>
              <a:gd name="connsiteX3" fmla="*/ 6134100 w 6134100"/>
              <a:gd name="connsiteY3" fmla="*/ 1325884 h 1341164"/>
              <a:gd name="connsiteX0" fmla="*/ 107031 w 6241131"/>
              <a:gd name="connsiteY0" fmla="*/ 1341125 h 1442766"/>
              <a:gd name="connsiteX1" fmla="*/ 262384 w 6241131"/>
              <a:gd name="connsiteY1" fmla="*/ 1344075 h 1442766"/>
              <a:gd name="connsiteX2" fmla="*/ 3094071 w 6241131"/>
              <a:gd name="connsiteY2" fmla="*/ 5 h 1442766"/>
              <a:gd name="connsiteX3" fmla="*/ 6241131 w 6241131"/>
              <a:gd name="connsiteY3" fmla="*/ 1325885 h 1442766"/>
              <a:gd name="connsiteX4" fmla="*/ 6241131 w 6241131"/>
              <a:gd name="connsiteY4" fmla="*/ 1325885 h 1442766"/>
              <a:gd name="connsiteX0" fmla="*/ 0 w 7972466"/>
              <a:gd name="connsiteY0" fmla="*/ 1405128 h 1462299"/>
              <a:gd name="connsiteX1" fmla="*/ 1993719 w 7972466"/>
              <a:gd name="connsiteY1" fmla="*/ 1344075 h 1462299"/>
              <a:gd name="connsiteX2" fmla="*/ 4825406 w 7972466"/>
              <a:gd name="connsiteY2" fmla="*/ 5 h 1462299"/>
              <a:gd name="connsiteX3" fmla="*/ 7972466 w 7972466"/>
              <a:gd name="connsiteY3" fmla="*/ 1325885 h 1462299"/>
              <a:gd name="connsiteX4" fmla="*/ 7972466 w 7972466"/>
              <a:gd name="connsiteY4" fmla="*/ 1325885 h 1462299"/>
              <a:gd name="connsiteX0" fmla="*/ 0 w 7972466"/>
              <a:gd name="connsiteY0" fmla="*/ 1405128 h 1462299"/>
              <a:gd name="connsiteX1" fmla="*/ 1993719 w 7972466"/>
              <a:gd name="connsiteY1" fmla="*/ 1344075 h 1462299"/>
              <a:gd name="connsiteX2" fmla="*/ 4825406 w 7972466"/>
              <a:gd name="connsiteY2" fmla="*/ 5 h 1462299"/>
              <a:gd name="connsiteX3" fmla="*/ 7972466 w 7972466"/>
              <a:gd name="connsiteY3" fmla="*/ 1325885 h 1462299"/>
              <a:gd name="connsiteX4" fmla="*/ 7972466 w 7972466"/>
              <a:gd name="connsiteY4" fmla="*/ 1325885 h 1462299"/>
              <a:gd name="connsiteX0" fmla="*/ 0 w 7972466"/>
              <a:gd name="connsiteY0" fmla="*/ 1405128 h 1409339"/>
              <a:gd name="connsiteX1" fmla="*/ 1993719 w 7972466"/>
              <a:gd name="connsiteY1" fmla="*/ 1344075 h 1409339"/>
              <a:gd name="connsiteX2" fmla="*/ 4825406 w 7972466"/>
              <a:gd name="connsiteY2" fmla="*/ 5 h 1409339"/>
              <a:gd name="connsiteX3" fmla="*/ 7972466 w 7972466"/>
              <a:gd name="connsiteY3" fmla="*/ 1325885 h 1409339"/>
              <a:gd name="connsiteX4" fmla="*/ 7972466 w 7972466"/>
              <a:gd name="connsiteY4" fmla="*/ 1325885 h 1409339"/>
              <a:gd name="connsiteX0" fmla="*/ 0 w 7972466"/>
              <a:gd name="connsiteY0" fmla="*/ 1405128 h 1405131"/>
              <a:gd name="connsiteX1" fmla="*/ 1993719 w 7972466"/>
              <a:gd name="connsiteY1" fmla="*/ 1344075 h 1405131"/>
              <a:gd name="connsiteX2" fmla="*/ 4825406 w 7972466"/>
              <a:gd name="connsiteY2" fmla="*/ 5 h 1405131"/>
              <a:gd name="connsiteX3" fmla="*/ 7972466 w 7972466"/>
              <a:gd name="connsiteY3" fmla="*/ 1325885 h 1405131"/>
              <a:gd name="connsiteX4" fmla="*/ 7972466 w 7972466"/>
              <a:gd name="connsiteY4" fmla="*/ 1325885 h 1405131"/>
              <a:gd name="connsiteX0" fmla="*/ 0 w 7972466"/>
              <a:gd name="connsiteY0" fmla="*/ 1355348 h 1447593"/>
              <a:gd name="connsiteX1" fmla="*/ 1993719 w 7972466"/>
              <a:gd name="connsiteY1" fmla="*/ 1344075 h 1447593"/>
              <a:gd name="connsiteX2" fmla="*/ 4825406 w 7972466"/>
              <a:gd name="connsiteY2" fmla="*/ 5 h 1447593"/>
              <a:gd name="connsiteX3" fmla="*/ 7972466 w 7972466"/>
              <a:gd name="connsiteY3" fmla="*/ 1325885 h 1447593"/>
              <a:gd name="connsiteX4" fmla="*/ 7972466 w 7972466"/>
              <a:gd name="connsiteY4" fmla="*/ 1325885 h 1447593"/>
              <a:gd name="connsiteX0" fmla="*/ 0 w 7972466"/>
              <a:gd name="connsiteY0" fmla="*/ 1355348 h 1447593"/>
              <a:gd name="connsiteX1" fmla="*/ 1993719 w 7972466"/>
              <a:gd name="connsiteY1" fmla="*/ 1344075 h 1447593"/>
              <a:gd name="connsiteX2" fmla="*/ 4825406 w 7972466"/>
              <a:gd name="connsiteY2" fmla="*/ 5 h 1447593"/>
              <a:gd name="connsiteX3" fmla="*/ 7972466 w 7972466"/>
              <a:gd name="connsiteY3" fmla="*/ 1325885 h 1447593"/>
              <a:gd name="connsiteX4" fmla="*/ 7972466 w 7972466"/>
              <a:gd name="connsiteY4" fmla="*/ 1325885 h 1447593"/>
              <a:gd name="connsiteX0" fmla="*/ 16806 w 7989272"/>
              <a:gd name="connsiteY0" fmla="*/ 1355348 h 1820552"/>
              <a:gd name="connsiteX1" fmla="*/ 223946 w 7989272"/>
              <a:gd name="connsiteY1" fmla="*/ 1820547 h 1820552"/>
              <a:gd name="connsiteX2" fmla="*/ 2010525 w 7989272"/>
              <a:gd name="connsiteY2" fmla="*/ 1344075 h 1820552"/>
              <a:gd name="connsiteX3" fmla="*/ 4842212 w 7989272"/>
              <a:gd name="connsiteY3" fmla="*/ 5 h 1820552"/>
              <a:gd name="connsiteX4" fmla="*/ 7989272 w 7989272"/>
              <a:gd name="connsiteY4" fmla="*/ 1325885 h 1820552"/>
              <a:gd name="connsiteX5" fmla="*/ 7989272 w 7989272"/>
              <a:gd name="connsiteY5" fmla="*/ 1325885 h 1820552"/>
              <a:gd name="connsiteX0" fmla="*/ 0 w 7972466"/>
              <a:gd name="connsiteY0" fmla="*/ 1355348 h 1446932"/>
              <a:gd name="connsiteX1" fmla="*/ 1993719 w 7972466"/>
              <a:gd name="connsiteY1" fmla="*/ 1344075 h 1446932"/>
              <a:gd name="connsiteX2" fmla="*/ 4825406 w 7972466"/>
              <a:gd name="connsiteY2" fmla="*/ 5 h 1446932"/>
              <a:gd name="connsiteX3" fmla="*/ 7972466 w 7972466"/>
              <a:gd name="connsiteY3" fmla="*/ 1325885 h 1446932"/>
              <a:gd name="connsiteX4" fmla="*/ 7972466 w 7972466"/>
              <a:gd name="connsiteY4" fmla="*/ 1325885 h 1446932"/>
              <a:gd name="connsiteX0" fmla="*/ 0 w 7985412"/>
              <a:gd name="connsiteY0" fmla="*/ 1405129 h 1466059"/>
              <a:gd name="connsiteX1" fmla="*/ 2006665 w 7985412"/>
              <a:gd name="connsiteY1" fmla="*/ 1344075 h 1466059"/>
              <a:gd name="connsiteX2" fmla="*/ 4838352 w 7985412"/>
              <a:gd name="connsiteY2" fmla="*/ 5 h 1466059"/>
              <a:gd name="connsiteX3" fmla="*/ 7985412 w 7985412"/>
              <a:gd name="connsiteY3" fmla="*/ 1325885 h 1466059"/>
              <a:gd name="connsiteX4" fmla="*/ 7985412 w 7985412"/>
              <a:gd name="connsiteY4" fmla="*/ 1325885 h 1466059"/>
              <a:gd name="connsiteX0" fmla="*/ 0 w 7985412"/>
              <a:gd name="connsiteY0" fmla="*/ 1405129 h 1405129"/>
              <a:gd name="connsiteX1" fmla="*/ 2006665 w 7985412"/>
              <a:gd name="connsiteY1" fmla="*/ 1344075 h 1405129"/>
              <a:gd name="connsiteX2" fmla="*/ 4838352 w 7985412"/>
              <a:gd name="connsiteY2" fmla="*/ 5 h 1405129"/>
              <a:gd name="connsiteX3" fmla="*/ 7985412 w 7985412"/>
              <a:gd name="connsiteY3" fmla="*/ 1325885 h 1405129"/>
              <a:gd name="connsiteX4" fmla="*/ 7985412 w 7985412"/>
              <a:gd name="connsiteY4" fmla="*/ 1325885 h 1405129"/>
              <a:gd name="connsiteX0" fmla="*/ 0 w 7998358"/>
              <a:gd name="connsiteY0" fmla="*/ 1348237 h 1444504"/>
              <a:gd name="connsiteX1" fmla="*/ 2019611 w 7998358"/>
              <a:gd name="connsiteY1" fmla="*/ 1344075 h 1444504"/>
              <a:gd name="connsiteX2" fmla="*/ 4851298 w 7998358"/>
              <a:gd name="connsiteY2" fmla="*/ 5 h 1444504"/>
              <a:gd name="connsiteX3" fmla="*/ 7998358 w 7998358"/>
              <a:gd name="connsiteY3" fmla="*/ 1325885 h 1444504"/>
              <a:gd name="connsiteX4" fmla="*/ 7998358 w 7998358"/>
              <a:gd name="connsiteY4" fmla="*/ 1325885 h 1444504"/>
              <a:gd name="connsiteX0" fmla="*/ 0 w 7998358"/>
              <a:gd name="connsiteY0" fmla="*/ 1348237 h 1446121"/>
              <a:gd name="connsiteX1" fmla="*/ 2019611 w 7998358"/>
              <a:gd name="connsiteY1" fmla="*/ 1344075 h 1446121"/>
              <a:gd name="connsiteX2" fmla="*/ 4851298 w 7998358"/>
              <a:gd name="connsiteY2" fmla="*/ 5 h 1446121"/>
              <a:gd name="connsiteX3" fmla="*/ 7998358 w 7998358"/>
              <a:gd name="connsiteY3" fmla="*/ 1325885 h 1446121"/>
              <a:gd name="connsiteX4" fmla="*/ 7998358 w 7998358"/>
              <a:gd name="connsiteY4" fmla="*/ 1325885 h 1446121"/>
              <a:gd name="connsiteX0" fmla="*/ 0 w 7998358"/>
              <a:gd name="connsiteY0" fmla="*/ 1348237 h 1354980"/>
              <a:gd name="connsiteX1" fmla="*/ 2019611 w 7998358"/>
              <a:gd name="connsiteY1" fmla="*/ 1344075 h 1354980"/>
              <a:gd name="connsiteX2" fmla="*/ 4851298 w 7998358"/>
              <a:gd name="connsiteY2" fmla="*/ 5 h 1354980"/>
              <a:gd name="connsiteX3" fmla="*/ 7998358 w 7998358"/>
              <a:gd name="connsiteY3" fmla="*/ 1325885 h 1354980"/>
              <a:gd name="connsiteX4" fmla="*/ 7998358 w 7998358"/>
              <a:gd name="connsiteY4" fmla="*/ 1325885 h 1354980"/>
              <a:gd name="connsiteX0" fmla="*/ 0 w 8083710"/>
              <a:gd name="connsiteY0" fmla="*/ 1348247 h 1416187"/>
              <a:gd name="connsiteX1" fmla="*/ 2019611 w 8083710"/>
              <a:gd name="connsiteY1" fmla="*/ 1344085 h 1416187"/>
              <a:gd name="connsiteX2" fmla="*/ 4851298 w 8083710"/>
              <a:gd name="connsiteY2" fmla="*/ 15 h 1416187"/>
              <a:gd name="connsiteX3" fmla="*/ 7793634 w 8083710"/>
              <a:gd name="connsiteY3" fmla="*/ 1315640 h 1416187"/>
              <a:gd name="connsiteX4" fmla="*/ 7998358 w 8083710"/>
              <a:gd name="connsiteY4" fmla="*/ 1325895 h 1416187"/>
              <a:gd name="connsiteX5" fmla="*/ 7998358 w 8083710"/>
              <a:gd name="connsiteY5" fmla="*/ 1325895 h 1416187"/>
              <a:gd name="connsiteX0" fmla="*/ 0 w 7998358"/>
              <a:gd name="connsiteY0" fmla="*/ 1348247 h 1354990"/>
              <a:gd name="connsiteX1" fmla="*/ 2019611 w 7998358"/>
              <a:gd name="connsiteY1" fmla="*/ 1344085 h 1354990"/>
              <a:gd name="connsiteX2" fmla="*/ 4851298 w 7998358"/>
              <a:gd name="connsiteY2" fmla="*/ 15 h 1354990"/>
              <a:gd name="connsiteX3" fmla="*/ 7793634 w 7998358"/>
              <a:gd name="connsiteY3" fmla="*/ 1315640 h 1354990"/>
              <a:gd name="connsiteX4" fmla="*/ 7998358 w 7998358"/>
              <a:gd name="connsiteY4" fmla="*/ 1325895 h 1354990"/>
              <a:gd name="connsiteX5" fmla="*/ 7998358 w 7998358"/>
              <a:gd name="connsiteY5" fmla="*/ 1325895 h 1354990"/>
              <a:gd name="connsiteX0" fmla="*/ 0 w 8878702"/>
              <a:gd name="connsiteY0" fmla="*/ 1348247 h 1354990"/>
              <a:gd name="connsiteX1" fmla="*/ 2019611 w 8878702"/>
              <a:gd name="connsiteY1" fmla="*/ 1344085 h 1354990"/>
              <a:gd name="connsiteX2" fmla="*/ 4851298 w 8878702"/>
              <a:gd name="connsiteY2" fmla="*/ 15 h 1354990"/>
              <a:gd name="connsiteX3" fmla="*/ 7793634 w 8878702"/>
              <a:gd name="connsiteY3" fmla="*/ 1315640 h 1354990"/>
              <a:gd name="connsiteX4" fmla="*/ 7998358 w 8878702"/>
              <a:gd name="connsiteY4" fmla="*/ 1325895 h 1354990"/>
              <a:gd name="connsiteX5" fmla="*/ 8878702 w 8878702"/>
              <a:gd name="connsiteY5" fmla="*/ 1318784 h 1354990"/>
              <a:gd name="connsiteX0" fmla="*/ 0 w 8878702"/>
              <a:gd name="connsiteY0" fmla="*/ 1348247 h 1414001"/>
              <a:gd name="connsiteX1" fmla="*/ 2019611 w 8878702"/>
              <a:gd name="connsiteY1" fmla="*/ 1344085 h 1414001"/>
              <a:gd name="connsiteX2" fmla="*/ 4851298 w 8878702"/>
              <a:gd name="connsiteY2" fmla="*/ 15 h 1414001"/>
              <a:gd name="connsiteX3" fmla="*/ 7793634 w 8878702"/>
              <a:gd name="connsiteY3" fmla="*/ 1315640 h 1414001"/>
              <a:gd name="connsiteX4" fmla="*/ 8878702 w 8878702"/>
              <a:gd name="connsiteY4" fmla="*/ 1318784 h 1414001"/>
              <a:gd name="connsiteX0" fmla="*/ 0 w 9875562"/>
              <a:gd name="connsiteY0" fmla="*/ 1348247 h 1414001"/>
              <a:gd name="connsiteX1" fmla="*/ 2019611 w 9875562"/>
              <a:gd name="connsiteY1" fmla="*/ 1344085 h 1414001"/>
              <a:gd name="connsiteX2" fmla="*/ 4851298 w 9875562"/>
              <a:gd name="connsiteY2" fmla="*/ 15 h 1414001"/>
              <a:gd name="connsiteX3" fmla="*/ 7793634 w 9875562"/>
              <a:gd name="connsiteY3" fmla="*/ 1315640 h 1414001"/>
              <a:gd name="connsiteX4" fmla="*/ 9875562 w 9875562"/>
              <a:gd name="connsiteY4" fmla="*/ 1318784 h 1414001"/>
              <a:gd name="connsiteX0" fmla="*/ 0 w 9875562"/>
              <a:gd name="connsiteY0" fmla="*/ 1348374 h 1374793"/>
              <a:gd name="connsiteX1" fmla="*/ 2019611 w 9875562"/>
              <a:gd name="connsiteY1" fmla="*/ 1344212 h 1374793"/>
              <a:gd name="connsiteX2" fmla="*/ 4851298 w 9875562"/>
              <a:gd name="connsiteY2" fmla="*/ 142 h 1374793"/>
              <a:gd name="connsiteX3" fmla="*/ 7534709 w 9875562"/>
              <a:gd name="connsiteY3" fmla="*/ 1258875 h 1374793"/>
              <a:gd name="connsiteX4" fmla="*/ 9875562 w 9875562"/>
              <a:gd name="connsiteY4" fmla="*/ 1318911 h 1374793"/>
              <a:gd name="connsiteX0" fmla="*/ 0 w 9875562"/>
              <a:gd name="connsiteY0" fmla="*/ 1348350 h 1374769"/>
              <a:gd name="connsiteX1" fmla="*/ 2019611 w 9875562"/>
              <a:gd name="connsiteY1" fmla="*/ 1344188 h 1374769"/>
              <a:gd name="connsiteX2" fmla="*/ 4851298 w 9875562"/>
              <a:gd name="connsiteY2" fmla="*/ 118 h 1374769"/>
              <a:gd name="connsiteX3" fmla="*/ 7534709 w 9875562"/>
              <a:gd name="connsiteY3" fmla="*/ 1258851 h 1374769"/>
              <a:gd name="connsiteX4" fmla="*/ 9875562 w 9875562"/>
              <a:gd name="connsiteY4" fmla="*/ 1318887 h 1374769"/>
              <a:gd name="connsiteX0" fmla="*/ 0 w 9875562"/>
              <a:gd name="connsiteY0" fmla="*/ 1348368 h 1374787"/>
              <a:gd name="connsiteX1" fmla="*/ 2019611 w 9875562"/>
              <a:gd name="connsiteY1" fmla="*/ 1344206 h 1374787"/>
              <a:gd name="connsiteX2" fmla="*/ 4851298 w 9875562"/>
              <a:gd name="connsiteY2" fmla="*/ 136 h 1374787"/>
              <a:gd name="connsiteX3" fmla="*/ 7534709 w 9875562"/>
              <a:gd name="connsiteY3" fmla="*/ 1258869 h 1374787"/>
              <a:gd name="connsiteX4" fmla="*/ 9875562 w 9875562"/>
              <a:gd name="connsiteY4" fmla="*/ 1318905 h 1374787"/>
              <a:gd name="connsiteX0" fmla="*/ 0 w 9875562"/>
              <a:gd name="connsiteY0" fmla="*/ 1348352 h 1355095"/>
              <a:gd name="connsiteX1" fmla="*/ 2019611 w 9875562"/>
              <a:gd name="connsiteY1" fmla="*/ 1344190 h 1355095"/>
              <a:gd name="connsiteX2" fmla="*/ 4851298 w 9875562"/>
              <a:gd name="connsiteY2" fmla="*/ 120 h 1355095"/>
              <a:gd name="connsiteX3" fmla="*/ 7534709 w 9875562"/>
              <a:gd name="connsiteY3" fmla="*/ 1258853 h 1355095"/>
              <a:gd name="connsiteX4" fmla="*/ 9875562 w 9875562"/>
              <a:gd name="connsiteY4" fmla="*/ 1318889 h 1355095"/>
              <a:gd name="connsiteX0" fmla="*/ 0 w 9875562"/>
              <a:gd name="connsiteY0" fmla="*/ 1348352 h 1355095"/>
              <a:gd name="connsiteX1" fmla="*/ 2019611 w 9875562"/>
              <a:gd name="connsiteY1" fmla="*/ 1344190 h 1355095"/>
              <a:gd name="connsiteX2" fmla="*/ 4851298 w 9875562"/>
              <a:gd name="connsiteY2" fmla="*/ 120 h 1355095"/>
              <a:gd name="connsiteX3" fmla="*/ 7534709 w 9875562"/>
              <a:gd name="connsiteY3" fmla="*/ 1258853 h 1355095"/>
              <a:gd name="connsiteX4" fmla="*/ 9875562 w 9875562"/>
              <a:gd name="connsiteY4" fmla="*/ 1318889 h 1355095"/>
              <a:gd name="connsiteX0" fmla="*/ 0 w 9875562"/>
              <a:gd name="connsiteY0" fmla="*/ 1348351 h 1355094"/>
              <a:gd name="connsiteX1" fmla="*/ 2019611 w 9875562"/>
              <a:gd name="connsiteY1" fmla="*/ 1344189 h 1355094"/>
              <a:gd name="connsiteX2" fmla="*/ 4851298 w 9875562"/>
              <a:gd name="connsiteY2" fmla="*/ 119 h 1355094"/>
              <a:gd name="connsiteX3" fmla="*/ 7534709 w 9875562"/>
              <a:gd name="connsiteY3" fmla="*/ 1258852 h 1355094"/>
              <a:gd name="connsiteX4" fmla="*/ 9875562 w 9875562"/>
              <a:gd name="connsiteY4" fmla="*/ 1318888 h 1355094"/>
              <a:gd name="connsiteX0" fmla="*/ 0 w 9849670"/>
              <a:gd name="connsiteY0" fmla="*/ 1348373 h 1355116"/>
              <a:gd name="connsiteX1" fmla="*/ 2019611 w 9849670"/>
              <a:gd name="connsiteY1" fmla="*/ 1344211 h 1355116"/>
              <a:gd name="connsiteX2" fmla="*/ 4851298 w 9849670"/>
              <a:gd name="connsiteY2" fmla="*/ 141 h 1355116"/>
              <a:gd name="connsiteX3" fmla="*/ 7534709 w 9849670"/>
              <a:gd name="connsiteY3" fmla="*/ 1258874 h 1355116"/>
              <a:gd name="connsiteX4" fmla="*/ 9849670 w 9849670"/>
              <a:gd name="connsiteY4" fmla="*/ 1262018 h 1355116"/>
              <a:gd name="connsiteX0" fmla="*/ 0 w 9849670"/>
              <a:gd name="connsiteY0" fmla="*/ 1348353 h 1355096"/>
              <a:gd name="connsiteX1" fmla="*/ 2019611 w 9849670"/>
              <a:gd name="connsiteY1" fmla="*/ 1344191 h 1355096"/>
              <a:gd name="connsiteX2" fmla="*/ 4851298 w 9849670"/>
              <a:gd name="connsiteY2" fmla="*/ 121 h 1355096"/>
              <a:gd name="connsiteX3" fmla="*/ 7534709 w 9849670"/>
              <a:gd name="connsiteY3" fmla="*/ 1258854 h 1355096"/>
              <a:gd name="connsiteX4" fmla="*/ 9849670 w 9849670"/>
              <a:gd name="connsiteY4" fmla="*/ 1261998 h 1355096"/>
              <a:gd name="connsiteX0" fmla="*/ 0 w 8807411"/>
              <a:gd name="connsiteY0" fmla="*/ 1356118 h 1448949"/>
              <a:gd name="connsiteX1" fmla="*/ 977352 w 8807411"/>
              <a:gd name="connsiteY1" fmla="*/ 1344191 h 1448949"/>
              <a:gd name="connsiteX2" fmla="*/ 3809039 w 8807411"/>
              <a:gd name="connsiteY2" fmla="*/ 121 h 1448949"/>
              <a:gd name="connsiteX3" fmla="*/ 6492450 w 8807411"/>
              <a:gd name="connsiteY3" fmla="*/ 1258854 h 1448949"/>
              <a:gd name="connsiteX4" fmla="*/ 8807411 w 8807411"/>
              <a:gd name="connsiteY4" fmla="*/ 1261998 h 1448949"/>
              <a:gd name="connsiteX0" fmla="*/ 0 w 8807411"/>
              <a:gd name="connsiteY0" fmla="*/ 1356118 h 1356118"/>
              <a:gd name="connsiteX1" fmla="*/ 977352 w 8807411"/>
              <a:gd name="connsiteY1" fmla="*/ 1344191 h 1356118"/>
              <a:gd name="connsiteX2" fmla="*/ 3809039 w 8807411"/>
              <a:gd name="connsiteY2" fmla="*/ 121 h 1356118"/>
              <a:gd name="connsiteX3" fmla="*/ 6492450 w 8807411"/>
              <a:gd name="connsiteY3" fmla="*/ 1258854 h 1356118"/>
              <a:gd name="connsiteX4" fmla="*/ 8807411 w 8807411"/>
              <a:gd name="connsiteY4" fmla="*/ 1261998 h 1356118"/>
              <a:gd name="connsiteX0" fmla="*/ 0 w 7554359"/>
              <a:gd name="connsiteY0" fmla="*/ 1356138 h 1356138"/>
              <a:gd name="connsiteX1" fmla="*/ 977352 w 7554359"/>
              <a:gd name="connsiteY1" fmla="*/ 1344211 h 1356138"/>
              <a:gd name="connsiteX2" fmla="*/ 3809039 w 7554359"/>
              <a:gd name="connsiteY2" fmla="*/ 141 h 1356138"/>
              <a:gd name="connsiteX3" fmla="*/ 6492450 w 7554359"/>
              <a:gd name="connsiteY3" fmla="*/ 1258874 h 1356138"/>
              <a:gd name="connsiteX4" fmla="*/ 7554359 w 7554359"/>
              <a:gd name="connsiteY4" fmla="*/ 1262018 h 1356138"/>
              <a:gd name="connsiteX0" fmla="*/ 0 w 7554359"/>
              <a:gd name="connsiteY0" fmla="*/ 1356117 h 1356117"/>
              <a:gd name="connsiteX1" fmla="*/ 977352 w 7554359"/>
              <a:gd name="connsiteY1" fmla="*/ 1344190 h 1356117"/>
              <a:gd name="connsiteX2" fmla="*/ 3809039 w 7554359"/>
              <a:gd name="connsiteY2" fmla="*/ 120 h 1356117"/>
              <a:gd name="connsiteX3" fmla="*/ 6492450 w 7554359"/>
              <a:gd name="connsiteY3" fmla="*/ 1258853 h 1356117"/>
              <a:gd name="connsiteX4" fmla="*/ 7554359 w 7554359"/>
              <a:gd name="connsiteY4" fmla="*/ 1261997 h 1356117"/>
              <a:gd name="connsiteX0" fmla="*/ 0 w 7554359"/>
              <a:gd name="connsiteY0" fmla="*/ 1356117 h 1356117"/>
              <a:gd name="connsiteX1" fmla="*/ 977352 w 7554359"/>
              <a:gd name="connsiteY1" fmla="*/ 1344190 h 1356117"/>
              <a:gd name="connsiteX2" fmla="*/ 3809039 w 7554359"/>
              <a:gd name="connsiteY2" fmla="*/ 120 h 1356117"/>
              <a:gd name="connsiteX3" fmla="*/ 6492450 w 7554359"/>
              <a:gd name="connsiteY3" fmla="*/ 1258853 h 1356117"/>
              <a:gd name="connsiteX4" fmla="*/ 7554359 w 7554359"/>
              <a:gd name="connsiteY4" fmla="*/ 1261997 h 1356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54359" h="1356117">
                <a:moveTo>
                  <a:pt x="0" y="1356117"/>
                </a:moveTo>
                <a:lnTo>
                  <a:pt x="977352" y="1344190"/>
                </a:lnTo>
                <a:cubicBezTo>
                  <a:pt x="2631030" y="1327826"/>
                  <a:pt x="2889856" y="14343"/>
                  <a:pt x="3809039" y="120"/>
                </a:cubicBezTo>
                <a:cubicBezTo>
                  <a:pt x="4728222" y="-14103"/>
                  <a:pt x="4968500" y="1242611"/>
                  <a:pt x="6492450" y="1258853"/>
                </a:cubicBezTo>
                <a:lnTo>
                  <a:pt x="7554359" y="1261997"/>
                </a:lnTo>
              </a:path>
            </a:pathLst>
          </a:custGeom>
          <a:noFill/>
          <a:ln w="12700" cap="flat" cmpd="sng" algn="ctr">
            <a:solidFill>
              <a:srgbClr val="66CCFF"/>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94" name="Textfeld 493"/>
          <p:cNvSpPr txBox="1"/>
          <p:nvPr/>
        </p:nvSpPr>
        <p:spPr>
          <a:xfrm>
            <a:off x="7165886" y="3724546"/>
            <a:ext cx="733425" cy="400050"/>
          </a:xfrm>
          <a:prstGeom prst="rect">
            <a:avLst/>
          </a:prstGeom>
          <a:noFill/>
        </p:spPr>
        <p:txBody>
          <a:bodyPr wrap="none" rtlCol="0">
            <a:noAutofit/>
          </a:bodyPr>
          <a:lstStyle/>
          <a:p>
            <a:pPr eaLnBrk="0" fontAlgn="base" hangingPunct="0">
              <a:spcBef>
                <a:spcPct val="0"/>
              </a:spcBef>
              <a:spcAft>
                <a:spcPct val="0"/>
              </a:spcAft>
            </a:pPr>
            <a:r>
              <a:rPr lang="en-US" sz="1200" dirty="0">
                <a:solidFill>
                  <a:srgbClr val="000000"/>
                </a:solidFill>
              </a:rPr>
              <a:t>scan</a:t>
            </a:r>
          </a:p>
        </p:txBody>
      </p:sp>
      <p:sp>
        <p:nvSpPr>
          <p:cNvPr id="495" name="Textfeld 494"/>
          <p:cNvSpPr txBox="1"/>
          <p:nvPr/>
        </p:nvSpPr>
        <p:spPr>
          <a:xfrm>
            <a:off x="7165886" y="6006811"/>
            <a:ext cx="733425" cy="400050"/>
          </a:xfrm>
          <a:prstGeom prst="rect">
            <a:avLst/>
          </a:prstGeom>
          <a:noFill/>
        </p:spPr>
        <p:txBody>
          <a:bodyPr wrap="none" rtlCol="0">
            <a:noAutofit/>
          </a:bodyPr>
          <a:lstStyle/>
          <a:p>
            <a:pPr eaLnBrk="0" fontAlgn="base" hangingPunct="0">
              <a:spcBef>
                <a:spcPct val="0"/>
              </a:spcBef>
              <a:spcAft>
                <a:spcPct val="0"/>
              </a:spcAft>
            </a:pPr>
            <a:r>
              <a:rPr lang="en-US" sz="1200" dirty="0">
                <a:solidFill>
                  <a:srgbClr val="000000"/>
                </a:solidFill>
              </a:rPr>
              <a:t>scan</a:t>
            </a:r>
          </a:p>
        </p:txBody>
      </p:sp>
      <p:sp>
        <p:nvSpPr>
          <p:cNvPr id="506" name="Sechseck 505"/>
          <p:cNvSpPr/>
          <p:nvPr/>
        </p:nvSpPr>
        <p:spPr bwMode="auto">
          <a:xfrm>
            <a:off x="734134" y="3053352"/>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cxnSp>
        <p:nvCxnSpPr>
          <p:cNvPr id="60" name="Gerade Verbindung mit Pfeil 59"/>
          <p:cNvCxnSpPr>
            <a:endCxn id="506" idx="3"/>
          </p:cNvCxnSpPr>
          <p:nvPr/>
        </p:nvCxnSpPr>
        <p:spPr bwMode="auto">
          <a:xfrm>
            <a:off x="450321" y="3131662"/>
            <a:ext cx="283813" cy="0"/>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5" name="Gerade Verbindung mit Pfeil 64"/>
          <p:cNvCxnSpPr>
            <a:endCxn id="506" idx="0"/>
          </p:cNvCxnSpPr>
          <p:nvPr/>
        </p:nvCxnSpPr>
        <p:spPr bwMode="auto">
          <a:xfrm flipH="1">
            <a:off x="915814" y="3131662"/>
            <a:ext cx="313638" cy="0"/>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 name="TextBox 7"/>
          <p:cNvSpPr txBox="1"/>
          <p:nvPr/>
        </p:nvSpPr>
        <p:spPr>
          <a:xfrm>
            <a:off x="767389" y="934067"/>
            <a:ext cx="903498" cy="216976"/>
          </a:xfrm>
          <a:prstGeom prst="rect">
            <a:avLst/>
          </a:prstGeom>
          <a:noFill/>
        </p:spPr>
        <p:txBody>
          <a:bodyPr wrap="square" rtlCol="0">
            <a:noAutofit/>
          </a:bodyPr>
          <a:lstStyle/>
          <a:p>
            <a:pPr eaLnBrk="0" fontAlgn="base" hangingPunct="0">
              <a:spcBef>
                <a:spcPct val="0"/>
              </a:spcBef>
              <a:spcAft>
                <a:spcPct val="0"/>
              </a:spcAft>
            </a:pPr>
            <a:endParaRPr lang="en-GB" sz="1600" dirty="0">
              <a:solidFill>
                <a:srgbClr val="FF0000"/>
              </a:solidFill>
            </a:endParaRPr>
          </a:p>
        </p:txBody>
      </p:sp>
      <p:sp>
        <p:nvSpPr>
          <p:cNvPr id="396" name="Textfeld 492"/>
          <p:cNvSpPr txBox="1"/>
          <p:nvPr/>
        </p:nvSpPr>
        <p:spPr>
          <a:xfrm>
            <a:off x="5897898" y="1572600"/>
            <a:ext cx="2797817" cy="618173"/>
          </a:xfrm>
          <a:prstGeom prst="rect">
            <a:avLst/>
          </a:prstGeom>
          <a:noFill/>
        </p:spPr>
        <p:txBody>
          <a:bodyPr wrap="none" rtlCol="0">
            <a:noAutofit/>
          </a:bodyPr>
          <a:lstStyle/>
          <a:p>
            <a:pPr eaLnBrk="0" fontAlgn="base" hangingPunct="0">
              <a:spcBef>
                <a:spcPct val="0"/>
              </a:spcBef>
              <a:spcAft>
                <a:spcPct val="0"/>
              </a:spcAft>
            </a:pPr>
            <a:r>
              <a:rPr lang="en-US" sz="1400" dirty="0">
                <a:solidFill>
                  <a:srgbClr val="000000"/>
                </a:solidFill>
              </a:rPr>
              <a:t>Image formation:</a:t>
            </a:r>
          </a:p>
          <a:p>
            <a:pPr eaLnBrk="0" fontAlgn="base" hangingPunct="0">
              <a:spcBef>
                <a:spcPct val="0"/>
              </a:spcBef>
              <a:spcAft>
                <a:spcPct val="0"/>
              </a:spcAft>
            </a:pPr>
            <a:r>
              <a:rPr lang="en-US" sz="1400" dirty="0">
                <a:solidFill>
                  <a:srgbClr val="000000"/>
                </a:solidFill>
              </a:rPr>
              <a:t>1 = Offset signal</a:t>
            </a:r>
          </a:p>
          <a:p>
            <a:pPr eaLnBrk="0" fontAlgn="base" hangingPunct="0">
              <a:spcBef>
                <a:spcPct val="0"/>
              </a:spcBef>
              <a:spcAft>
                <a:spcPct val="0"/>
              </a:spcAft>
            </a:pPr>
            <a:r>
              <a:rPr lang="en-US" sz="1400" dirty="0">
                <a:solidFill>
                  <a:srgbClr val="000000"/>
                </a:solidFill>
              </a:rPr>
              <a:t>2 = Add signal</a:t>
            </a:r>
          </a:p>
        </p:txBody>
      </p:sp>
      <p:grpSp>
        <p:nvGrpSpPr>
          <p:cNvPr id="855" name="Gruppieren 1027"/>
          <p:cNvGrpSpPr/>
          <p:nvPr/>
        </p:nvGrpSpPr>
        <p:grpSpPr>
          <a:xfrm>
            <a:off x="3823748" y="1518801"/>
            <a:ext cx="1110090" cy="942393"/>
            <a:chOff x="7587534" y="2619677"/>
            <a:chExt cx="1110090" cy="942393"/>
          </a:xfrm>
        </p:grpSpPr>
        <p:sp>
          <p:nvSpPr>
            <p:cNvPr id="856" name="Ellipse 138"/>
            <p:cNvSpPr/>
            <p:nvPr/>
          </p:nvSpPr>
          <p:spPr bwMode="auto">
            <a:xfrm flipV="1">
              <a:off x="7684997" y="2646906"/>
              <a:ext cx="915164" cy="915164"/>
            </a:xfrm>
            <a:prstGeom prst="ellipse">
              <a:avLst/>
            </a:prstGeom>
            <a:gradFill flip="none" rotWithShape="1">
              <a:gsLst>
                <a:gs pos="0">
                  <a:srgbClr val="66CCFF">
                    <a:tint val="66000"/>
                    <a:satMod val="160000"/>
                  </a:srgbClr>
                </a:gs>
                <a:gs pos="34000">
                  <a:srgbClr val="66CCFF">
                    <a:tint val="44500"/>
                    <a:satMod val="160000"/>
                    <a:alpha val="61000"/>
                  </a:srgbClr>
                </a:gs>
                <a:gs pos="58000">
                  <a:srgbClr val="66CCFF">
                    <a:tint val="23500"/>
                    <a:satMod val="160000"/>
                    <a:alpha val="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57" name="Freihandform 65"/>
            <p:cNvSpPr/>
            <p:nvPr/>
          </p:nvSpPr>
          <p:spPr bwMode="auto">
            <a:xfrm>
              <a:off x="7587534" y="2619677"/>
              <a:ext cx="1110090" cy="774383"/>
            </a:xfrm>
            <a:custGeom>
              <a:avLst/>
              <a:gdLst>
                <a:gd name="connsiteX0" fmla="*/ 0 w 4119418"/>
                <a:gd name="connsiteY0" fmla="*/ 1341527 h 1396945"/>
                <a:gd name="connsiteX1" fmla="*/ 775854 w 4119418"/>
                <a:gd name="connsiteY1" fmla="*/ 1202981 h 1396945"/>
                <a:gd name="connsiteX2" fmla="*/ 1477818 w 4119418"/>
                <a:gd name="connsiteY2" fmla="*/ 279345 h 1396945"/>
                <a:gd name="connsiteX3" fmla="*/ 1911927 w 4119418"/>
                <a:gd name="connsiteY3" fmla="*/ 20727 h 1396945"/>
                <a:gd name="connsiteX4" fmla="*/ 2401454 w 4119418"/>
                <a:gd name="connsiteY4" fmla="*/ 113090 h 1396945"/>
                <a:gd name="connsiteX5" fmla="*/ 2992582 w 4119418"/>
                <a:gd name="connsiteY5" fmla="*/ 879709 h 1396945"/>
                <a:gd name="connsiteX6" fmla="*/ 3445163 w 4119418"/>
                <a:gd name="connsiteY6" fmla="*/ 1286109 h 1396945"/>
                <a:gd name="connsiteX7" fmla="*/ 4119418 w 4119418"/>
                <a:gd name="connsiteY7" fmla="*/ 1396945 h 1396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9418" h="1396945">
                  <a:moveTo>
                    <a:pt x="0" y="1341527"/>
                  </a:moveTo>
                  <a:cubicBezTo>
                    <a:pt x="264775" y="1360769"/>
                    <a:pt x="529551" y="1380011"/>
                    <a:pt x="775854" y="1202981"/>
                  </a:cubicBezTo>
                  <a:cubicBezTo>
                    <a:pt x="1022157" y="1025951"/>
                    <a:pt x="1288473" y="476387"/>
                    <a:pt x="1477818" y="279345"/>
                  </a:cubicBezTo>
                  <a:cubicBezTo>
                    <a:pt x="1667164" y="82303"/>
                    <a:pt x="1757988" y="48436"/>
                    <a:pt x="1911927" y="20727"/>
                  </a:cubicBezTo>
                  <a:cubicBezTo>
                    <a:pt x="2065866" y="-6982"/>
                    <a:pt x="2221345" y="-30074"/>
                    <a:pt x="2401454" y="113090"/>
                  </a:cubicBezTo>
                  <a:cubicBezTo>
                    <a:pt x="2581563" y="256254"/>
                    <a:pt x="2818631" y="684206"/>
                    <a:pt x="2992582" y="879709"/>
                  </a:cubicBezTo>
                  <a:cubicBezTo>
                    <a:pt x="3166534" y="1075212"/>
                    <a:pt x="3257357" y="1199903"/>
                    <a:pt x="3445163" y="1286109"/>
                  </a:cubicBezTo>
                  <a:cubicBezTo>
                    <a:pt x="3632969" y="1372315"/>
                    <a:pt x="3876193" y="1384630"/>
                    <a:pt x="4119418" y="1396945"/>
                  </a:cubicBezTo>
                </a:path>
              </a:pathLst>
            </a:custGeom>
            <a:noFill/>
            <a:ln w="3175" cap="flat" cmpd="sng" algn="ctr">
              <a:solidFill>
                <a:schemeClr val="tx1"/>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858" name="Ellipse 30"/>
            <p:cNvSpPr/>
            <p:nvPr/>
          </p:nvSpPr>
          <p:spPr bwMode="auto">
            <a:xfrm flipV="1">
              <a:off x="8044026" y="3006869"/>
              <a:ext cx="175464" cy="175464"/>
            </a:xfrm>
            <a:prstGeom prst="ellipse">
              <a:avLst/>
            </a:prstGeom>
            <a:solidFill>
              <a:srgbClr val="66CCFF"/>
            </a:solidFill>
            <a:ln w="3175" cap="flat" cmpd="sng" algn="ctr">
              <a:solidFill>
                <a:srgbClr val="0070C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nvGrpSpPr>
          <p:cNvPr id="859" name="Gruppieren 13"/>
          <p:cNvGrpSpPr/>
          <p:nvPr/>
        </p:nvGrpSpPr>
        <p:grpSpPr>
          <a:xfrm>
            <a:off x="3646868" y="2316480"/>
            <a:ext cx="1466152" cy="114300"/>
            <a:chOff x="3646868" y="2202180"/>
            <a:chExt cx="1466152" cy="114300"/>
          </a:xfrm>
        </p:grpSpPr>
        <p:cxnSp>
          <p:nvCxnSpPr>
            <p:cNvPr id="860" name="Gerade Verbindung 6"/>
            <p:cNvCxnSpPr/>
            <p:nvPr/>
          </p:nvCxnSpPr>
          <p:spPr bwMode="auto">
            <a:xfrm>
              <a:off x="3646868" y="2263140"/>
              <a:ext cx="1466152" cy="0"/>
            </a:xfrm>
            <a:prstGeom prst="line">
              <a:avLst/>
            </a:prstGeom>
            <a:solidFill>
              <a:schemeClr val="folHlink"/>
            </a:solidFill>
            <a:ln w="3175" cap="flat" cmpd="sng" algn="ctr">
              <a:solidFill>
                <a:schemeClr val="folHlink"/>
              </a:solidFill>
              <a:prstDash val="solid"/>
              <a:round/>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861" name="Gruppieren 12"/>
            <p:cNvGrpSpPr/>
            <p:nvPr/>
          </p:nvGrpSpPr>
          <p:grpSpPr>
            <a:xfrm>
              <a:off x="3806888" y="2202180"/>
              <a:ext cx="1110090" cy="114300"/>
              <a:chOff x="3806888" y="2148840"/>
              <a:chExt cx="1110090" cy="266700"/>
            </a:xfrm>
          </p:grpSpPr>
          <p:cxnSp>
            <p:nvCxnSpPr>
              <p:cNvPr id="862" name="Gerade Verbindung 22"/>
              <p:cNvCxnSpPr/>
              <p:nvPr/>
            </p:nvCxnSpPr>
            <p:spPr bwMode="auto">
              <a:xfrm flipV="1">
                <a:off x="3806888"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63" name="Gerade Verbindung 24"/>
              <p:cNvCxnSpPr/>
              <p:nvPr/>
            </p:nvCxnSpPr>
            <p:spPr bwMode="auto">
              <a:xfrm flipV="1">
                <a:off x="3991903"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64" name="Gerade Verbindung 25"/>
              <p:cNvCxnSpPr/>
              <p:nvPr/>
            </p:nvCxnSpPr>
            <p:spPr bwMode="auto">
              <a:xfrm flipV="1">
                <a:off x="4176918"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65" name="Gerade Verbindung 26"/>
              <p:cNvCxnSpPr/>
              <p:nvPr/>
            </p:nvCxnSpPr>
            <p:spPr bwMode="auto">
              <a:xfrm flipV="1">
                <a:off x="4361933"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66" name="Gerade Verbindung 27"/>
              <p:cNvCxnSpPr/>
              <p:nvPr/>
            </p:nvCxnSpPr>
            <p:spPr bwMode="auto">
              <a:xfrm flipV="1">
                <a:off x="4546948"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67" name="Gerade Verbindung 28"/>
              <p:cNvCxnSpPr/>
              <p:nvPr/>
            </p:nvCxnSpPr>
            <p:spPr bwMode="auto">
              <a:xfrm flipV="1">
                <a:off x="4731963"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68" name="Gerade Verbindung 29"/>
              <p:cNvCxnSpPr/>
              <p:nvPr/>
            </p:nvCxnSpPr>
            <p:spPr bwMode="auto">
              <a:xfrm flipV="1">
                <a:off x="4916978" y="2148840"/>
                <a:ext cx="0" cy="266700"/>
              </a:xfrm>
              <a:prstGeom prst="line">
                <a:avLst/>
              </a:pr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sp>
        <p:nvSpPr>
          <p:cNvPr id="499" name="Freihandform 483"/>
          <p:cNvSpPr/>
          <p:nvPr/>
        </p:nvSpPr>
        <p:spPr bwMode="auto">
          <a:xfrm>
            <a:off x="1577947" y="5463540"/>
            <a:ext cx="5564709" cy="439774"/>
          </a:xfrm>
          <a:custGeom>
            <a:avLst/>
            <a:gdLst>
              <a:gd name="connsiteX0" fmla="*/ 0 w 6134100"/>
              <a:gd name="connsiteY0" fmla="*/ 15240 h 15240"/>
              <a:gd name="connsiteX1" fmla="*/ 6134100 w 6134100"/>
              <a:gd name="connsiteY1" fmla="*/ 0 h 15240"/>
              <a:gd name="connsiteX2" fmla="*/ 6134100 w 6134100"/>
              <a:gd name="connsiteY2" fmla="*/ 0 h 15240"/>
              <a:gd name="connsiteX0" fmla="*/ 0 w 6134100"/>
              <a:gd name="connsiteY0" fmla="*/ 15240 h 15240"/>
              <a:gd name="connsiteX1" fmla="*/ 3009900 w 6134100"/>
              <a:gd name="connsiteY1" fmla="*/ 15240 h 15240"/>
              <a:gd name="connsiteX2" fmla="*/ 6134100 w 6134100"/>
              <a:gd name="connsiteY2" fmla="*/ 0 h 15240"/>
              <a:gd name="connsiteX3" fmla="*/ 6134100 w 6134100"/>
              <a:gd name="connsiteY3" fmla="*/ 0 h 1524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1310640 w 6134100"/>
              <a:gd name="connsiteY1" fmla="*/ 74676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495800 w 6134100"/>
              <a:gd name="connsiteY3" fmla="*/ 632460 h 1341120"/>
              <a:gd name="connsiteX4" fmla="*/ 6134100 w 6134100"/>
              <a:gd name="connsiteY4" fmla="*/ 1325880 h 1341120"/>
              <a:gd name="connsiteX5" fmla="*/ 6134100 w 6134100"/>
              <a:gd name="connsiteY5"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556760 w 6134100"/>
              <a:gd name="connsiteY3" fmla="*/ 1036320 h 1341120"/>
              <a:gd name="connsiteX4" fmla="*/ 6134100 w 6134100"/>
              <a:gd name="connsiteY4" fmla="*/ 1325880 h 1341120"/>
              <a:gd name="connsiteX5" fmla="*/ 6134100 w 6134100"/>
              <a:gd name="connsiteY5" fmla="*/ 1325880 h 1341120"/>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64"/>
              <a:gd name="connsiteX1" fmla="*/ 2987040 w 6134100"/>
              <a:gd name="connsiteY1" fmla="*/ 4 h 1341164"/>
              <a:gd name="connsiteX2" fmla="*/ 6134100 w 6134100"/>
              <a:gd name="connsiteY2" fmla="*/ 1325884 h 1341164"/>
              <a:gd name="connsiteX3" fmla="*/ 6134100 w 6134100"/>
              <a:gd name="connsiteY3" fmla="*/ 1325884 h 1341164"/>
              <a:gd name="connsiteX0" fmla="*/ 107031 w 6241131"/>
              <a:gd name="connsiteY0" fmla="*/ 1341125 h 1442766"/>
              <a:gd name="connsiteX1" fmla="*/ 262384 w 6241131"/>
              <a:gd name="connsiteY1" fmla="*/ 1344075 h 1442766"/>
              <a:gd name="connsiteX2" fmla="*/ 3094071 w 6241131"/>
              <a:gd name="connsiteY2" fmla="*/ 5 h 1442766"/>
              <a:gd name="connsiteX3" fmla="*/ 6241131 w 6241131"/>
              <a:gd name="connsiteY3" fmla="*/ 1325885 h 1442766"/>
              <a:gd name="connsiteX4" fmla="*/ 6241131 w 6241131"/>
              <a:gd name="connsiteY4" fmla="*/ 1325885 h 1442766"/>
              <a:gd name="connsiteX0" fmla="*/ 0 w 7972466"/>
              <a:gd name="connsiteY0" fmla="*/ 1405128 h 1462299"/>
              <a:gd name="connsiteX1" fmla="*/ 1993719 w 7972466"/>
              <a:gd name="connsiteY1" fmla="*/ 1344075 h 1462299"/>
              <a:gd name="connsiteX2" fmla="*/ 4825406 w 7972466"/>
              <a:gd name="connsiteY2" fmla="*/ 5 h 1462299"/>
              <a:gd name="connsiteX3" fmla="*/ 7972466 w 7972466"/>
              <a:gd name="connsiteY3" fmla="*/ 1325885 h 1462299"/>
              <a:gd name="connsiteX4" fmla="*/ 7972466 w 7972466"/>
              <a:gd name="connsiteY4" fmla="*/ 1325885 h 1462299"/>
              <a:gd name="connsiteX0" fmla="*/ 0 w 7972466"/>
              <a:gd name="connsiteY0" fmla="*/ 1405128 h 1462299"/>
              <a:gd name="connsiteX1" fmla="*/ 1993719 w 7972466"/>
              <a:gd name="connsiteY1" fmla="*/ 1344075 h 1462299"/>
              <a:gd name="connsiteX2" fmla="*/ 4825406 w 7972466"/>
              <a:gd name="connsiteY2" fmla="*/ 5 h 1462299"/>
              <a:gd name="connsiteX3" fmla="*/ 7972466 w 7972466"/>
              <a:gd name="connsiteY3" fmla="*/ 1325885 h 1462299"/>
              <a:gd name="connsiteX4" fmla="*/ 7972466 w 7972466"/>
              <a:gd name="connsiteY4" fmla="*/ 1325885 h 1462299"/>
              <a:gd name="connsiteX0" fmla="*/ 0 w 7972466"/>
              <a:gd name="connsiteY0" fmla="*/ 1405128 h 1409339"/>
              <a:gd name="connsiteX1" fmla="*/ 1993719 w 7972466"/>
              <a:gd name="connsiteY1" fmla="*/ 1344075 h 1409339"/>
              <a:gd name="connsiteX2" fmla="*/ 4825406 w 7972466"/>
              <a:gd name="connsiteY2" fmla="*/ 5 h 1409339"/>
              <a:gd name="connsiteX3" fmla="*/ 7972466 w 7972466"/>
              <a:gd name="connsiteY3" fmla="*/ 1325885 h 1409339"/>
              <a:gd name="connsiteX4" fmla="*/ 7972466 w 7972466"/>
              <a:gd name="connsiteY4" fmla="*/ 1325885 h 1409339"/>
              <a:gd name="connsiteX0" fmla="*/ 0 w 7972466"/>
              <a:gd name="connsiteY0" fmla="*/ 1405128 h 1405131"/>
              <a:gd name="connsiteX1" fmla="*/ 1993719 w 7972466"/>
              <a:gd name="connsiteY1" fmla="*/ 1344075 h 1405131"/>
              <a:gd name="connsiteX2" fmla="*/ 4825406 w 7972466"/>
              <a:gd name="connsiteY2" fmla="*/ 5 h 1405131"/>
              <a:gd name="connsiteX3" fmla="*/ 7972466 w 7972466"/>
              <a:gd name="connsiteY3" fmla="*/ 1325885 h 1405131"/>
              <a:gd name="connsiteX4" fmla="*/ 7972466 w 7972466"/>
              <a:gd name="connsiteY4" fmla="*/ 1325885 h 1405131"/>
              <a:gd name="connsiteX0" fmla="*/ 0 w 7972466"/>
              <a:gd name="connsiteY0" fmla="*/ 1355348 h 1447593"/>
              <a:gd name="connsiteX1" fmla="*/ 1993719 w 7972466"/>
              <a:gd name="connsiteY1" fmla="*/ 1344075 h 1447593"/>
              <a:gd name="connsiteX2" fmla="*/ 4825406 w 7972466"/>
              <a:gd name="connsiteY2" fmla="*/ 5 h 1447593"/>
              <a:gd name="connsiteX3" fmla="*/ 7972466 w 7972466"/>
              <a:gd name="connsiteY3" fmla="*/ 1325885 h 1447593"/>
              <a:gd name="connsiteX4" fmla="*/ 7972466 w 7972466"/>
              <a:gd name="connsiteY4" fmla="*/ 1325885 h 1447593"/>
              <a:gd name="connsiteX0" fmla="*/ 0 w 7972466"/>
              <a:gd name="connsiteY0" fmla="*/ 1355348 h 1447593"/>
              <a:gd name="connsiteX1" fmla="*/ 1993719 w 7972466"/>
              <a:gd name="connsiteY1" fmla="*/ 1344075 h 1447593"/>
              <a:gd name="connsiteX2" fmla="*/ 4825406 w 7972466"/>
              <a:gd name="connsiteY2" fmla="*/ 5 h 1447593"/>
              <a:gd name="connsiteX3" fmla="*/ 7972466 w 7972466"/>
              <a:gd name="connsiteY3" fmla="*/ 1325885 h 1447593"/>
              <a:gd name="connsiteX4" fmla="*/ 7972466 w 7972466"/>
              <a:gd name="connsiteY4" fmla="*/ 1325885 h 1447593"/>
              <a:gd name="connsiteX0" fmla="*/ 16806 w 7989272"/>
              <a:gd name="connsiteY0" fmla="*/ 1355348 h 1820552"/>
              <a:gd name="connsiteX1" fmla="*/ 223946 w 7989272"/>
              <a:gd name="connsiteY1" fmla="*/ 1820547 h 1820552"/>
              <a:gd name="connsiteX2" fmla="*/ 2010525 w 7989272"/>
              <a:gd name="connsiteY2" fmla="*/ 1344075 h 1820552"/>
              <a:gd name="connsiteX3" fmla="*/ 4842212 w 7989272"/>
              <a:gd name="connsiteY3" fmla="*/ 5 h 1820552"/>
              <a:gd name="connsiteX4" fmla="*/ 7989272 w 7989272"/>
              <a:gd name="connsiteY4" fmla="*/ 1325885 h 1820552"/>
              <a:gd name="connsiteX5" fmla="*/ 7989272 w 7989272"/>
              <a:gd name="connsiteY5" fmla="*/ 1325885 h 1820552"/>
              <a:gd name="connsiteX0" fmla="*/ 0 w 7972466"/>
              <a:gd name="connsiteY0" fmla="*/ 1355348 h 1446932"/>
              <a:gd name="connsiteX1" fmla="*/ 1993719 w 7972466"/>
              <a:gd name="connsiteY1" fmla="*/ 1344075 h 1446932"/>
              <a:gd name="connsiteX2" fmla="*/ 4825406 w 7972466"/>
              <a:gd name="connsiteY2" fmla="*/ 5 h 1446932"/>
              <a:gd name="connsiteX3" fmla="*/ 7972466 w 7972466"/>
              <a:gd name="connsiteY3" fmla="*/ 1325885 h 1446932"/>
              <a:gd name="connsiteX4" fmla="*/ 7972466 w 7972466"/>
              <a:gd name="connsiteY4" fmla="*/ 1325885 h 1446932"/>
              <a:gd name="connsiteX0" fmla="*/ 0 w 7985412"/>
              <a:gd name="connsiteY0" fmla="*/ 1405129 h 1466059"/>
              <a:gd name="connsiteX1" fmla="*/ 2006665 w 7985412"/>
              <a:gd name="connsiteY1" fmla="*/ 1344075 h 1466059"/>
              <a:gd name="connsiteX2" fmla="*/ 4838352 w 7985412"/>
              <a:gd name="connsiteY2" fmla="*/ 5 h 1466059"/>
              <a:gd name="connsiteX3" fmla="*/ 7985412 w 7985412"/>
              <a:gd name="connsiteY3" fmla="*/ 1325885 h 1466059"/>
              <a:gd name="connsiteX4" fmla="*/ 7985412 w 7985412"/>
              <a:gd name="connsiteY4" fmla="*/ 1325885 h 1466059"/>
              <a:gd name="connsiteX0" fmla="*/ 0 w 7985412"/>
              <a:gd name="connsiteY0" fmla="*/ 1405129 h 1405129"/>
              <a:gd name="connsiteX1" fmla="*/ 2006665 w 7985412"/>
              <a:gd name="connsiteY1" fmla="*/ 1344075 h 1405129"/>
              <a:gd name="connsiteX2" fmla="*/ 4838352 w 7985412"/>
              <a:gd name="connsiteY2" fmla="*/ 5 h 1405129"/>
              <a:gd name="connsiteX3" fmla="*/ 7985412 w 7985412"/>
              <a:gd name="connsiteY3" fmla="*/ 1325885 h 1405129"/>
              <a:gd name="connsiteX4" fmla="*/ 7985412 w 7985412"/>
              <a:gd name="connsiteY4" fmla="*/ 1325885 h 1405129"/>
              <a:gd name="connsiteX0" fmla="*/ 0 w 7998358"/>
              <a:gd name="connsiteY0" fmla="*/ 1348237 h 1444504"/>
              <a:gd name="connsiteX1" fmla="*/ 2019611 w 7998358"/>
              <a:gd name="connsiteY1" fmla="*/ 1344075 h 1444504"/>
              <a:gd name="connsiteX2" fmla="*/ 4851298 w 7998358"/>
              <a:gd name="connsiteY2" fmla="*/ 5 h 1444504"/>
              <a:gd name="connsiteX3" fmla="*/ 7998358 w 7998358"/>
              <a:gd name="connsiteY3" fmla="*/ 1325885 h 1444504"/>
              <a:gd name="connsiteX4" fmla="*/ 7998358 w 7998358"/>
              <a:gd name="connsiteY4" fmla="*/ 1325885 h 1444504"/>
              <a:gd name="connsiteX0" fmla="*/ 0 w 7998358"/>
              <a:gd name="connsiteY0" fmla="*/ 1348237 h 1446121"/>
              <a:gd name="connsiteX1" fmla="*/ 2019611 w 7998358"/>
              <a:gd name="connsiteY1" fmla="*/ 1344075 h 1446121"/>
              <a:gd name="connsiteX2" fmla="*/ 4851298 w 7998358"/>
              <a:gd name="connsiteY2" fmla="*/ 5 h 1446121"/>
              <a:gd name="connsiteX3" fmla="*/ 7998358 w 7998358"/>
              <a:gd name="connsiteY3" fmla="*/ 1325885 h 1446121"/>
              <a:gd name="connsiteX4" fmla="*/ 7998358 w 7998358"/>
              <a:gd name="connsiteY4" fmla="*/ 1325885 h 1446121"/>
              <a:gd name="connsiteX0" fmla="*/ 0 w 7998358"/>
              <a:gd name="connsiteY0" fmla="*/ 1348237 h 1354980"/>
              <a:gd name="connsiteX1" fmla="*/ 2019611 w 7998358"/>
              <a:gd name="connsiteY1" fmla="*/ 1344075 h 1354980"/>
              <a:gd name="connsiteX2" fmla="*/ 4851298 w 7998358"/>
              <a:gd name="connsiteY2" fmla="*/ 5 h 1354980"/>
              <a:gd name="connsiteX3" fmla="*/ 7998358 w 7998358"/>
              <a:gd name="connsiteY3" fmla="*/ 1325885 h 1354980"/>
              <a:gd name="connsiteX4" fmla="*/ 7998358 w 7998358"/>
              <a:gd name="connsiteY4" fmla="*/ 1325885 h 1354980"/>
              <a:gd name="connsiteX0" fmla="*/ 0 w 8083710"/>
              <a:gd name="connsiteY0" fmla="*/ 1348247 h 1416187"/>
              <a:gd name="connsiteX1" fmla="*/ 2019611 w 8083710"/>
              <a:gd name="connsiteY1" fmla="*/ 1344085 h 1416187"/>
              <a:gd name="connsiteX2" fmla="*/ 4851298 w 8083710"/>
              <a:gd name="connsiteY2" fmla="*/ 15 h 1416187"/>
              <a:gd name="connsiteX3" fmla="*/ 7793634 w 8083710"/>
              <a:gd name="connsiteY3" fmla="*/ 1315640 h 1416187"/>
              <a:gd name="connsiteX4" fmla="*/ 7998358 w 8083710"/>
              <a:gd name="connsiteY4" fmla="*/ 1325895 h 1416187"/>
              <a:gd name="connsiteX5" fmla="*/ 7998358 w 8083710"/>
              <a:gd name="connsiteY5" fmla="*/ 1325895 h 1416187"/>
              <a:gd name="connsiteX0" fmla="*/ 0 w 7998358"/>
              <a:gd name="connsiteY0" fmla="*/ 1348247 h 1354990"/>
              <a:gd name="connsiteX1" fmla="*/ 2019611 w 7998358"/>
              <a:gd name="connsiteY1" fmla="*/ 1344085 h 1354990"/>
              <a:gd name="connsiteX2" fmla="*/ 4851298 w 7998358"/>
              <a:gd name="connsiteY2" fmla="*/ 15 h 1354990"/>
              <a:gd name="connsiteX3" fmla="*/ 7793634 w 7998358"/>
              <a:gd name="connsiteY3" fmla="*/ 1315640 h 1354990"/>
              <a:gd name="connsiteX4" fmla="*/ 7998358 w 7998358"/>
              <a:gd name="connsiteY4" fmla="*/ 1325895 h 1354990"/>
              <a:gd name="connsiteX5" fmla="*/ 7998358 w 7998358"/>
              <a:gd name="connsiteY5" fmla="*/ 1325895 h 1354990"/>
              <a:gd name="connsiteX0" fmla="*/ 0 w 8878702"/>
              <a:gd name="connsiteY0" fmla="*/ 1348247 h 1354990"/>
              <a:gd name="connsiteX1" fmla="*/ 2019611 w 8878702"/>
              <a:gd name="connsiteY1" fmla="*/ 1344085 h 1354990"/>
              <a:gd name="connsiteX2" fmla="*/ 4851298 w 8878702"/>
              <a:gd name="connsiteY2" fmla="*/ 15 h 1354990"/>
              <a:gd name="connsiteX3" fmla="*/ 7793634 w 8878702"/>
              <a:gd name="connsiteY3" fmla="*/ 1315640 h 1354990"/>
              <a:gd name="connsiteX4" fmla="*/ 7998358 w 8878702"/>
              <a:gd name="connsiteY4" fmla="*/ 1325895 h 1354990"/>
              <a:gd name="connsiteX5" fmla="*/ 8878702 w 8878702"/>
              <a:gd name="connsiteY5" fmla="*/ 1318784 h 1354990"/>
              <a:gd name="connsiteX0" fmla="*/ 0 w 8878702"/>
              <a:gd name="connsiteY0" fmla="*/ 1348247 h 1414001"/>
              <a:gd name="connsiteX1" fmla="*/ 2019611 w 8878702"/>
              <a:gd name="connsiteY1" fmla="*/ 1344085 h 1414001"/>
              <a:gd name="connsiteX2" fmla="*/ 4851298 w 8878702"/>
              <a:gd name="connsiteY2" fmla="*/ 15 h 1414001"/>
              <a:gd name="connsiteX3" fmla="*/ 7793634 w 8878702"/>
              <a:gd name="connsiteY3" fmla="*/ 1315640 h 1414001"/>
              <a:gd name="connsiteX4" fmla="*/ 8878702 w 8878702"/>
              <a:gd name="connsiteY4" fmla="*/ 1318784 h 1414001"/>
              <a:gd name="connsiteX0" fmla="*/ 0 w 9875562"/>
              <a:gd name="connsiteY0" fmla="*/ 1348247 h 1414001"/>
              <a:gd name="connsiteX1" fmla="*/ 2019611 w 9875562"/>
              <a:gd name="connsiteY1" fmla="*/ 1344085 h 1414001"/>
              <a:gd name="connsiteX2" fmla="*/ 4851298 w 9875562"/>
              <a:gd name="connsiteY2" fmla="*/ 15 h 1414001"/>
              <a:gd name="connsiteX3" fmla="*/ 7793634 w 9875562"/>
              <a:gd name="connsiteY3" fmla="*/ 1315640 h 1414001"/>
              <a:gd name="connsiteX4" fmla="*/ 9875562 w 9875562"/>
              <a:gd name="connsiteY4" fmla="*/ 1318784 h 1414001"/>
              <a:gd name="connsiteX0" fmla="*/ 0 w 9875562"/>
              <a:gd name="connsiteY0" fmla="*/ 1348374 h 1374793"/>
              <a:gd name="connsiteX1" fmla="*/ 2019611 w 9875562"/>
              <a:gd name="connsiteY1" fmla="*/ 1344212 h 1374793"/>
              <a:gd name="connsiteX2" fmla="*/ 4851298 w 9875562"/>
              <a:gd name="connsiteY2" fmla="*/ 142 h 1374793"/>
              <a:gd name="connsiteX3" fmla="*/ 7534709 w 9875562"/>
              <a:gd name="connsiteY3" fmla="*/ 1258875 h 1374793"/>
              <a:gd name="connsiteX4" fmla="*/ 9875562 w 9875562"/>
              <a:gd name="connsiteY4" fmla="*/ 1318911 h 1374793"/>
              <a:gd name="connsiteX0" fmla="*/ 0 w 9875562"/>
              <a:gd name="connsiteY0" fmla="*/ 1348350 h 1374769"/>
              <a:gd name="connsiteX1" fmla="*/ 2019611 w 9875562"/>
              <a:gd name="connsiteY1" fmla="*/ 1344188 h 1374769"/>
              <a:gd name="connsiteX2" fmla="*/ 4851298 w 9875562"/>
              <a:gd name="connsiteY2" fmla="*/ 118 h 1374769"/>
              <a:gd name="connsiteX3" fmla="*/ 7534709 w 9875562"/>
              <a:gd name="connsiteY3" fmla="*/ 1258851 h 1374769"/>
              <a:gd name="connsiteX4" fmla="*/ 9875562 w 9875562"/>
              <a:gd name="connsiteY4" fmla="*/ 1318887 h 1374769"/>
              <a:gd name="connsiteX0" fmla="*/ 0 w 9875562"/>
              <a:gd name="connsiteY0" fmla="*/ 1348368 h 1374787"/>
              <a:gd name="connsiteX1" fmla="*/ 2019611 w 9875562"/>
              <a:gd name="connsiteY1" fmla="*/ 1344206 h 1374787"/>
              <a:gd name="connsiteX2" fmla="*/ 4851298 w 9875562"/>
              <a:gd name="connsiteY2" fmla="*/ 136 h 1374787"/>
              <a:gd name="connsiteX3" fmla="*/ 7534709 w 9875562"/>
              <a:gd name="connsiteY3" fmla="*/ 1258869 h 1374787"/>
              <a:gd name="connsiteX4" fmla="*/ 9875562 w 9875562"/>
              <a:gd name="connsiteY4" fmla="*/ 1318905 h 1374787"/>
              <a:gd name="connsiteX0" fmla="*/ 0 w 9875562"/>
              <a:gd name="connsiteY0" fmla="*/ 1348352 h 1355095"/>
              <a:gd name="connsiteX1" fmla="*/ 2019611 w 9875562"/>
              <a:gd name="connsiteY1" fmla="*/ 1344190 h 1355095"/>
              <a:gd name="connsiteX2" fmla="*/ 4851298 w 9875562"/>
              <a:gd name="connsiteY2" fmla="*/ 120 h 1355095"/>
              <a:gd name="connsiteX3" fmla="*/ 7534709 w 9875562"/>
              <a:gd name="connsiteY3" fmla="*/ 1258853 h 1355095"/>
              <a:gd name="connsiteX4" fmla="*/ 9875562 w 9875562"/>
              <a:gd name="connsiteY4" fmla="*/ 1318889 h 1355095"/>
              <a:gd name="connsiteX0" fmla="*/ 0 w 9875562"/>
              <a:gd name="connsiteY0" fmla="*/ 1348352 h 1355095"/>
              <a:gd name="connsiteX1" fmla="*/ 2019611 w 9875562"/>
              <a:gd name="connsiteY1" fmla="*/ 1344190 h 1355095"/>
              <a:gd name="connsiteX2" fmla="*/ 4851298 w 9875562"/>
              <a:gd name="connsiteY2" fmla="*/ 120 h 1355095"/>
              <a:gd name="connsiteX3" fmla="*/ 7534709 w 9875562"/>
              <a:gd name="connsiteY3" fmla="*/ 1258853 h 1355095"/>
              <a:gd name="connsiteX4" fmla="*/ 9875562 w 9875562"/>
              <a:gd name="connsiteY4" fmla="*/ 1318889 h 1355095"/>
              <a:gd name="connsiteX0" fmla="*/ 0 w 9875562"/>
              <a:gd name="connsiteY0" fmla="*/ 1348351 h 1355094"/>
              <a:gd name="connsiteX1" fmla="*/ 2019611 w 9875562"/>
              <a:gd name="connsiteY1" fmla="*/ 1344189 h 1355094"/>
              <a:gd name="connsiteX2" fmla="*/ 4851298 w 9875562"/>
              <a:gd name="connsiteY2" fmla="*/ 119 h 1355094"/>
              <a:gd name="connsiteX3" fmla="*/ 7534709 w 9875562"/>
              <a:gd name="connsiteY3" fmla="*/ 1258852 h 1355094"/>
              <a:gd name="connsiteX4" fmla="*/ 9875562 w 9875562"/>
              <a:gd name="connsiteY4" fmla="*/ 1318888 h 1355094"/>
              <a:gd name="connsiteX0" fmla="*/ 0 w 9849670"/>
              <a:gd name="connsiteY0" fmla="*/ 1348373 h 1355116"/>
              <a:gd name="connsiteX1" fmla="*/ 2019611 w 9849670"/>
              <a:gd name="connsiteY1" fmla="*/ 1344211 h 1355116"/>
              <a:gd name="connsiteX2" fmla="*/ 4851298 w 9849670"/>
              <a:gd name="connsiteY2" fmla="*/ 141 h 1355116"/>
              <a:gd name="connsiteX3" fmla="*/ 7534709 w 9849670"/>
              <a:gd name="connsiteY3" fmla="*/ 1258874 h 1355116"/>
              <a:gd name="connsiteX4" fmla="*/ 9849670 w 9849670"/>
              <a:gd name="connsiteY4" fmla="*/ 1262018 h 1355116"/>
              <a:gd name="connsiteX0" fmla="*/ 0 w 9849670"/>
              <a:gd name="connsiteY0" fmla="*/ 1348353 h 1355096"/>
              <a:gd name="connsiteX1" fmla="*/ 2019611 w 9849670"/>
              <a:gd name="connsiteY1" fmla="*/ 1344191 h 1355096"/>
              <a:gd name="connsiteX2" fmla="*/ 4851298 w 9849670"/>
              <a:gd name="connsiteY2" fmla="*/ 121 h 1355096"/>
              <a:gd name="connsiteX3" fmla="*/ 7534709 w 9849670"/>
              <a:gd name="connsiteY3" fmla="*/ 1258854 h 1355096"/>
              <a:gd name="connsiteX4" fmla="*/ 9849670 w 9849670"/>
              <a:gd name="connsiteY4" fmla="*/ 1261998 h 1355096"/>
              <a:gd name="connsiteX0" fmla="*/ 0 w 8807411"/>
              <a:gd name="connsiteY0" fmla="*/ 1356118 h 1448949"/>
              <a:gd name="connsiteX1" fmla="*/ 977352 w 8807411"/>
              <a:gd name="connsiteY1" fmla="*/ 1344191 h 1448949"/>
              <a:gd name="connsiteX2" fmla="*/ 3809039 w 8807411"/>
              <a:gd name="connsiteY2" fmla="*/ 121 h 1448949"/>
              <a:gd name="connsiteX3" fmla="*/ 6492450 w 8807411"/>
              <a:gd name="connsiteY3" fmla="*/ 1258854 h 1448949"/>
              <a:gd name="connsiteX4" fmla="*/ 8807411 w 8807411"/>
              <a:gd name="connsiteY4" fmla="*/ 1261998 h 1448949"/>
              <a:gd name="connsiteX0" fmla="*/ 0 w 8807411"/>
              <a:gd name="connsiteY0" fmla="*/ 1356118 h 1356118"/>
              <a:gd name="connsiteX1" fmla="*/ 977352 w 8807411"/>
              <a:gd name="connsiteY1" fmla="*/ 1344191 h 1356118"/>
              <a:gd name="connsiteX2" fmla="*/ 3809039 w 8807411"/>
              <a:gd name="connsiteY2" fmla="*/ 121 h 1356118"/>
              <a:gd name="connsiteX3" fmla="*/ 6492450 w 8807411"/>
              <a:gd name="connsiteY3" fmla="*/ 1258854 h 1356118"/>
              <a:gd name="connsiteX4" fmla="*/ 8807411 w 8807411"/>
              <a:gd name="connsiteY4" fmla="*/ 1261998 h 1356118"/>
              <a:gd name="connsiteX0" fmla="*/ 0 w 7554359"/>
              <a:gd name="connsiteY0" fmla="*/ 1356138 h 1356138"/>
              <a:gd name="connsiteX1" fmla="*/ 977352 w 7554359"/>
              <a:gd name="connsiteY1" fmla="*/ 1344211 h 1356138"/>
              <a:gd name="connsiteX2" fmla="*/ 3809039 w 7554359"/>
              <a:gd name="connsiteY2" fmla="*/ 141 h 1356138"/>
              <a:gd name="connsiteX3" fmla="*/ 6492450 w 7554359"/>
              <a:gd name="connsiteY3" fmla="*/ 1258874 h 1356138"/>
              <a:gd name="connsiteX4" fmla="*/ 7554359 w 7554359"/>
              <a:gd name="connsiteY4" fmla="*/ 1262018 h 1356138"/>
              <a:gd name="connsiteX0" fmla="*/ 0 w 7554359"/>
              <a:gd name="connsiteY0" fmla="*/ 1356117 h 1356117"/>
              <a:gd name="connsiteX1" fmla="*/ 977352 w 7554359"/>
              <a:gd name="connsiteY1" fmla="*/ 1344190 h 1356117"/>
              <a:gd name="connsiteX2" fmla="*/ 3809039 w 7554359"/>
              <a:gd name="connsiteY2" fmla="*/ 120 h 1356117"/>
              <a:gd name="connsiteX3" fmla="*/ 6492450 w 7554359"/>
              <a:gd name="connsiteY3" fmla="*/ 1258853 h 1356117"/>
              <a:gd name="connsiteX4" fmla="*/ 7554359 w 7554359"/>
              <a:gd name="connsiteY4" fmla="*/ 1261997 h 1356117"/>
              <a:gd name="connsiteX0" fmla="*/ 0 w 7554359"/>
              <a:gd name="connsiteY0" fmla="*/ 1356117 h 1356117"/>
              <a:gd name="connsiteX1" fmla="*/ 977352 w 7554359"/>
              <a:gd name="connsiteY1" fmla="*/ 1344190 h 1356117"/>
              <a:gd name="connsiteX2" fmla="*/ 3809039 w 7554359"/>
              <a:gd name="connsiteY2" fmla="*/ 120 h 1356117"/>
              <a:gd name="connsiteX3" fmla="*/ 6492450 w 7554359"/>
              <a:gd name="connsiteY3" fmla="*/ 1258853 h 1356117"/>
              <a:gd name="connsiteX4" fmla="*/ 7554359 w 7554359"/>
              <a:gd name="connsiteY4" fmla="*/ 1261997 h 1356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54359" h="1356117">
                <a:moveTo>
                  <a:pt x="0" y="1356117"/>
                </a:moveTo>
                <a:lnTo>
                  <a:pt x="977352" y="1344190"/>
                </a:lnTo>
                <a:cubicBezTo>
                  <a:pt x="2631030" y="1327826"/>
                  <a:pt x="2889856" y="14343"/>
                  <a:pt x="3809039" y="120"/>
                </a:cubicBezTo>
                <a:cubicBezTo>
                  <a:pt x="4728222" y="-14103"/>
                  <a:pt x="4968500" y="1242611"/>
                  <a:pt x="6492450" y="1258853"/>
                </a:cubicBezTo>
                <a:lnTo>
                  <a:pt x="7554359" y="1261997"/>
                </a:lnTo>
              </a:path>
            </a:pathLst>
          </a:custGeom>
          <a:noFill/>
          <a:ln w="12700" cap="flat" cmpd="sng" algn="ctr">
            <a:solidFill>
              <a:srgbClr val="FF000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nvGrpSpPr>
          <p:cNvPr id="456" name="Gruppieren 326"/>
          <p:cNvGrpSpPr/>
          <p:nvPr/>
        </p:nvGrpSpPr>
        <p:grpSpPr>
          <a:xfrm>
            <a:off x="3846049" y="1465923"/>
            <a:ext cx="1046394" cy="1046394"/>
            <a:chOff x="1249679" y="1384386"/>
            <a:chExt cx="1046394" cy="1046394"/>
          </a:xfrm>
        </p:grpSpPr>
        <p:sp>
          <p:nvSpPr>
            <p:cNvPr id="779" name="Ellipse 360"/>
            <p:cNvSpPr/>
            <p:nvPr/>
          </p:nvSpPr>
          <p:spPr bwMode="auto">
            <a:xfrm>
              <a:off x="1249679" y="1384386"/>
              <a:ext cx="1046394" cy="1046394"/>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80" name="Ellipse 361"/>
            <p:cNvSpPr/>
            <p:nvPr/>
          </p:nvSpPr>
          <p:spPr bwMode="auto">
            <a:xfrm flipV="1">
              <a:off x="1317282" y="1454590"/>
              <a:ext cx="915164" cy="915164"/>
            </a:xfrm>
            <a:prstGeom prst="ellipse">
              <a:avLst/>
            </a:prstGeom>
            <a:gradFill flip="none" rotWithShape="1">
              <a:gsLst>
                <a:gs pos="0">
                  <a:srgbClr val="7030A0"/>
                </a:gs>
                <a:gs pos="33500">
                  <a:srgbClr val="B898D0">
                    <a:alpha val="79000"/>
                  </a:srgbClr>
                </a:gs>
                <a:gs pos="72000">
                  <a:srgbClr val="FFFFFE">
                    <a:alpha val="0"/>
                    <a:lumMod val="0"/>
                    <a:lumOff val="10000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sp>
        <p:nvSpPr>
          <p:cNvPr id="458" name="Sechseck 328"/>
          <p:cNvSpPr/>
          <p:nvPr/>
        </p:nvSpPr>
        <p:spPr bwMode="auto">
          <a:xfrm>
            <a:off x="4281424" y="1761738"/>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59" name="Sechseck 329"/>
          <p:cNvSpPr/>
          <p:nvPr/>
        </p:nvSpPr>
        <p:spPr bwMode="auto">
          <a:xfrm>
            <a:off x="4422383" y="1840048"/>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60" name="Sechseck 330"/>
          <p:cNvSpPr/>
          <p:nvPr/>
        </p:nvSpPr>
        <p:spPr bwMode="auto">
          <a:xfrm>
            <a:off x="4422383" y="1996669"/>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61" name="Sechseck 331"/>
          <p:cNvSpPr/>
          <p:nvPr/>
        </p:nvSpPr>
        <p:spPr bwMode="auto">
          <a:xfrm>
            <a:off x="4281424" y="2074980"/>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62" name="Sechseck 332"/>
          <p:cNvSpPr/>
          <p:nvPr/>
        </p:nvSpPr>
        <p:spPr bwMode="auto">
          <a:xfrm>
            <a:off x="4140465" y="1996669"/>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63" name="Sechseck 333"/>
          <p:cNvSpPr/>
          <p:nvPr/>
        </p:nvSpPr>
        <p:spPr bwMode="auto">
          <a:xfrm>
            <a:off x="4140465" y="1840048"/>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64" name="Sechseck 334"/>
          <p:cNvSpPr/>
          <p:nvPr/>
        </p:nvSpPr>
        <p:spPr bwMode="auto">
          <a:xfrm>
            <a:off x="4281424" y="1918359"/>
            <a:ext cx="181680" cy="156620"/>
          </a:xfrm>
          <a:prstGeom prst="hexagon">
            <a:avLst/>
          </a:prstGeom>
          <a:solidFill>
            <a:srgbClr val="FF0000"/>
          </a:solidFill>
          <a:ln w="38100" cap="flat" cmpd="sng" algn="ctr">
            <a:solidFill>
              <a:srgbClr val="0070C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65" name="Sechseck 335"/>
          <p:cNvSpPr/>
          <p:nvPr/>
        </p:nvSpPr>
        <p:spPr bwMode="auto">
          <a:xfrm>
            <a:off x="4422383" y="2153290"/>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66" name="Sechseck 336"/>
          <p:cNvSpPr/>
          <p:nvPr/>
        </p:nvSpPr>
        <p:spPr bwMode="auto">
          <a:xfrm>
            <a:off x="4565141" y="2074980"/>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67" name="Sechseck 337"/>
          <p:cNvSpPr/>
          <p:nvPr/>
        </p:nvSpPr>
        <p:spPr bwMode="auto">
          <a:xfrm>
            <a:off x="4565141" y="1918360"/>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68" name="Sechseck 338"/>
          <p:cNvSpPr/>
          <p:nvPr/>
        </p:nvSpPr>
        <p:spPr bwMode="auto">
          <a:xfrm>
            <a:off x="4565141" y="1761738"/>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69" name="Sechseck 339"/>
          <p:cNvSpPr/>
          <p:nvPr/>
        </p:nvSpPr>
        <p:spPr bwMode="auto">
          <a:xfrm>
            <a:off x="4425950" y="1683427"/>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70" name="Sechseck 340"/>
          <p:cNvSpPr/>
          <p:nvPr/>
        </p:nvSpPr>
        <p:spPr bwMode="auto">
          <a:xfrm>
            <a:off x="4281424" y="1605117"/>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71" name="Sechseck 341"/>
          <p:cNvSpPr/>
          <p:nvPr/>
        </p:nvSpPr>
        <p:spPr bwMode="auto">
          <a:xfrm>
            <a:off x="4140465" y="1683427"/>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72" name="Sechseck 342"/>
          <p:cNvSpPr/>
          <p:nvPr/>
        </p:nvSpPr>
        <p:spPr bwMode="auto">
          <a:xfrm>
            <a:off x="3997549" y="1762594"/>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73" name="Sechseck 343"/>
          <p:cNvSpPr/>
          <p:nvPr/>
        </p:nvSpPr>
        <p:spPr bwMode="auto">
          <a:xfrm>
            <a:off x="3997549" y="1919215"/>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74" name="Sechseck 344"/>
          <p:cNvSpPr/>
          <p:nvPr/>
        </p:nvSpPr>
        <p:spPr bwMode="auto">
          <a:xfrm>
            <a:off x="3997549" y="2075835"/>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85" name="Sechseck 345"/>
          <p:cNvSpPr/>
          <p:nvPr/>
        </p:nvSpPr>
        <p:spPr bwMode="auto">
          <a:xfrm>
            <a:off x="4140465" y="2153290"/>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86" name="Sechseck 346"/>
          <p:cNvSpPr/>
          <p:nvPr/>
        </p:nvSpPr>
        <p:spPr bwMode="auto">
          <a:xfrm>
            <a:off x="4281424" y="2231178"/>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87" name="Sechseck 347"/>
          <p:cNvSpPr/>
          <p:nvPr/>
        </p:nvSpPr>
        <p:spPr bwMode="auto">
          <a:xfrm>
            <a:off x="4422383" y="1526807"/>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88" name="Sechseck 348"/>
          <p:cNvSpPr/>
          <p:nvPr/>
        </p:nvSpPr>
        <p:spPr bwMode="auto">
          <a:xfrm>
            <a:off x="4565141" y="1605117"/>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89" name="Sechseck 349"/>
          <p:cNvSpPr/>
          <p:nvPr/>
        </p:nvSpPr>
        <p:spPr bwMode="auto">
          <a:xfrm>
            <a:off x="4140465" y="1528887"/>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90" name="Sechseck 350"/>
          <p:cNvSpPr/>
          <p:nvPr/>
        </p:nvSpPr>
        <p:spPr bwMode="auto">
          <a:xfrm>
            <a:off x="3997549" y="1605117"/>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91" name="Sechseck 351"/>
          <p:cNvSpPr/>
          <p:nvPr/>
        </p:nvSpPr>
        <p:spPr bwMode="auto">
          <a:xfrm>
            <a:off x="3855416" y="1840904"/>
            <a:ext cx="181680" cy="156620"/>
          </a:xfrm>
          <a:prstGeom prst="hexagon">
            <a:avLst/>
          </a:prstGeom>
          <a:solidFill>
            <a:srgbClr val="66CCFF"/>
          </a:solidFill>
          <a:ln w="38100"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92" name="Sechseck 352"/>
          <p:cNvSpPr/>
          <p:nvPr/>
        </p:nvSpPr>
        <p:spPr bwMode="auto">
          <a:xfrm>
            <a:off x="3855416" y="1997526"/>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97" name="Sechseck 353"/>
          <p:cNvSpPr/>
          <p:nvPr/>
        </p:nvSpPr>
        <p:spPr bwMode="auto">
          <a:xfrm>
            <a:off x="3997549" y="2231178"/>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98" name="Sechseck 354"/>
          <p:cNvSpPr/>
          <p:nvPr/>
        </p:nvSpPr>
        <p:spPr bwMode="auto">
          <a:xfrm>
            <a:off x="4140465" y="2309911"/>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00" name="Sechseck 355"/>
          <p:cNvSpPr/>
          <p:nvPr/>
        </p:nvSpPr>
        <p:spPr bwMode="auto">
          <a:xfrm>
            <a:off x="4425950" y="2309488"/>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04" name="Sechseck 356"/>
          <p:cNvSpPr/>
          <p:nvPr/>
        </p:nvSpPr>
        <p:spPr bwMode="auto">
          <a:xfrm>
            <a:off x="4565141" y="2231600"/>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05" name="Sechseck 357"/>
          <p:cNvSpPr/>
          <p:nvPr/>
        </p:nvSpPr>
        <p:spPr bwMode="auto">
          <a:xfrm>
            <a:off x="4707274" y="1996668"/>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77" name="Sechseck 358"/>
          <p:cNvSpPr/>
          <p:nvPr/>
        </p:nvSpPr>
        <p:spPr bwMode="auto">
          <a:xfrm>
            <a:off x="4707274" y="1839585"/>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778" name="Sechseck 359"/>
          <p:cNvSpPr/>
          <p:nvPr/>
        </p:nvSpPr>
        <p:spPr bwMode="auto">
          <a:xfrm>
            <a:off x="4707274" y="1682571"/>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01" name="Freihandform 483"/>
          <p:cNvSpPr/>
          <p:nvPr/>
        </p:nvSpPr>
        <p:spPr bwMode="auto">
          <a:xfrm>
            <a:off x="2706573" y="5453788"/>
            <a:ext cx="3358081" cy="439774"/>
          </a:xfrm>
          <a:custGeom>
            <a:avLst/>
            <a:gdLst>
              <a:gd name="connsiteX0" fmla="*/ 0 w 6134100"/>
              <a:gd name="connsiteY0" fmla="*/ 15240 h 15240"/>
              <a:gd name="connsiteX1" fmla="*/ 6134100 w 6134100"/>
              <a:gd name="connsiteY1" fmla="*/ 0 h 15240"/>
              <a:gd name="connsiteX2" fmla="*/ 6134100 w 6134100"/>
              <a:gd name="connsiteY2" fmla="*/ 0 h 15240"/>
              <a:gd name="connsiteX0" fmla="*/ 0 w 6134100"/>
              <a:gd name="connsiteY0" fmla="*/ 15240 h 15240"/>
              <a:gd name="connsiteX1" fmla="*/ 3009900 w 6134100"/>
              <a:gd name="connsiteY1" fmla="*/ 15240 h 15240"/>
              <a:gd name="connsiteX2" fmla="*/ 6134100 w 6134100"/>
              <a:gd name="connsiteY2" fmla="*/ 0 h 15240"/>
              <a:gd name="connsiteX3" fmla="*/ 6134100 w 6134100"/>
              <a:gd name="connsiteY3" fmla="*/ 0 h 1524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1310640 w 6134100"/>
              <a:gd name="connsiteY1" fmla="*/ 74676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495800 w 6134100"/>
              <a:gd name="connsiteY3" fmla="*/ 632460 h 1341120"/>
              <a:gd name="connsiteX4" fmla="*/ 6134100 w 6134100"/>
              <a:gd name="connsiteY4" fmla="*/ 1325880 h 1341120"/>
              <a:gd name="connsiteX5" fmla="*/ 6134100 w 6134100"/>
              <a:gd name="connsiteY5"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556760 w 6134100"/>
              <a:gd name="connsiteY3" fmla="*/ 1036320 h 1341120"/>
              <a:gd name="connsiteX4" fmla="*/ 6134100 w 6134100"/>
              <a:gd name="connsiteY4" fmla="*/ 1325880 h 1341120"/>
              <a:gd name="connsiteX5" fmla="*/ 6134100 w 6134100"/>
              <a:gd name="connsiteY5" fmla="*/ 1325880 h 1341120"/>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64"/>
              <a:gd name="connsiteX1" fmla="*/ 2987040 w 6134100"/>
              <a:gd name="connsiteY1" fmla="*/ 4 h 1341164"/>
              <a:gd name="connsiteX2" fmla="*/ 6134100 w 6134100"/>
              <a:gd name="connsiteY2" fmla="*/ 1325884 h 1341164"/>
              <a:gd name="connsiteX3" fmla="*/ 6134100 w 6134100"/>
              <a:gd name="connsiteY3" fmla="*/ 1325884 h 1341164"/>
              <a:gd name="connsiteX0" fmla="*/ 107031 w 6241131"/>
              <a:gd name="connsiteY0" fmla="*/ 1341125 h 1442766"/>
              <a:gd name="connsiteX1" fmla="*/ 262384 w 6241131"/>
              <a:gd name="connsiteY1" fmla="*/ 1344075 h 1442766"/>
              <a:gd name="connsiteX2" fmla="*/ 3094071 w 6241131"/>
              <a:gd name="connsiteY2" fmla="*/ 5 h 1442766"/>
              <a:gd name="connsiteX3" fmla="*/ 6241131 w 6241131"/>
              <a:gd name="connsiteY3" fmla="*/ 1325885 h 1442766"/>
              <a:gd name="connsiteX4" fmla="*/ 6241131 w 6241131"/>
              <a:gd name="connsiteY4" fmla="*/ 1325885 h 1442766"/>
              <a:gd name="connsiteX0" fmla="*/ 0 w 7972466"/>
              <a:gd name="connsiteY0" fmla="*/ 1405128 h 1462299"/>
              <a:gd name="connsiteX1" fmla="*/ 1993719 w 7972466"/>
              <a:gd name="connsiteY1" fmla="*/ 1344075 h 1462299"/>
              <a:gd name="connsiteX2" fmla="*/ 4825406 w 7972466"/>
              <a:gd name="connsiteY2" fmla="*/ 5 h 1462299"/>
              <a:gd name="connsiteX3" fmla="*/ 7972466 w 7972466"/>
              <a:gd name="connsiteY3" fmla="*/ 1325885 h 1462299"/>
              <a:gd name="connsiteX4" fmla="*/ 7972466 w 7972466"/>
              <a:gd name="connsiteY4" fmla="*/ 1325885 h 1462299"/>
              <a:gd name="connsiteX0" fmla="*/ 0 w 7972466"/>
              <a:gd name="connsiteY0" fmla="*/ 1405128 h 1462299"/>
              <a:gd name="connsiteX1" fmla="*/ 1993719 w 7972466"/>
              <a:gd name="connsiteY1" fmla="*/ 1344075 h 1462299"/>
              <a:gd name="connsiteX2" fmla="*/ 4825406 w 7972466"/>
              <a:gd name="connsiteY2" fmla="*/ 5 h 1462299"/>
              <a:gd name="connsiteX3" fmla="*/ 7972466 w 7972466"/>
              <a:gd name="connsiteY3" fmla="*/ 1325885 h 1462299"/>
              <a:gd name="connsiteX4" fmla="*/ 7972466 w 7972466"/>
              <a:gd name="connsiteY4" fmla="*/ 1325885 h 1462299"/>
              <a:gd name="connsiteX0" fmla="*/ 0 w 7972466"/>
              <a:gd name="connsiteY0" fmla="*/ 1405128 h 1409339"/>
              <a:gd name="connsiteX1" fmla="*/ 1993719 w 7972466"/>
              <a:gd name="connsiteY1" fmla="*/ 1344075 h 1409339"/>
              <a:gd name="connsiteX2" fmla="*/ 4825406 w 7972466"/>
              <a:gd name="connsiteY2" fmla="*/ 5 h 1409339"/>
              <a:gd name="connsiteX3" fmla="*/ 7972466 w 7972466"/>
              <a:gd name="connsiteY3" fmla="*/ 1325885 h 1409339"/>
              <a:gd name="connsiteX4" fmla="*/ 7972466 w 7972466"/>
              <a:gd name="connsiteY4" fmla="*/ 1325885 h 1409339"/>
              <a:gd name="connsiteX0" fmla="*/ 0 w 7972466"/>
              <a:gd name="connsiteY0" fmla="*/ 1405128 h 1405131"/>
              <a:gd name="connsiteX1" fmla="*/ 1993719 w 7972466"/>
              <a:gd name="connsiteY1" fmla="*/ 1344075 h 1405131"/>
              <a:gd name="connsiteX2" fmla="*/ 4825406 w 7972466"/>
              <a:gd name="connsiteY2" fmla="*/ 5 h 1405131"/>
              <a:gd name="connsiteX3" fmla="*/ 7972466 w 7972466"/>
              <a:gd name="connsiteY3" fmla="*/ 1325885 h 1405131"/>
              <a:gd name="connsiteX4" fmla="*/ 7972466 w 7972466"/>
              <a:gd name="connsiteY4" fmla="*/ 1325885 h 1405131"/>
              <a:gd name="connsiteX0" fmla="*/ 0 w 7972466"/>
              <a:gd name="connsiteY0" fmla="*/ 1355348 h 1447593"/>
              <a:gd name="connsiteX1" fmla="*/ 1993719 w 7972466"/>
              <a:gd name="connsiteY1" fmla="*/ 1344075 h 1447593"/>
              <a:gd name="connsiteX2" fmla="*/ 4825406 w 7972466"/>
              <a:gd name="connsiteY2" fmla="*/ 5 h 1447593"/>
              <a:gd name="connsiteX3" fmla="*/ 7972466 w 7972466"/>
              <a:gd name="connsiteY3" fmla="*/ 1325885 h 1447593"/>
              <a:gd name="connsiteX4" fmla="*/ 7972466 w 7972466"/>
              <a:gd name="connsiteY4" fmla="*/ 1325885 h 1447593"/>
              <a:gd name="connsiteX0" fmla="*/ 0 w 7972466"/>
              <a:gd name="connsiteY0" fmla="*/ 1355348 h 1447593"/>
              <a:gd name="connsiteX1" fmla="*/ 1993719 w 7972466"/>
              <a:gd name="connsiteY1" fmla="*/ 1344075 h 1447593"/>
              <a:gd name="connsiteX2" fmla="*/ 4825406 w 7972466"/>
              <a:gd name="connsiteY2" fmla="*/ 5 h 1447593"/>
              <a:gd name="connsiteX3" fmla="*/ 7972466 w 7972466"/>
              <a:gd name="connsiteY3" fmla="*/ 1325885 h 1447593"/>
              <a:gd name="connsiteX4" fmla="*/ 7972466 w 7972466"/>
              <a:gd name="connsiteY4" fmla="*/ 1325885 h 1447593"/>
              <a:gd name="connsiteX0" fmla="*/ 16806 w 7989272"/>
              <a:gd name="connsiteY0" fmla="*/ 1355348 h 1820552"/>
              <a:gd name="connsiteX1" fmla="*/ 223946 w 7989272"/>
              <a:gd name="connsiteY1" fmla="*/ 1820547 h 1820552"/>
              <a:gd name="connsiteX2" fmla="*/ 2010525 w 7989272"/>
              <a:gd name="connsiteY2" fmla="*/ 1344075 h 1820552"/>
              <a:gd name="connsiteX3" fmla="*/ 4842212 w 7989272"/>
              <a:gd name="connsiteY3" fmla="*/ 5 h 1820552"/>
              <a:gd name="connsiteX4" fmla="*/ 7989272 w 7989272"/>
              <a:gd name="connsiteY4" fmla="*/ 1325885 h 1820552"/>
              <a:gd name="connsiteX5" fmla="*/ 7989272 w 7989272"/>
              <a:gd name="connsiteY5" fmla="*/ 1325885 h 1820552"/>
              <a:gd name="connsiteX0" fmla="*/ 0 w 7972466"/>
              <a:gd name="connsiteY0" fmla="*/ 1355348 h 1446932"/>
              <a:gd name="connsiteX1" fmla="*/ 1993719 w 7972466"/>
              <a:gd name="connsiteY1" fmla="*/ 1344075 h 1446932"/>
              <a:gd name="connsiteX2" fmla="*/ 4825406 w 7972466"/>
              <a:gd name="connsiteY2" fmla="*/ 5 h 1446932"/>
              <a:gd name="connsiteX3" fmla="*/ 7972466 w 7972466"/>
              <a:gd name="connsiteY3" fmla="*/ 1325885 h 1446932"/>
              <a:gd name="connsiteX4" fmla="*/ 7972466 w 7972466"/>
              <a:gd name="connsiteY4" fmla="*/ 1325885 h 1446932"/>
              <a:gd name="connsiteX0" fmla="*/ 0 w 7985412"/>
              <a:gd name="connsiteY0" fmla="*/ 1405129 h 1466059"/>
              <a:gd name="connsiteX1" fmla="*/ 2006665 w 7985412"/>
              <a:gd name="connsiteY1" fmla="*/ 1344075 h 1466059"/>
              <a:gd name="connsiteX2" fmla="*/ 4838352 w 7985412"/>
              <a:gd name="connsiteY2" fmla="*/ 5 h 1466059"/>
              <a:gd name="connsiteX3" fmla="*/ 7985412 w 7985412"/>
              <a:gd name="connsiteY3" fmla="*/ 1325885 h 1466059"/>
              <a:gd name="connsiteX4" fmla="*/ 7985412 w 7985412"/>
              <a:gd name="connsiteY4" fmla="*/ 1325885 h 1466059"/>
              <a:gd name="connsiteX0" fmla="*/ 0 w 7985412"/>
              <a:gd name="connsiteY0" fmla="*/ 1405129 h 1405129"/>
              <a:gd name="connsiteX1" fmla="*/ 2006665 w 7985412"/>
              <a:gd name="connsiteY1" fmla="*/ 1344075 h 1405129"/>
              <a:gd name="connsiteX2" fmla="*/ 4838352 w 7985412"/>
              <a:gd name="connsiteY2" fmla="*/ 5 h 1405129"/>
              <a:gd name="connsiteX3" fmla="*/ 7985412 w 7985412"/>
              <a:gd name="connsiteY3" fmla="*/ 1325885 h 1405129"/>
              <a:gd name="connsiteX4" fmla="*/ 7985412 w 7985412"/>
              <a:gd name="connsiteY4" fmla="*/ 1325885 h 1405129"/>
              <a:gd name="connsiteX0" fmla="*/ 0 w 7998358"/>
              <a:gd name="connsiteY0" fmla="*/ 1348237 h 1444504"/>
              <a:gd name="connsiteX1" fmla="*/ 2019611 w 7998358"/>
              <a:gd name="connsiteY1" fmla="*/ 1344075 h 1444504"/>
              <a:gd name="connsiteX2" fmla="*/ 4851298 w 7998358"/>
              <a:gd name="connsiteY2" fmla="*/ 5 h 1444504"/>
              <a:gd name="connsiteX3" fmla="*/ 7998358 w 7998358"/>
              <a:gd name="connsiteY3" fmla="*/ 1325885 h 1444504"/>
              <a:gd name="connsiteX4" fmla="*/ 7998358 w 7998358"/>
              <a:gd name="connsiteY4" fmla="*/ 1325885 h 1444504"/>
              <a:gd name="connsiteX0" fmla="*/ 0 w 7998358"/>
              <a:gd name="connsiteY0" fmla="*/ 1348237 h 1446121"/>
              <a:gd name="connsiteX1" fmla="*/ 2019611 w 7998358"/>
              <a:gd name="connsiteY1" fmla="*/ 1344075 h 1446121"/>
              <a:gd name="connsiteX2" fmla="*/ 4851298 w 7998358"/>
              <a:gd name="connsiteY2" fmla="*/ 5 h 1446121"/>
              <a:gd name="connsiteX3" fmla="*/ 7998358 w 7998358"/>
              <a:gd name="connsiteY3" fmla="*/ 1325885 h 1446121"/>
              <a:gd name="connsiteX4" fmla="*/ 7998358 w 7998358"/>
              <a:gd name="connsiteY4" fmla="*/ 1325885 h 1446121"/>
              <a:gd name="connsiteX0" fmla="*/ 0 w 7998358"/>
              <a:gd name="connsiteY0" fmla="*/ 1348237 h 1354980"/>
              <a:gd name="connsiteX1" fmla="*/ 2019611 w 7998358"/>
              <a:gd name="connsiteY1" fmla="*/ 1344075 h 1354980"/>
              <a:gd name="connsiteX2" fmla="*/ 4851298 w 7998358"/>
              <a:gd name="connsiteY2" fmla="*/ 5 h 1354980"/>
              <a:gd name="connsiteX3" fmla="*/ 7998358 w 7998358"/>
              <a:gd name="connsiteY3" fmla="*/ 1325885 h 1354980"/>
              <a:gd name="connsiteX4" fmla="*/ 7998358 w 7998358"/>
              <a:gd name="connsiteY4" fmla="*/ 1325885 h 1354980"/>
              <a:gd name="connsiteX0" fmla="*/ 0 w 8083710"/>
              <a:gd name="connsiteY0" fmla="*/ 1348247 h 1416187"/>
              <a:gd name="connsiteX1" fmla="*/ 2019611 w 8083710"/>
              <a:gd name="connsiteY1" fmla="*/ 1344085 h 1416187"/>
              <a:gd name="connsiteX2" fmla="*/ 4851298 w 8083710"/>
              <a:gd name="connsiteY2" fmla="*/ 15 h 1416187"/>
              <a:gd name="connsiteX3" fmla="*/ 7793634 w 8083710"/>
              <a:gd name="connsiteY3" fmla="*/ 1315640 h 1416187"/>
              <a:gd name="connsiteX4" fmla="*/ 7998358 w 8083710"/>
              <a:gd name="connsiteY4" fmla="*/ 1325895 h 1416187"/>
              <a:gd name="connsiteX5" fmla="*/ 7998358 w 8083710"/>
              <a:gd name="connsiteY5" fmla="*/ 1325895 h 1416187"/>
              <a:gd name="connsiteX0" fmla="*/ 0 w 7998358"/>
              <a:gd name="connsiteY0" fmla="*/ 1348247 h 1354990"/>
              <a:gd name="connsiteX1" fmla="*/ 2019611 w 7998358"/>
              <a:gd name="connsiteY1" fmla="*/ 1344085 h 1354990"/>
              <a:gd name="connsiteX2" fmla="*/ 4851298 w 7998358"/>
              <a:gd name="connsiteY2" fmla="*/ 15 h 1354990"/>
              <a:gd name="connsiteX3" fmla="*/ 7793634 w 7998358"/>
              <a:gd name="connsiteY3" fmla="*/ 1315640 h 1354990"/>
              <a:gd name="connsiteX4" fmla="*/ 7998358 w 7998358"/>
              <a:gd name="connsiteY4" fmla="*/ 1325895 h 1354990"/>
              <a:gd name="connsiteX5" fmla="*/ 7998358 w 7998358"/>
              <a:gd name="connsiteY5" fmla="*/ 1325895 h 1354990"/>
              <a:gd name="connsiteX0" fmla="*/ 0 w 8878702"/>
              <a:gd name="connsiteY0" fmla="*/ 1348247 h 1354990"/>
              <a:gd name="connsiteX1" fmla="*/ 2019611 w 8878702"/>
              <a:gd name="connsiteY1" fmla="*/ 1344085 h 1354990"/>
              <a:gd name="connsiteX2" fmla="*/ 4851298 w 8878702"/>
              <a:gd name="connsiteY2" fmla="*/ 15 h 1354990"/>
              <a:gd name="connsiteX3" fmla="*/ 7793634 w 8878702"/>
              <a:gd name="connsiteY3" fmla="*/ 1315640 h 1354990"/>
              <a:gd name="connsiteX4" fmla="*/ 7998358 w 8878702"/>
              <a:gd name="connsiteY4" fmla="*/ 1325895 h 1354990"/>
              <a:gd name="connsiteX5" fmla="*/ 8878702 w 8878702"/>
              <a:gd name="connsiteY5" fmla="*/ 1318784 h 1354990"/>
              <a:gd name="connsiteX0" fmla="*/ 0 w 8878702"/>
              <a:gd name="connsiteY0" fmla="*/ 1348247 h 1414001"/>
              <a:gd name="connsiteX1" fmla="*/ 2019611 w 8878702"/>
              <a:gd name="connsiteY1" fmla="*/ 1344085 h 1414001"/>
              <a:gd name="connsiteX2" fmla="*/ 4851298 w 8878702"/>
              <a:gd name="connsiteY2" fmla="*/ 15 h 1414001"/>
              <a:gd name="connsiteX3" fmla="*/ 7793634 w 8878702"/>
              <a:gd name="connsiteY3" fmla="*/ 1315640 h 1414001"/>
              <a:gd name="connsiteX4" fmla="*/ 8878702 w 8878702"/>
              <a:gd name="connsiteY4" fmla="*/ 1318784 h 1414001"/>
              <a:gd name="connsiteX0" fmla="*/ 0 w 9875562"/>
              <a:gd name="connsiteY0" fmla="*/ 1348247 h 1414001"/>
              <a:gd name="connsiteX1" fmla="*/ 2019611 w 9875562"/>
              <a:gd name="connsiteY1" fmla="*/ 1344085 h 1414001"/>
              <a:gd name="connsiteX2" fmla="*/ 4851298 w 9875562"/>
              <a:gd name="connsiteY2" fmla="*/ 15 h 1414001"/>
              <a:gd name="connsiteX3" fmla="*/ 7793634 w 9875562"/>
              <a:gd name="connsiteY3" fmla="*/ 1315640 h 1414001"/>
              <a:gd name="connsiteX4" fmla="*/ 9875562 w 9875562"/>
              <a:gd name="connsiteY4" fmla="*/ 1318784 h 1414001"/>
              <a:gd name="connsiteX0" fmla="*/ 0 w 9875562"/>
              <a:gd name="connsiteY0" fmla="*/ 1348374 h 1374793"/>
              <a:gd name="connsiteX1" fmla="*/ 2019611 w 9875562"/>
              <a:gd name="connsiteY1" fmla="*/ 1344212 h 1374793"/>
              <a:gd name="connsiteX2" fmla="*/ 4851298 w 9875562"/>
              <a:gd name="connsiteY2" fmla="*/ 142 h 1374793"/>
              <a:gd name="connsiteX3" fmla="*/ 7534709 w 9875562"/>
              <a:gd name="connsiteY3" fmla="*/ 1258875 h 1374793"/>
              <a:gd name="connsiteX4" fmla="*/ 9875562 w 9875562"/>
              <a:gd name="connsiteY4" fmla="*/ 1318911 h 1374793"/>
              <a:gd name="connsiteX0" fmla="*/ 0 w 9875562"/>
              <a:gd name="connsiteY0" fmla="*/ 1348350 h 1374769"/>
              <a:gd name="connsiteX1" fmla="*/ 2019611 w 9875562"/>
              <a:gd name="connsiteY1" fmla="*/ 1344188 h 1374769"/>
              <a:gd name="connsiteX2" fmla="*/ 4851298 w 9875562"/>
              <a:gd name="connsiteY2" fmla="*/ 118 h 1374769"/>
              <a:gd name="connsiteX3" fmla="*/ 7534709 w 9875562"/>
              <a:gd name="connsiteY3" fmla="*/ 1258851 h 1374769"/>
              <a:gd name="connsiteX4" fmla="*/ 9875562 w 9875562"/>
              <a:gd name="connsiteY4" fmla="*/ 1318887 h 1374769"/>
              <a:gd name="connsiteX0" fmla="*/ 0 w 9875562"/>
              <a:gd name="connsiteY0" fmla="*/ 1348368 h 1374787"/>
              <a:gd name="connsiteX1" fmla="*/ 2019611 w 9875562"/>
              <a:gd name="connsiteY1" fmla="*/ 1344206 h 1374787"/>
              <a:gd name="connsiteX2" fmla="*/ 4851298 w 9875562"/>
              <a:gd name="connsiteY2" fmla="*/ 136 h 1374787"/>
              <a:gd name="connsiteX3" fmla="*/ 7534709 w 9875562"/>
              <a:gd name="connsiteY3" fmla="*/ 1258869 h 1374787"/>
              <a:gd name="connsiteX4" fmla="*/ 9875562 w 9875562"/>
              <a:gd name="connsiteY4" fmla="*/ 1318905 h 1374787"/>
              <a:gd name="connsiteX0" fmla="*/ 0 w 9875562"/>
              <a:gd name="connsiteY0" fmla="*/ 1348352 h 1355095"/>
              <a:gd name="connsiteX1" fmla="*/ 2019611 w 9875562"/>
              <a:gd name="connsiteY1" fmla="*/ 1344190 h 1355095"/>
              <a:gd name="connsiteX2" fmla="*/ 4851298 w 9875562"/>
              <a:gd name="connsiteY2" fmla="*/ 120 h 1355095"/>
              <a:gd name="connsiteX3" fmla="*/ 7534709 w 9875562"/>
              <a:gd name="connsiteY3" fmla="*/ 1258853 h 1355095"/>
              <a:gd name="connsiteX4" fmla="*/ 9875562 w 9875562"/>
              <a:gd name="connsiteY4" fmla="*/ 1318889 h 1355095"/>
              <a:gd name="connsiteX0" fmla="*/ 0 w 9875562"/>
              <a:gd name="connsiteY0" fmla="*/ 1348352 h 1355095"/>
              <a:gd name="connsiteX1" fmla="*/ 2019611 w 9875562"/>
              <a:gd name="connsiteY1" fmla="*/ 1344190 h 1355095"/>
              <a:gd name="connsiteX2" fmla="*/ 4851298 w 9875562"/>
              <a:gd name="connsiteY2" fmla="*/ 120 h 1355095"/>
              <a:gd name="connsiteX3" fmla="*/ 7534709 w 9875562"/>
              <a:gd name="connsiteY3" fmla="*/ 1258853 h 1355095"/>
              <a:gd name="connsiteX4" fmla="*/ 9875562 w 9875562"/>
              <a:gd name="connsiteY4" fmla="*/ 1318889 h 1355095"/>
              <a:gd name="connsiteX0" fmla="*/ 0 w 9875562"/>
              <a:gd name="connsiteY0" fmla="*/ 1348351 h 1355094"/>
              <a:gd name="connsiteX1" fmla="*/ 2019611 w 9875562"/>
              <a:gd name="connsiteY1" fmla="*/ 1344189 h 1355094"/>
              <a:gd name="connsiteX2" fmla="*/ 4851298 w 9875562"/>
              <a:gd name="connsiteY2" fmla="*/ 119 h 1355094"/>
              <a:gd name="connsiteX3" fmla="*/ 7534709 w 9875562"/>
              <a:gd name="connsiteY3" fmla="*/ 1258852 h 1355094"/>
              <a:gd name="connsiteX4" fmla="*/ 9875562 w 9875562"/>
              <a:gd name="connsiteY4" fmla="*/ 1318888 h 1355094"/>
              <a:gd name="connsiteX0" fmla="*/ 0 w 9849670"/>
              <a:gd name="connsiteY0" fmla="*/ 1348373 h 1355116"/>
              <a:gd name="connsiteX1" fmla="*/ 2019611 w 9849670"/>
              <a:gd name="connsiteY1" fmla="*/ 1344211 h 1355116"/>
              <a:gd name="connsiteX2" fmla="*/ 4851298 w 9849670"/>
              <a:gd name="connsiteY2" fmla="*/ 141 h 1355116"/>
              <a:gd name="connsiteX3" fmla="*/ 7534709 w 9849670"/>
              <a:gd name="connsiteY3" fmla="*/ 1258874 h 1355116"/>
              <a:gd name="connsiteX4" fmla="*/ 9849670 w 9849670"/>
              <a:gd name="connsiteY4" fmla="*/ 1262018 h 1355116"/>
              <a:gd name="connsiteX0" fmla="*/ 0 w 9849670"/>
              <a:gd name="connsiteY0" fmla="*/ 1348353 h 1355096"/>
              <a:gd name="connsiteX1" fmla="*/ 2019611 w 9849670"/>
              <a:gd name="connsiteY1" fmla="*/ 1344191 h 1355096"/>
              <a:gd name="connsiteX2" fmla="*/ 4851298 w 9849670"/>
              <a:gd name="connsiteY2" fmla="*/ 121 h 1355096"/>
              <a:gd name="connsiteX3" fmla="*/ 7534709 w 9849670"/>
              <a:gd name="connsiteY3" fmla="*/ 1258854 h 1355096"/>
              <a:gd name="connsiteX4" fmla="*/ 9849670 w 9849670"/>
              <a:gd name="connsiteY4" fmla="*/ 1261998 h 1355096"/>
              <a:gd name="connsiteX0" fmla="*/ 0 w 8807411"/>
              <a:gd name="connsiteY0" fmla="*/ 1356118 h 1448949"/>
              <a:gd name="connsiteX1" fmla="*/ 977352 w 8807411"/>
              <a:gd name="connsiteY1" fmla="*/ 1344191 h 1448949"/>
              <a:gd name="connsiteX2" fmla="*/ 3809039 w 8807411"/>
              <a:gd name="connsiteY2" fmla="*/ 121 h 1448949"/>
              <a:gd name="connsiteX3" fmla="*/ 6492450 w 8807411"/>
              <a:gd name="connsiteY3" fmla="*/ 1258854 h 1448949"/>
              <a:gd name="connsiteX4" fmla="*/ 8807411 w 8807411"/>
              <a:gd name="connsiteY4" fmla="*/ 1261998 h 1448949"/>
              <a:gd name="connsiteX0" fmla="*/ 0 w 8807411"/>
              <a:gd name="connsiteY0" fmla="*/ 1356118 h 1356118"/>
              <a:gd name="connsiteX1" fmla="*/ 977352 w 8807411"/>
              <a:gd name="connsiteY1" fmla="*/ 1344191 h 1356118"/>
              <a:gd name="connsiteX2" fmla="*/ 3809039 w 8807411"/>
              <a:gd name="connsiteY2" fmla="*/ 121 h 1356118"/>
              <a:gd name="connsiteX3" fmla="*/ 6492450 w 8807411"/>
              <a:gd name="connsiteY3" fmla="*/ 1258854 h 1356118"/>
              <a:gd name="connsiteX4" fmla="*/ 8807411 w 8807411"/>
              <a:gd name="connsiteY4" fmla="*/ 1261998 h 1356118"/>
              <a:gd name="connsiteX0" fmla="*/ 0 w 7554359"/>
              <a:gd name="connsiteY0" fmla="*/ 1356138 h 1356138"/>
              <a:gd name="connsiteX1" fmla="*/ 977352 w 7554359"/>
              <a:gd name="connsiteY1" fmla="*/ 1344211 h 1356138"/>
              <a:gd name="connsiteX2" fmla="*/ 3809039 w 7554359"/>
              <a:gd name="connsiteY2" fmla="*/ 141 h 1356138"/>
              <a:gd name="connsiteX3" fmla="*/ 6492450 w 7554359"/>
              <a:gd name="connsiteY3" fmla="*/ 1258874 h 1356138"/>
              <a:gd name="connsiteX4" fmla="*/ 7554359 w 7554359"/>
              <a:gd name="connsiteY4" fmla="*/ 1262018 h 1356138"/>
              <a:gd name="connsiteX0" fmla="*/ 0 w 7554359"/>
              <a:gd name="connsiteY0" fmla="*/ 1356117 h 1356117"/>
              <a:gd name="connsiteX1" fmla="*/ 977352 w 7554359"/>
              <a:gd name="connsiteY1" fmla="*/ 1344190 h 1356117"/>
              <a:gd name="connsiteX2" fmla="*/ 3809039 w 7554359"/>
              <a:gd name="connsiteY2" fmla="*/ 120 h 1356117"/>
              <a:gd name="connsiteX3" fmla="*/ 6492450 w 7554359"/>
              <a:gd name="connsiteY3" fmla="*/ 1258853 h 1356117"/>
              <a:gd name="connsiteX4" fmla="*/ 7554359 w 7554359"/>
              <a:gd name="connsiteY4" fmla="*/ 1261997 h 1356117"/>
              <a:gd name="connsiteX0" fmla="*/ 0 w 7554359"/>
              <a:gd name="connsiteY0" fmla="*/ 1356117 h 1356117"/>
              <a:gd name="connsiteX1" fmla="*/ 977352 w 7554359"/>
              <a:gd name="connsiteY1" fmla="*/ 1344190 h 1356117"/>
              <a:gd name="connsiteX2" fmla="*/ 3809039 w 7554359"/>
              <a:gd name="connsiteY2" fmla="*/ 120 h 1356117"/>
              <a:gd name="connsiteX3" fmla="*/ 6492450 w 7554359"/>
              <a:gd name="connsiteY3" fmla="*/ 1258853 h 1356117"/>
              <a:gd name="connsiteX4" fmla="*/ 7554359 w 7554359"/>
              <a:gd name="connsiteY4" fmla="*/ 1261997 h 1356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54359" h="1356117">
                <a:moveTo>
                  <a:pt x="0" y="1356117"/>
                </a:moveTo>
                <a:lnTo>
                  <a:pt x="977352" y="1344190"/>
                </a:lnTo>
                <a:cubicBezTo>
                  <a:pt x="2631030" y="1327826"/>
                  <a:pt x="2889856" y="14343"/>
                  <a:pt x="3809039" y="120"/>
                </a:cubicBezTo>
                <a:cubicBezTo>
                  <a:pt x="4728222" y="-14103"/>
                  <a:pt x="4968500" y="1242611"/>
                  <a:pt x="6492450" y="1258853"/>
                </a:cubicBezTo>
                <a:lnTo>
                  <a:pt x="7554359" y="1261997"/>
                </a:lnTo>
              </a:path>
            </a:pathLst>
          </a:custGeom>
          <a:noFill/>
          <a:ln w="12700" cap="flat" cmpd="sng" algn="ctr">
            <a:solidFill>
              <a:srgbClr val="66CCFF"/>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cxnSp>
        <p:nvCxnSpPr>
          <p:cNvPr id="7" name="Straight Arrow Connector 6"/>
          <p:cNvCxnSpPr>
            <a:stCxn id="484" idx="2"/>
            <a:endCxn id="499" idx="2"/>
          </p:cNvCxnSpPr>
          <p:nvPr/>
        </p:nvCxnSpPr>
        <p:spPr bwMode="auto">
          <a:xfrm>
            <a:off x="3252100" y="5463579"/>
            <a:ext cx="1131670" cy="0"/>
          </a:xfrm>
          <a:prstGeom prst="straightConnector1">
            <a:avLst/>
          </a:prstGeom>
          <a:solidFill>
            <a:schemeClr val="folHlink"/>
          </a:solidFill>
          <a:ln w="12700"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03" name="Freihandform 483"/>
          <p:cNvSpPr/>
          <p:nvPr/>
        </p:nvSpPr>
        <p:spPr bwMode="auto">
          <a:xfrm>
            <a:off x="2712533" y="5087204"/>
            <a:ext cx="3358081" cy="816149"/>
          </a:xfrm>
          <a:custGeom>
            <a:avLst/>
            <a:gdLst>
              <a:gd name="connsiteX0" fmla="*/ 0 w 6134100"/>
              <a:gd name="connsiteY0" fmla="*/ 15240 h 15240"/>
              <a:gd name="connsiteX1" fmla="*/ 6134100 w 6134100"/>
              <a:gd name="connsiteY1" fmla="*/ 0 h 15240"/>
              <a:gd name="connsiteX2" fmla="*/ 6134100 w 6134100"/>
              <a:gd name="connsiteY2" fmla="*/ 0 h 15240"/>
              <a:gd name="connsiteX0" fmla="*/ 0 w 6134100"/>
              <a:gd name="connsiteY0" fmla="*/ 15240 h 15240"/>
              <a:gd name="connsiteX1" fmla="*/ 3009900 w 6134100"/>
              <a:gd name="connsiteY1" fmla="*/ 15240 h 15240"/>
              <a:gd name="connsiteX2" fmla="*/ 6134100 w 6134100"/>
              <a:gd name="connsiteY2" fmla="*/ 0 h 15240"/>
              <a:gd name="connsiteX3" fmla="*/ 6134100 w 6134100"/>
              <a:gd name="connsiteY3" fmla="*/ 0 h 1524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1310640 w 6134100"/>
              <a:gd name="connsiteY1" fmla="*/ 74676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495800 w 6134100"/>
              <a:gd name="connsiteY3" fmla="*/ 632460 h 1341120"/>
              <a:gd name="connsiteX4" fmla="*/ 6134100 w 6134100"/>
              <a:gd name="connsiteY4" fmla="*/ 1325880 h 1341120"/>
              <a:gd name="connsiteX5" fmla="*/ 6134100 w 6134100"/>
              <a:gd name="connsiteY5"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556760 w 6134100"/>
              <a:gd name="connsiteY3" fmla="*/ 1036320 h 1341120"/>
              <a:gd name="connsiteX4" fmla="*/ 6134100 w 6134100"/>
              <a:gd name="connsiteY4" fmla="*/ 1325880 h 1341120"/>
              <a:gd name="connsiteX5" fmla="*/ 6134100 w 6134100"/>
              <a:gd name="connsiteY5" fmla="*/ 1325880 h 1341120"/>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64"/>
              <a:gd name="connsiteX1" fmla="*/ 2987040 w 6134100"/>
              <a:gd name="connsiteY1" fmla="*/ 4 h 1341164"/>
              <a:gd name="connsiteX2" fmla="*/ 6134100 w 6134100"/>
              <a:gd name="connsiteY2" fmla="*/ 1325884 h 1341164"/>
              <a:gd name="connsiteX3" fmla="*/ 6134100 w 6134100"/>
              <a:gd name="connsiteY3" fmla="*/ 1325884 h 1341164"/>
              <a:gd name="connsiteX0" fmla="*/ 107031 w 6241131"/>
              <a:gd name="connsiteY0" fmla="*/ 1341125 h 1442766"/>
              <a:gd name="connsiteX1" fmla="*/ 262384 w 6241131"/>
              <a:gd name="connsiteY1" fmla="*/ 1344075 h 1442766"/>
              <a:gd name="connsiteX2" fmla="*/ 3094071 w 6241131"/>
              <a:gd name="connsiteY2" fmla="*/ 5 h 1442766"/>
              <a:gd name="connsiteX3" fmla="*/ 6241131 w 6241131"/>
              <a:gd name="connsiteY3" fmla="*/ 1325885 h 1442766"/>
              <a:gd name="connsiteX4" fmla="*/ 6241131 w 6241131"/>
              <a:gd name="connsiteY4" fmla="*/ 1325885 h 1442766"/>
              <a:gd name="connsiteX0" fmla="*/ 0 w 7972466"/>
              <a:gd name="connsiteY0" fmla="*/ 1405128 h 1462299"/>
              <a:gd name="connsiteX1" fmla="*/ 1993719 w 7972466"/>
              <a:gd name="connsiteY1" fmla="*/ 1344075 h 1462299"/>
              <a:gd name="connsiteX2" fmla="*/ 4825406 w 7972466"/>
              <a:gd name="connsiteY2" fmla="*/ 5 h 1462299"/>
              <a:gd name="connsiteX3" fmla="*/ 7972466 w 7972466"/>
              <a:gd name="connsiteY3" fmla="*/ 1325885 h 1462299"/>
              <a:gd name="connsiteX4" fmla="*/ 7972466 w 7972466"/>
              <a:gd name="connsiteY4" fmla="*/ 1325885 h 1462299"/>
              <a:gd name="connsiteX0" fmla="*/ 0 w 7972466"/>
              <a:gd name="connsiteY0" fmla="*/ 1405128 h 1462299"/>
              <a:gd name="connsiteX1" fmla="*/ 1993719 w 7972466"/>
              <a:gd name="connsiteY1" fmla="*/ 1344075 h 1462299"/>
              <a:gd name="connsiteX2" fmla="*/ 4825406 w 7972466"/>
              <a:gd name="connsiteY2" fmla="*/ 5 h 1462299"/>
              <a:gd name="connsiteX3" fmla="*/ 7972466 w 7972466"/>
              <a:gd name="connsiteY3" fmla="*/ 1325885 h 1462299"/>
              <a:gd name="connsiteX4" fmla="*/ 7972466 w 7972466"/>
              <a:gd name="connsiteY4" fmla="*/ 1325885 h 1462299"/>
              <a:gd name="connsiteX0" fmla="*/ 0 w 7972466"/>
              <a:gd name="connsiteY0" fmla="*/ 1405128 h 1409339"/>
              <a:gd name="connsiteX1" fmla="*/ 1993719 w 7972466"/>
              <a:gd name="connsiteY1" fmla="*/ 1344075 h 1409339"/>
              <a:gd name="connsiteX2" fmla="*/ 4825406 w 7972466"/>
              <a:gd name="connsiteY2" fmla="*/ 5 h 1409339"/>
              <a:gd name="connsiteX3" fmla="*/ 7972466 w 7972466"/>
              <a:gd name="connsiteY3" fmla="*/ 1325885 h 1409339"/>
              <a:gd name="connsiteX4" fmla="*/ 7972466 w 7972466"/>
              <a:gd name="connsiteY4" fmla="*/ 1325885 h 1409339"/>
              <a:gd name="connsiteX0" fmla="*/ 0 w 7972466"/>
              <a:gd name="connsiteY0" fmla="*/ 1405128 h 1405131"/>
              <a:gd name="connsiteX1" fmla="*/ 1993719 w 7972466"/>
              <a:gd name="connsiteY1" fmla="*/ 1344075 h 1405131"/>
              <a:gd name="connsiteX2" fmla="*/ 4825406 w 7972466"/>
              <a:gd name="connsiteY2" fmla="*/ 5 h 1405131"/>
              <a:gd name="connsiteX3" fmla="*/ 7972466 w 7972466"/>
              <a:gd name="connsiteY3" fmla="*/ 1325885 h 1405131"/>
              <a:gd name="connsiteX4" fmla="*/ 7972466 w 7972466"/>
              <a:gd name="connsiteY4" fmla="*/ 1325885 h 1405131"/>
              <a:gd name="connsiteX0" fmla="*/ 0 w 7972466"/>
              <a:gd name="connsiteY0" fmla="*/ 1355348 h 1447593"/>
              <a:gd name="connsiteX1" fmla="*/ 1993719 w 7972466"/>
              <a:gd name="connsiteY1" fmla="*/ 1344075 h 1447593"/>
              <a:gd name="connsiteX2" fmla="*/ 4825406 w 7972466"/>
              <a:gd name="connsiteY2" fmla="*/ 5 h 1447593"/>
              <a:gd name="connsiteX3" fmla="*/ 7972466 w 7972466"/>
              <a:gd name="connsiteY3" fmla="*/ 1325885 h 1447593"/>
              <a:gd name="connsiteX4" fmla="*/ 7972466 w 7972466"/>
              <a:gd name="connsiteY4" fmla="*/ 1325885 h 1447593"/>
              <a:gd name="connsiteX0" fmla="*/ 0 w 7972466"/>
              <a:gd name="connsiteY0" fmla="*/ 1355348 h 1447593"/>
              <a:gd name="connsiteX1" fmla="*/ 1993719 w 7972466"/>
              <a:gd name="connsiteY1" fmla="*/ 1344075 h 1447593"/>
              <a:gd name="connsiteX2" fmla="*/ 4825406 w 7972466"/>
              <a:gd name="connsiteY2" fmla="*/ 5 h 1447593"/>
              <a:gd name="connsiteX3" fmla="*/ 7972466 w 7972466"/>
              <a:gd name="connsiteY3" fmla="*/ 1325885 h 1447593"/>
              <a:gd name="connsiteX4" fmla="*/ 7972466 w 7972466"/>
              <a:gd name="connsiteY4" fmla="*/ 1325885 h 1447593"/>
              <a:gd name="connsiteX0" fmla="*/ 16806 w 7989272"/>
              <a:gd name="connsiteY0" fmla="*/ 1355348 h 1820552"/>
              <a:gd name="connsiteX1" fmla="*/ 223946 w 7989272"/>
              <a:gd name="connsiteY1" fmla="*/ 1820547 h 1820552"/>
              <a:gd name="connsiteX2" fmla="*/ 2010525 w 7989272"/>
              <a:gd name="connsiteY2" fmla="*/ 1344075 h 1820552"/>
              <a:gd name="connsiteX3" fmla="*/ 4842212 w 7989272"/>
              <a:gd name="connsiteY3" fmla="*/ 5 h 1820552"/>
              <a:gd name="connsiteX4" fmla="*/ 7989272 w 7989272"/>
              <a:gd name="connsiteY4" fmla="*/ 1325885 h 1820552"/>
              <a:gd name="connsiteX5" fmla="*/ 7989272 w 7989272"/>
              <a:gd name="connsiteY5" fmla="*/ 1325885 h 1820552"/>
              <a:gd name="connsiteX0" fmla="*/ 0 w 7972466"/>
              <a:gd name="connsiteY0" fmla="*/ 1355348 h 1446932"/>
              <a:gd name="connsiteX1" fmla="*/ 1993719 w 7972466"/>
              <a:gd name="connsiteY1" fmla="*/ 1344075 h 1446932"/>
              <a:gd name="connsiteX2" fmla="*/ 4825406 w 7972466"/>
              <a:gd name="connsiteY2" fmla="*/ 5 h 1446932"/>
              <a:gd name="connsiteX3" fmla="*/ 7972466 w 7972466"/>
              <a:gd name="connsiteY3" fmla="*/ 1325885 h 1446932"/>
              <a:gd name="connsiteX4" fmla="*/ 7972466 w 7972466"/>
              <a:gd name="connsiteY4" fmla="*/ 1325885 h 1446932"/>
              <a:gd name="connsiteX0" fmla="*/ 0 w 7985412"/>
              <a:gd name="connsiteY0" fmla="*/ 1405129 h 1466059"/>
              <a:gd name="connsiteX1" fmla="*/ 2006665 w 7985412"/>
              <a:gd name="connsiteY1" fmla="*/ 1344075 h 1466059"/>
              <a:gd name="connsiteX2" fmla="*/ 4838352 w 7985412"/>
              <a:gd name="connsiteY2" fmla="*/ 5 h 1466059"/>
              <a:gd name="connsiteX3" fmla="*/ 7985412 w 7985412"/>
              <a:gd name="connsiteY3" fmla="*/ 1325885 h 1466059"/>
              <a:gd name="connsiteX4" fmla="*/ 7985412 w 7985412"/>
              <a:gd name="connsiteY4" fmla="*/ 1325885 h 1466059"/>
              <a:gd name="connsiteX0" fmla="*/ 0 w 7985412"/>
              <a:gd name="connsiteY0" fmla="*/ 1405129 h 1405129"/>
              <a:gd name="connsiteX1" fmla="*/ 2006665 w 7985412"/>
              <a:gd name="connsiteY1" fmla="*/ 1344075 h 1405129"/>
              <a:gd name="connsiteX2" fmla="*/ 4838352 w 7985412"/>
              <a:gd name="connsiteY2" fmla="*/ 5 h 1405129"/>
              <a:gd name="connsiteX3" fmla="*/ 7985412 w 7985412"/>
              <a:gd name="connsiteY3" fmla="*/ 1325885 h 1405129"/>
              <a:gd name="connsiteX4" fmla="*/ 7985412 w 7985412"/>
              <a:gd name="connsiteY4" fmla="*/ 1325885 h 1405129"/>
              <a:gd name="connsiteX0" fmla="*/ 0 w 7998358"/>
              <a:gd name="connsiteY0" fmla="*/ 1348237 h 1444504"/>
              <a:gd name="connsiteX1" fmla="*/ 2019611 w 7998358"/>
              <a:gd name="connsiteY1" fmla="*/ 1344075 h 1444504"/>
              <a:gd name="connsiteX2" fmla="*/ 4851298 w 7998358"/>
              <a:gd name="connsiteY2" fmla="*/ 5 h 1444504"/>
              <a:gd name="connsiteX3" fmla="*/ 7998358 w 7998358"/>
              <a:gd name="connsiteY3" fmla="*/ 1325885 h 1444504"/>
              <a:gd name="connsiteX4" fmla="*/ 7998358 w 7998358"/>
              <a:gd name="connsiteY4" fmla="*/ 1325885 h 1444504"/>
              <a:gd name="connsiteX0" fmla="*/ 0 w 7998358"/>
              <a:gd name="connsiteY0" fmla="*/ 1348237 h 1446121"/>
              <a:gd name="connsiteX1" fmla="*/ 2019611 w 7998358"/>
              <a:gd name="connsiteY1" fmla="*/ 1344075 h 1446121"/>
              <a:gd name="connsiteX2" fmla="*/ 4851298 w 7998358"/>
              <a:gd name="connsiteY2" fmla="*/ 5 h 1446121"/>
              <a:gd name="connsiteX3" fmla="*/ 7998358 w 7998358"/>
              <a:gd name="connsiteY3" fmla="*/ 1325885 h 1446121"/>
              <a:gd name="connsiteX4" fmla="*/ 7998358 w 7998358"/>
              <a:gd name="connsiteY4" fmla="*/ 1325885 h 1446121"/>
              <a:gd name="connsiteX0" fmla="*/ 0 w 7998358"/>
              <a:gd name="connsiteY0" fmla="*/ 1348237 h 1354980"/>
              <a:gd name="connsiteX1" fmla="*/ 2019611 w 7998358"/>
              <a:gd name="connsiteY1" fmla="*/ 1344075 h 1354980"/>
              <a:gd name="connsiteX2" fmla="*/ 4851298 w 7998358"/>
              <a:gd name="connsiteY2" fmla="*/ 5 h 1354980"/>
              <a:gd name="connsiteX3" fmla="*/ 7998358 w 7998358"/>
              <a:gd name="connsiteY3" fmla="*/ 1325885 h 1354980"/>
              <a:gd name="connsiteX4" fmla="*/ 7998358 w 7998358"/>
              <a:gd name="connsiteY4" fmla="*/ 1325885 h 1354980"/>
              <a:gd name="connsiteX0" fmla="*/ 0 w 8083710"/>
              <a:gd name="connsiteY0" fmla="*/ 1348247 h 1416187"/>
              <a:gd name="connsiteX1" fmla="*/ 2019611 w 8083710"/>
              <a:gd name="connsiteY1" fmla="*/ 1344085 h 1416187"/>
              <a:gd name="connsiteX2" fmla="*/ 4851298 w 8083710"/>
              <a:gd name="connsiteY2" fmla="*/ 15 h 1416187"/>
              <a:gd name="connsiteX3" fmla="*/ 7793634 w 8083710"/>
              <a:gd name="connsiteY3" fmla="*/ 1315640 h 1416187"/>
              <a:gd name="connsiteX4" fmla="*/ 7998358 w 8083710"/>
              <a:gd name="connsiteY4" fmla="*/ 1325895 h 1416187"/>
              <a:gd name="connsiteX5" fmla="*/ 7998358 w 8083710"/>
              <a:gd name="connsiteY5" fmla="*/ 1325895 h 1416187"/>
              <a:gd name="connsiteX0" fmla="*/ 0 w 7998358"/>
              <a:gd name="connsiteY0" fmla="*/ 1348247 h 1354990"/>
              <a:gd name="connsiteX1" fmla="*/ 2019611 w 7998358"/>
              <a:gd name="connsiteY1" fmla="*/ 1344085 h 1354990"/>
              <a:gd name="connsiteX2" fmla="*/ 4851298 w 7998358"/>
              <a:gd name="connsiteY2" fmla="*/ 15 h 1354990"/>
              <a:gd name="connsiteX3" fmla="*/ 7793634 w 7998358"/>
              <a:gd name="connsiteY3" fmla="*/ 1315640 h 1354990"/>
              <a:gd name="connsiteX4" fmla="*/ 7998358 w 7998358"/>
              <a:gd name="connsiteY4" fmla="*/ 1325895 h 1354990"/>
              <a:gd name="connsiteX5" fmla="*/ 7998358 w 7998358"/>
              <a:gd name="connsiteY5" fmla="*/ 1325895 h 1354990"/>
              <a:gd name="connsiteX0" fmla="*/ 0 w 8878702"/>
              <a:gd name="connsiteY0" fmla="*/ 1348247 h 1354990"/>
              <a:gd name="connsiteX1" fmla="*/ 2019611 w 8878702"/>
              <a:gd name="connsiteY1" fmla="*/ 1344085 h 1354990"/>
              <a:gd name="connsiteX2" fmla="*/ 4851298 w 8878702"/>
              <a:gd name="connsiteY2" fmla="*/ 15 h 1354990"/>
              <a:gd name="connsiteX3" fmla="*/ 7793634 w 8878702"/>
              <a:gd name="connsiteY3" fmla="*/ 1315640 h 1354990"/>
              <a:gd name="connsiteX4" fmla="*/ 7998358 w 8878702"/>
              <a:gd name="connsiteY4" fmla="*/ 1325895 h 1354990"/>
              <a:gd name="connsiteX5" fmla="*/ 8878702 w 8878702"/>
              <a:gd name="connsiteY5" fmla="*/ 1318784 h 1354990"/>
              <a:gd name="connsiteX0" fmla="*/ 0 w 8878702"/>
              <a:gd name="connsiteY0" fmla="*/ 1348247 h 1414001"/>
              <a:gd name="connsiteX1" fmla="*/ 2019611 w 8878702"/>
              <a:gd name="connsiteY1" fmla="*/ 1344085 h 1414001"/>
              <a:gd name="connsiteX2" fmla="*/ 4851298 w 8878702"/>
              <a:gd name="connsiteY2" fmla="*/ 15 h 1414001"/>
              <a:gd name="connsiteX3" fmla="*/ 7793634 w 8878702"/>
              <a:gd name="connsiteY3" fmla="*/ 1315640 h 1414001"/>
              <a:gd name="connsiteX4" fmla="*/ 8878702 w 8878702"/>
              <a:gd name="connsiteY4" fmla="*/ 1318784 h 1414001"/>
              <a:gd name="connsiteX0" fmla="*/ 0 w 9875562"/>
              <a:gd name="connsiteY0" fmla="*/ 1348247 h 1414001"/>
              <a:gd name="connsiteX1" fmla="*/ 2019611 w 9875562"/>
              <a:gd name="connsiteY1" fmla="*/ 1344085 h 1414001"/>
              <a:gd name="connsiteX2" fmla="*/ 4851298 w 9875562"/>
              <a:gd name="connsiteY2" fmla="*/ 15 h 1414001"/>
              <a:gd name="connsiteX3" fmla="*/ 7793634 w 9875562"/>
              <a:gd name="connsiteY3" fmla="*/ 1315640 h 1414001"/>
              <a:gd name="connsiteX4" fmla="*/ 9875562 w 9875562"/>
              <a:gd name="connsiteY4" fmla="*/ 1318784 h 1414001"/>
              <a:gd name="connsiteX0" fmla="*/ 0 w 9875562"/>
              <a:gd name="connsiteY0" fmla="*/ 1348374 h 1374793"/>
              <a:gd name="connsiteX1" fmla="*/ 2019611 w 9875562"/>
              <a:gd name="connsiteY1" fmla="*/ 1344212 h 1374793"/>
              <a:gd name="connsiteX2" fmla="*/ 4851298 w 9875562"/>
              <a:gd name="connsiteY2" fmla="*/ 142 h 1374793"/>
              <a:gd name="connsiteX3" fmla="*/ 7534709 w 9875562"/>
              <a:gd name="connsiteY3" fmla="*/ 1258875 h 1374793"/>
              <a:gd name="connsiteX4" fmla="*/ 9875562 w 9875562"/>
              <a:gd name="connsiteY4" fmla="*/ 1318911 h 1374793"/>
              <a:gd name="connsiteX0" fmla="*/ 0 w 9875562"/>
              <a:gd name="connsiteY0" fmla="*/ 1348350 h 1374769"/>
              <a:gd name="connsiteX1" fmla="*/ 2019611 w 9875562"/>
              <a:gd name="connsiteY1" fmla="*/ 1344188 h 1374769"/>
              <a:gd name="connsiteX2" fmla="*/ 4851298 w 9875562"/>
              <a:gd name="connsiteY2" fmla="*/ 118 h 1374769"/>
              <a:gd name="connsiteX3" fmla="*/ 7534709 w 9875562"/>
              <a:gd name="connsiteY3" fmla="*/ 1258851 h 1374769"/>
              <a:gd name="connsiteX4" fmla="*/ 9875562 w 9875562"/>
              <a:gd name="connsiteY4" fmla="*/ 1318887 h 1374769"/>
              <a:gd name="connsiteX0" fmla="*/ 0 w 9875562"/>
              <a:gd name="connsiteY0" fmla="*/ 1348368 h 1374787"/>
              <a:gd name="connsiteX1" fmla="*/ 2019611 w 9875562"/>
              <a:gd name="connsiteY1" fmla="*/ 1344206 h 1374787"/>
              <a:gd name="connsiteX2" fmla="*/ 4851298 w 9875562"/>
              <a:gd name="connsiteY2" fmla="*/ 136 h 1374787"/>
              <a:gd name="connsiteX3" fmla="*/ 7534709 w 9875562"/>
              <a:gd name="connsiteY3" fmla="*/ 1258869 h 1374787"/>
              <a:gd name="connsiteX4" fmla="*/ 9875562 w 9875562"/>
              <a:gd name="connsiteY4" fmla="*/ 1318905 h 1374787"/>
              <a:gd name="connsiteX0" fmla="*/ 0 w 9875562"/>
              <a:gd name="connsiteY0" fmla="*/ 1348352 h 1355095"/>
              <a:gd name="connsiteX1" fmla="*/ 2019611 w 9875562"/>
              <a:gd name="connsiteY1" fmla="*/ 1344190 h 1355095"/>
              <a:gd name="connsiteX2" fmla="*/ 4851298 w 9875562"/>
              <a:gd name="connsiteY2" fmla="*/ 120 h 1355095"/>
              <a:gd name="connsiteX3" fmla="*/ 7534709 w 9875562"/>
              <a:gd name="connsiteY3" fmla="*/ 1258853 h 1355095"/>
              <a:gd name="connsiteX4" fmla="*/ 9875562 w 9875562"/>
              <a:gd name="connsiteY4" fmla="*/ 1318889 h 1355095"/>
              <a:gd name="connsiteX0" fmla="*/ 0 w 9875562"/>
              <a:gd name="connsiteY0" fmla="*/ 1348352 h 1355095"/>
              <a:gd name="connsiteX1" fmla="*/ 2019611 w 9875562"/>
              <a:gd name="connsiteY1" fmla="*/ 1344190 h 1355095"/>
              <a:gd name="connsiteX2" fmla="*/ 4851298 w 9875562"/>
              <a:gd name="connsiteY2" fmla="*/ 120 h 1355095"/>
              <a:gd name="connsiteX3" fmla="*/ 7534709 w 9875562"/>
              <a:gd name="connsiteY3" fmla="*/ 1258853 h 1355095"/>
              <a:gd name="connsiteX4" fmla="*/ 9875562 w 9875562"/>
              <a:gd name="connsiteY4" fmla="*/ 1318889 h 1355095"/>
              <a:gd name="connsiteX0" fmla="*/ 0 w 9875562"/>
              <a:gd name="connsiteY0" fmla="*/ 1348351 h 1355094"/>
              <a:gd name="connsiteX1" fmla="*/ 2019611 w 9875562"/>
              <a:gd name="connsiteY1" fmla="*/ 1344189 h 1355094"/>
              <a:gd name="connsiteX2" fmla="*/ 4851298 w 9875562"/>
              <a:gd name="connsiteY2" fmla="*/ 119 h 1355094"/>
              <a:gd name="connsiteX3" fmla="*/ 7534709 w 9875562"/>
              <a:gd name="connsiteY3" fmla="*/ 1258852 h 1355094"/>
              <a:gd name="connsiteX4" fmla="*/ 9875562 w 9875562"/>
              <a:gd name="connsiteY4" fmla="*/ 1318888 h 1355094"/>
              <a:gd name="connsiteX0" fmla="*/ 0 w 9849670"/>
              <a:gd name="connsiteY0" fmla="*/ 1348373 h 1355116"/>
              <a:gd name="connsiteX1" fmla="*/ 2019611 w 9849670"/>
              <a:gd name="connsiteY1" fmla="*/ 1344211 h 1355116"/>
              <a:gd name="connsiteX2" fmla="*/ 4851298 w 9849670"/>
              <a:gd name="connsiteY2" fmla="*/ 141 h 1355116"/>
              <a:gd name="connsiteX3" fmla="*/ 7534709 w 9849670"/>
              <a:gd name="connsiteY3" fmla="*/ 1258874 h 1355116"/>
              <a:gd name="connsiteX4" fmla="*/ 9849670 w 9849670"/>
              <a:gd name="connsiteY4" fmla="*/ 1262018 h 1355116"/>
              <a:gd name="connsiteX0" fmla="*/ 0 w 9849670"/>
              <a:gd name="connsiteY0" fmla="*/ 1348353 h 1355096"/>
              <a:gd name="connsiteX1" fmla="*/ 2019611 w 9849670"/>
              <a:gd name="connsiteY1" fmla="*/ 1344191 h 1355096"/>
              <a:gd name="connsiteX2" fmla="*/ 4851298 w 9849670"/>
              <a:gd name="connsiteY2" fmla="*/ 121 h 1355096"/>
              <a:gd name="connsiteX3" fmla="*/ 7534709 w 9849670"/>
              <a:gd name="connsiteY3" fmla="*/ 1258854 h 1355096"/>
              <a:gd name="connsiteX4" fmla="*/ 9849670 w 9849670"/>
              <a:gd name="connsiteY4" fmla="*/ 1261998 h 1355096"/>
              <a:gd name="connsiteX0" fmla="*/ 0 w 8807411"/>
              <a:gd name="connsiteY0" fmla="*/ 1356118 h 1448949"/>
              <a:gd name="connsiteX1" fmla="*/ 977352 w 8807411"/>
              <a:gd name="connsiteY1" fmla="*/ 1344191 h 1448949"/>
              <a:gd name="connsiteX2" fmla="*/ 3809039 w 8807411"/>
              <a:gd name="connsiteY2" fmla="*/ 121 h 1448949"/>
              <a:gd name="connsiteX3" fmla="*/ 6492450 w 8807411"/>
              <a:gd name="connsiteY3" fmla="*/ 1258854 h 1448949"/>
              <a:gd name="connsiteX4" fmla="*/ 8807411 w 8807411"/>
              <a:gd name="connsiteY4" fmla="*/ 1261998 h 1448949"/>
              <a:gd name="connsiteX0" fmla="*/ 0 w 8807411"/>
              <a:gd name="connsiteY0" fmla="*/ 1356118 h 1356118"/>
              <a:gd name="connsiteX1" fmla="*/ 977352 w 8807411"/>
              <a:gd name="connsiteY1" fmla="*/ 1344191 h 1356118"/>
              <a:gd name="connsiteX2" fmla="*/ 3809039 w 8807411"/>
              <a:gd name="connsiteY2" fmla="*/ 121 h 1356118"/>
              <a:gd name="connsiteX3" fmla="*/ 6492450 w 8807411"/>
              <a:gd name="connsiteY3" fmla="*/ 1258854 h 1356118"/>
              <a:gd name="connsiteX4" fmla="*/ 8807411 w 8807411"/>
              <a:gd name="connsiteY4" fmla="*/ 1261998 h 1356118"/>
              <a:gd name="connsiteX0" fmla="*/ 0 w 7554359"/>
              <a:gd name="connsiteY0" fmla="*/ 1356138 h 1356138"/>
              <a:gd name="connsiteX1" fmla="*/ 977352 w 7554359"/>
              <a:gd name="connsiteY1" fmla="*/ 1344211 h 1356138"/>
              <a:gd name="connsiteX2" fmla="*/ 3809039 w 7554359"/>
              <a:gd name="connsiteY2" fmla="*/ 141 h 1356138"/>
              <a:gd name="connsiteX3" fmla="*/ 6492450 w 7554359"/>
              <a:gd name="connsiteY3" fmla="*/ 1258874 h 1356138"/>
              <a:gd name="connsiteX4" fmla="*/ 7554359 w 7554359"/>
              <a:gd name="connsiteY4" fmla="*/ 1262018 h 1356138"/>
              <a:gd name="connsiteX0" fmla="*/ 0 w 7554359"/>
              <a:gd name="connsiteY0" fmla="*/ 1356117 h 1356117"/>
              <a:gd name="connsiteX1" fmla="*/ 977352 w 7554359"/>
              <a:gd name="connsiteY1" fmla="*/ 1344190 h 1356117"/>
              <a:gd name="connsiteX2" fmla="*/ 3809039 w 7554359"/>
              <a:gd name="connsiteY2" fmla="*/ 120 h 1356117"/>
              <a:gd name="connsiteX3" fmla="*/ 6492450 w 7554359"/>
              <a:gd name="connsiteY3" fmla="*/ 1258853 h 1356117"/>
              <a:gd name="connsiteX4" fmla="*/ 7554359 w 7554359"/>
              <a:gd name="connsiteY4" fmla="*/ 1261997 h 1356117"/>
              <a:gd name="connsiteX0" fmla="*/ 0 w 7554359"/>
              <a:gd name="connsiteY0" fmla="*/ 1356117 h 1356117"/>
              <a:gd name="connsiteX1" fmla="*/ 977352 w 7554359"/>
              <a:gd name="connsiteY1" fmla="*/ 1344190 h 1356117"/>
              <a:gd name="connsiteX2" fmla="*/ 3809039 w 7554359"/>
              <a:gd name="connsiteY2" fmla="*/ 120 h 1356117"/>
              <a:gd name="connsiteX3" fmla="*/ 6492450 w 7554359"/>
              <a:gd name="connsiteY3" fmla="*/ 1258853 h 1356117"/>
              <a:gd name="connsiteX4" fmla="*/ 7554359 w 7554359"/>
              <a:gd name="connsiteY4" fmla="*/ 1261997 h 1356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54359" h="1356117">
                <a:moveTo>
                  <a:pt x="0" y="1356117"/>
                </a:moveTo>
                <a:lnTo>
                  <a:pt x="977352" y="1344190"/>
                </a:lnTo>
                <a:cubicBezTo>
                  <a:pt x="2631030" y="1327826"/>
                  <a:pt x="2889856" y="14343"/>
                  <a:pt x="3809039" y="120"/>
                </a:cubicBezTo>
                <a:cubicBezTo>
                  <a:pt x="4728222" y="-14103"/>
                  <a:pt x="4968500" y="1242611"/>
                  <a:pt x="6492450" y="1258853"/>
                </a:cubicBezTo>
                <a:lnTo>
                  <a:pt x="7554359" y="1261997"/>
                </a:lnTo>
              </a:path>
            </a:pathLst>
          </a:custGeom>
          <a:noFill/>
          <a:ln w="12700" cap="flat" cmpd="sng" algn="ctr">
            <a:solidFill>
              <a:srgbClr val="0066FF"/>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cxnSp>
        <p:nvCxnSpPr>
          <p:cNvPr id="508" name="Straight Arrow Connector 507"/>
          <p:cNvCxnSpPr>
            <a:stCxn id="501" idx="2"/>
            <a:endCxn id="503" idx="2"/>
          </p:cNvCxnSpPr>
          <p:nvPr/>
        </p:nvCxnSpPr>
        <p:spPr bwMode="auto">
          <a:xfrm flipV="1">
            <a:off x="4399776" y="5087276"/>
            <a:ext cx="5960" cy="366551"/>
          </a:xfrm>
          <a:prstGeom prst="straightConnector1">
            <a:avLst/>
          </a:prstGeom>
          <a:solidFill>
            <a:schemeClr val="folHlink"/>
          </a:solidFill>
          <a:ln w="12700"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 name="Date Placeholder 2"/>
          <p:cNvSpPr>
            <a:spLocks noGrp="1"/>
          </p:cNvSpPr>
          <p:nvPr>
            <p:ph type="dt" sz="half" idx="10"/>
          </p:nvPr>
        </p:nvSpPr>
        <p:spPr/>
        <p:txBody>
          <a:bodyPr/>
          <a:lstStyle/>
          <a:p>
            <a:fld id="{03287E8C-92E2-4E92-AF20-89DEF9D3165F}" type="datetime1">
              <a:rPr lang="de-DE" smtClean="0">
                <a:solidFill>
                  <a:srgbClr val="000000"/>
                </a:solidFill>
              </a:rPr>
              <a:pPr/>
              <a:t>28.02.2019</a:t>
            </a:fld>
            <a:endParaRPr lang="en-US" dirty="0">
              <a:solidFill>
                <a:srgbClr val="000000"/>
              </a:solidFill>
            </a:endParaRPr>
          </a:p>
        </p:txBody>
      </p:sp>
      <p:sp>
        <p:nvSpPr>
          <p:cNvPr id="9" name="Slide Number Placeholder 8"/>
          <p:cNvSpPr>
            <a:spLocks noGrp="1"/>
          </p:cNvSpPr>
          <p:nvPr>
            <p:ph type="sldNum" sz="quarter" idx="11"/>
          </p:nvPr>
        </p:nvSpPr>
        <p:spPr/>
        <p:txBody>
          <a:bodyPr/>
          <a:lstStyle/>
          <a:p>
            <a:fld id="{E7106F61-AEF5-4A9D-9A53-47E3DFDE314C}" type="slidenum">
              <a:rPr lang="de-DE" smtClean="0">
                <a:solidFill>
                  <a:srgbClr val="000000"/>
                </a:solidFill>
              </a:rPr>
              <a:pPr/>
              <a:t>42</a:t>
            </a:fld>
            <a:endParaRPr lang="de-DE">
              <a:solidFill>
                <a:srgbClr val="000000"/>
              </a:solidFill>
            </a:endParaRPr>
          </a:p>
        </p:txBody>
      </p:sp>
    </p:spTree>
    <p:extLst>
      <p:ext uri="{BB962C8B-B14F-4D97-AF65-F5344CB8AC3E}">
        <p14:creationId xmlns:p14="http://schemas.microsoft.com/office/powerpoint/2010/main" val="37384527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9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8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6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9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0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96">
                                            <p:txEl>
                                              <p:pRg st="0" end="0"/>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96">
                                            <p:txEl>
                                              <p:pRg st="1" end="1"/>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96">
                                            <p:txEl>
                                              <p:pRg st="2" end="2"/>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50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0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4" grpId="0" animBg="1"/>
      <p:bldP spid="499" grpId="0" animBg="1"/>
      <p:bldP spid="464" grpId="0" animBg="1"/>
      <p:bldP spid="491" grpId="0" animBg="1"/>
      <p:bldP spid="501" grpId="0" animBg="1"/>
      <p:bldP spid="503"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bwMode="auto">
          <a:xfrm>
            <a:off x="0" y="0"/>
            <a:ext cx="914400" cy="0"/>
          </a:xfrm>
          <a:prstGeom prst="line">
            <a:avLst/>
          </a:prstGeom>
          <a:solidFill>
            <a:schemeClr val="folHlink"/>
          </a:solidFill>
          <a:ln w="0" cap="flat" cmpd="sng" algn="ctr">
            <a:solidFill>
              <a:srgbClr val="FBFFFF"/>
            </a:solidFill>
            <a:prstDash val="solid"/>
            <a:round/>
            <a:headEnd type="none" w="sm" len="sm"/>
            <a:tailEnd type="none" w="sm" len="sm"/>
          </a:ln>
          <a:effectLst/>
          <a:extLst>
            <a:ext uri="{AF507438-7753-43E0-B8FC-AC1667EBCBE1}">
              <a14:hiddenEffects xmlns:a14="http://schemas.microsoft.com/office/drawing/2010/main">
                <a:effectLst>
                  <a:outerShdw algn="ctr" rotWithShape="0">
                    <a:schemeClr val="bg2"/>
                  </a:outerShdw>
                </a:effectLst>
              </a14:hiddenEffects>
            </a:ext>
          </a:extLst>
        </p:spPr>
      </p:cxnSp>
      <p:sp>
        <p:nvSpPr>
          <p:cNvPr id="496" name="Textfeld 495"/>
          <p:cNvSpPr txBox="1"/>
          <p:nvPr/>
        </p:nvSpPr>
        <p:spPr>
          <a:xfrm>
            <a:off x="310842" y="2653302"/>
            <a:ext cx="928854" cy="400050"/>
          </a:xfrm>
          <a:prstGeom prst="rect">
            <a:avLst/>
          </a:prstGeom>
          <a:noFill/>
        </p:spPr>
        <p:txBody>
          <a:bodyPr wrap="none" rtlCol="0">
            <a:noAutofit/>
          </a:bodyPr>
          <a:lstStyle/>
          <a:p>
            <a:pPr eaLnBrk="0" fontAlgn="base" hangingPunct="0">
              <a:spcBef>
                <a:spcPct val="0"/>
              </a:spcBef>
              <a:spcAft>
                <a:spcPct val="0"/>
              </a:spcAft>
            </a:pPr>
            <a:r>
              <a:rPr lang="en-US" sz="1200" dirty="0">
                <a:solidFill>
                  <a:srgbClr val="000000"/>
                </a:solidFill>
              </a:rPr>
              <a:t>detection</a:t>
            </a:r>
          </a:p>
        </p:txBody>
      </p:sp>
      <p:sp>
        <p:nvSpPr>
          <p:cNvPr id="21" name="Freihandform 20"/>
          <p:cNvSpPr/>
          <p:nvPr/>
        </p:nvSpPr>
        <p:spPr bwMode="auto">
          <a:xfrm>
            <a:off x="1445840" y="4396575"/>
            <a:ext cx="5983660" cy="1505603"/>
          </a:xfrm>
          <a:custGeom>
            <a:avLst/>
            <a:gdLst>
              <a:gd name="connsiteX0" fmla="*/ 0 w 6134100"/>
              <a:gd name="connsiteY0" fmla="*/ 15240 h 15240"/>
              <a:gd name="connsiteX1" fmla="*/ 6134100 w 6134100"/>
              <a:gd name="connsiteY1" fmla="*/ 0 h 15240"/>
              <a:gd name="connsiteX2" fmla="*/ 6134100 w 6134100"/>
              <a:gd name="connsiteY2" fmla="*/ 0 h 15240"/>
              <a:gd name="connsiteX0" fmla="*/ 0 w 6134100"/>
              <a:gd name="connsiteY0" fmla="*/ 15240 h 15240"/>
              <a:gd name="connsiteX1" fmla="*/ 3009900 w 6134100"/>
              <a:gd name="connsiteY1" fmla="*/ 15240 h 15240"/>
              <a:gd name="connsiteX2" fmla="*/ 6134100 w 6134100"/>
              <a:gd name="connsiteY2" fmla="*/ 0 h 15240"/>
              <a:gd name="connsiteX3" fmla="*/ 6134100 w 6134100"/>
              <a:gd name="connsiteY3" fmla="*/ 0 h 1524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1310640 w 6134100"/>
              <a:gd name="connsiteY1" fmla="*/ 74676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495800 w 6134100"/>
              <a:gd name="connsiteY3" fmla="*/ 632460 h 1341120"/>
              <a:gd name="connsiteX4" fmla="*/ 6134100 w 6134100"/>
              <a:gd name="connsiteY4" fmla="*/ 1325880 h 1341120"/>
              <a:gd name="connsiteX5" fmla="*/ 6134100 w 6134100"/>
              <a:gd name="connsiteY5"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556760 w 6134100"/>
              <a:gd name="connsiteY3" fmla="*/ 1036320 h 1341120"/>
              <a:gd name="connsiteX4" fmla="*/ 6134100 w 6134100"/>
              <a:gd name="connsiteY4" fmla="*/ 1325880 h 1341120"/>
              <a:gd name="connsiteX5" fmla="*/ 6134100 w 6134100"/>
              <a:gd name="connsiteY5" fmla="*/ 1325880 h 1341120"/>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64"/>
              <a:gd name="connsiteX1" fmla="*/ 2987040 w 6134100"/>
              <a:gd name="connsiteY1" fmla="*/ 4 h 1341164"/>
              <a:gd name="connsiteX2" fmla="*/ 6134100 w 6134100"/>
              <a:gd name="connsiteY2" fmla="*/ 1325884 h 1341164"/>
              <a:gd name="connsiteX3" fmla="*/ 6134100 w 6134100"/>
              <a:gd name="connsiteY3" fmla="*/ 1325884 h 1341164"/>
              <a:gd name="connsiteX0" fmla="*/ 0 w 6449629"/>
              <a:gd name="connsiteY0" fmla="*/ 1341124 h 1375661"/>
              <a:gd name="connsiteX1" fmla="*/ 2987040 w 6449629"/>
              <a:gd name="connsiteY1" fmla="*/ 4 h 1375661"/>
              <a:gd name="connsiteX2" fmla="*/ 6134100 w 6449629"/>
              <a:gd name="connsiteY2" fmla="*/ 1325884 h 1375661"/>
              <a:gd name="connsiteX3" fmla="*/ 6399310 w 6449629"/>
              <a:gd name="connsiteY3" fmla="*/ 1067921 h 1375661"/>
              <a:gd name="connsiteX0" fmla="*/ 0 w 6431465"/>
              <a:gd name="connsiteY0" fmla="*/ 1341229 h 1341269"/>
              <a:gd name="connsiteX1" fmla="*/ 2987040 w 6431465"/>
              <a:gd name="connsiteY1" fmla="*/ 109 h 1341269"/>
              <a:gd name="connsiteX2" fmla="*/ 6101953 w 6431465"/>
              <a:gd name="connsiteY2" fmla="*/ 1264892 h 1341269"/>
              <a:gd name="connsiteX3" fmla="*/ 6399310 w 6431465"/>
              <a:gd name="connsiteY3" fmla="*/ 1068026 h 1341269"/>
              <a:gd name="connsiteX0" fmla="*/ 0 w 6101953"/>
              <a:gd name="connsiteY0" fmla="*/ 1341229 h 1341269"/>
              <a:gd name="connsiteX1" fmla="*/ 2987040 w 6101953"/>
              <a:gd name="connsiteY1" fmla="*/ 109 h 1341269"/>
              <a:gd name="connsiteX2" fmla="*/ 6101953 w 6101953"/>
              <a:gd name="connsiteY2" fmla="*/ 1264892 h 1341269"/>
              <a:gd name="connsiteX0" fmla="*/ 0 w 6077843"/>
              <a:gd name="connsiteY0" fmla="*/ 1341298 h 1341338"/>
              <a:gd name="connsiteX1" fmla="*/ 2987040 w 6077843"/>
              <a:gd name="connsiteY1" fmla="*/ 178 h 1341338"/>
              <a:gd name="connsiteX2" fmla="*/ 6077843 w 6077843"/>
              <a:gd name="connsiteY2" fmla="*/ 1244596 h 1341338"/>
              <a:gd name="connsiteX0" fmla="*/ 0 w 6077843"/>
              <a:gd name="connsiteY0" fmla="*/ 1341271 h 1341311"/>
              <a:gd name="connsiteX1" fmla="*/ 2987040 w 6077843"/>
              <a:gd name="connsiteY1" fmla="*/ 151 h 1341311"/>
              <a:gd name="connsiteX2" fmla="*/ 6077843 w 6077843"/>
              <a:gd name="connsiteY2" fmla="*/ 1244569 h 1341311"/>
            </a:gdLst>
            <a:ahLst/>
            <a:cxnLst>
              <a:cxn ang="0">
                <a:pos x="connsiteX0" y="connsiteY0"/>
              </a:cxn>
              <a:cxn ang="0">
                <a:pos x="connsiteX1" y="connsiteY1"/>
              </a:cxn>
              <a:cxn ang="0">
                <a:pos x="connsiteX2" y="connsiteY2"/>
              </a:cxn>
            </a:cxnLst>
            <a:rect l="l" t="t" r="r" b="b"/>
            <a:pathLst>
              <a:path w="6077843" h="1341311">
                <a:moveTo>
                  <a:pt x="0" y="1341271"/>
                </a:moveTo>
                <a:cubicBezTo>
                  <a:pt x="1811173" y="1349768"/>
                  <a:pt x="1974066" y="16268"/>
                  <a:pt x="2987040" y="151"/>
                </a:cubicBezTo>
                <a:cubicBezTo>
                  <a:pt x="4000014" y="-15966"/>
                  <a:pt x="4207189" y="1270238"/>
                  <a:pt x="6077843" y="1244569"/>
                </a:cubicBezTo>
              </a:path>
            </a:pathLst>
          </a:custGeom>
          <a:noFill/>
          <a:ln w="12700" cap="flat" cmpd="sng" algn="ctr">
            <a:solidFill>
              <a:srgbClr val="0070C0"/>
            </a:solidFill>
            <a:prstDash val="dash"/>
            <a:round/>
            <a:headEnd type="none" w="sm" len="sm"/>
            <a:tailEnd type="none" w="sm" len="sm"/>
          </a:ln>
          <a:effectLst/>
        </p:spPr>
        <p:txBody>
          <a:bodyPr vert="horz" wrap="none" lIns="0" tIns="0" rIns="0" bIns="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 name="Titel 1"/>
          <p:cNvSpPr>
            <a:spLocks noGrp="1"/>
          </p:cNvSpPr>
          <p:nvPr>
            <p:ph type="title"/>
          </p:nvPr>
        </p:nvSpPr>
        <p:spPr/>
        <p:txBody>
          <a:bodyPr/>
          <a:lstStyle/>
          <a:p>
            <a:r>
              <a:rPr lang="en-US" dirty="0" err="1"/>
              <a:t>Airyscan</a:t>
            </a:r>
            <a:r>
              <a:rPr lang="en-US" dirty="0"/>
              <a:t>: PH ~ 0.2 </a:t>
            </a:r>
            <a:r>
              <a:rPr lang="en-US" dirty="0" err="1"/>
              <a:t>A.u</a:t>
            </a:r>
            <a:r>
              <a:rPr lang="en-US" dirty="0"/>
              <a:t>. scanning without loss.</a:t>
            </a:r>
            <a:br>
              <a:rPr lang="en-US" dirty="0"/>
            </a:br>
            <a:r>
              <a:rPr lang="en-US" sz="1800" b="0" dirty="0">
                <a:solidFill>
                  <a:schemeClr val="tx1"/>
                </a:solidFill>
              </a:rPr>
              <a:t>With 32 detectors all photons are recorded and mapped at the same time</a:t>
            </a:r>
            <a:endParaRPr lang="en-US" sz="2000" b="0" dirty="0">
              <a:solidFill>
                <a:schemeClr val="tx1"/>
              </a:solidFill>
            </a:endParaRPr>
          </a:p>
        </p:txBody>
      </p:sp>
      <p:sp>
        <p:nvSpPr>
          <p:cNvPr id="5" name="Fußzeilenplatzhalter 4"/>
          <p:cNvSpPr>
            <a:spLocks noGrp="1"/>
          </p:cNvSpPr>
          <p:nvPr>
            <p:ph type="ftr" sz="quarter" idx="12"/>
          </p:nvPr>
        </p:nvSpPr>
        <p:spPr/>
        <p:txBody>
          <a:bodyPr/>
          <a:lstStyle/>
          <a:p>
            <a:r>
              <a:rPr lang="en-US">
                <a:solidFill>
                  <a:srgbClr val="000000"/>
                </a:solidFill>
              </a:rPr>
              <a:t>Carl Zeiss Microscopy</a:t>
            </a:r>
            <a:endParaRPr lang="en-US" dirty="0">
              <a:solidFill>
                <a:srgbClr val="000000"/>
              </a:solidFill>
            </a:endParaRPr>
          </a:p>
        </p:txBody>
      </p:sp>
      <p:sp>
        <p:nvSpPr>
          <p:cNvPr id="91" name="Textfeld 90"/>
          <p:cNvSpPr txBox="1"/>
          <p:nvPr/>
        </p:nvSpPr>
        <p:spPr>
          <a:xfrm>
            <a:off x="308803" y="1420580"/>
            <a:ext cx="1247775" cy="400050"/>
          </a:xfrm>
          <a:prstGeom prst="rect">
            <a:avLst/>
          </a:prstGeom>
          <a:noFill/>
        </p:spPr>
        <p:txBody>
          <a:bodyPr wrap="none" rtlCol="0">
            <a:noAutofit/>
          </a:bodyPr>
          <a:lstStyle/>
          <a:p>
            <a:pPr eaLnBrk="0" fontAlgn="base" hangingPunct="0">
              <a:spcBef>
                <a:spcPct val="0"/>
              </a:spcBef>
              <a:spcAft>
                <a:spcPct val="0"/>
              </a:spcAft>
            </a:pPr>
            <a:r>
              <a:rPr lang="en-US" sz="1200" dirty="0">
                <a:solidFill>
                  <a:srgbClr val="000000"/>
                </a:solidFill>
              </a:rPr>
              <a:t>PH = 1,25 </a:t>
            </a:r>
            <a:r>
              <a:rPr lang="en-US" sz="1200" dirty="0" err="1">
                <a:solidFill>
                  <a:srgbClr val="000000"/>
                </a:solidFill>
              </a:rPr>
              <a:t>a.u</a:t>
            </a:r>
            <a:r>
              <a:rPr lang="en-US" sz="1200" dirty="0">
                <a:solidFill>
                  <a:srgbClr val="000000"/>
                </a:solidFill>
              </a:rPr>
              <a:t>.</a:t>
            </a:r>
          </a:p>
        </p:txBody>
      </p:sp>
      <p:cxnSp>
        <p:nvCxnSpPr>
          <p:cNvPr id="32" name="Gerade Verbindung mit Pfeil 31"/>
          <p:cNvCxnSpPr/>
          <p:nvPr/>
        </p:nvCxnSpPr>
        <p:spPr bwMode="auto">
          <a:xfrm flipV="1">
            <a:off x="1542461" y="4168140"/>
            <a:ext cx="0" cy="1938783"/>
          </a:xfrm>
          <a:prstGeom prst="straightConnector1">
            <a:avLst/>
          </a:prstGeom>
          <a:solidFill>
            <a:schemeClr val="folHlink"/>
          </a:solidFill>
          <a:ln w="19050" cap="flat" cmpd="sng" algn="ctr">
            <a:solidFill>
              <a:srgbClr val="0070C0"/>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50" name="Gruppieren 49"/>
          <p:cNvGrpSpPr/>
          <p:nvPr/>
        </p:nvGrpSpPr>
        <p:grpSpPr>
          <a:xfrm>
            <a:off x="1363980" y="5893562"/>
            <a:ext cx="6217920" cy="213360"/>
            <a:chOff x="3646868" y="2202180"/>
            <a:chExt cx="1466152" cy="114300"/>
          </a:xfrm>
        </p:grpSpPr>
        <p:cxnSp>
          <p:nvCxnSpPr>
            <p:cNvPr id="51" name="Gerade Verbindung 50"/>
            <p:cNvCxnSpPr/>
            <p:nvPr/>
          </p:nvCxnSpPr>
          <p:spPr bwMode="auto">
            <a:xfrm>
              <a:off x="3646868" y="2263140"/>
              <a:ext cx="1466152" cy="0"/>
            </a:xfrm>
            <a:prstGeom prst="line">
              <a:avLst/>
            </a:prstGeom>
            <a:solidFill>
              <a:schemeClr val="folHlink"/>
            </a:solidFill>
            <a:ln w="19050" cap="flat" cmpd="sng" algn="ctr">
              <a:solidFill>
                <a:schemeClr val="folHlink"/>
              </a:solidFill>
              <a:prstDash val="solid"/>
              <a:round/>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52" name="Gruppieren 51"/>
            <p:cNvGrpSpPr/>
            <p:nvPr/>
          </p:nvGrpSpPr>
          <p:grpSpPr>
            <a:xfrm>
              <a:off x="3806888" y="2202180"/>
              <a:ext cx="1110090" cy="114300"/>
              <a:chOff x="3806888" y="2148840"/>
              <a:chExt cx="1110090" cy="266700"/>
            </a:xfrm>
          </p:grpSpPr>
          <p:cxnSp>
            <p:nvCxnSpPr>
              <p:cNvPr id="53" name="Gerade Verbindung 52"/>
              <p:cNvCxnSpPr/>
              <p:nvPr/>
            </p:nvCxnSpPr>
            <p:spPr bwMode="auto">
              <a:xfrm flipV="1">
                <a:off x="380688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4" name="Gerade Verbindung 53"/>
              <p:cNvCxnSpPr/>
              <p:nvPr/>
            </p:nvCxnSpPr>
            <p:spPr bwMode="auto">
              <a:xfrm flipV="1">
                <a:off x="399190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5" name="Gerade Verbindung 54"/>
              <p:cNvCxnSpPr/>
              <p:nvPr/>
            </p:nvCxnSpPr>
            <p:spPr bwMode="auto">
              <a:xfrm flipV="1">
                <a:off x="417691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6" name="Gerade Verbindung 55"/>
              <p:cNvCxnSpPr/>
              <p:nvPr/>
            </p:nvCxnSpPr>
            <p:spPr bwMode="auto">
              <a:xfrm flipV="1">
                <a:off x="436193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7" name="Gerade Verbindung 56"/>
              <p:cNvCxnSpPr/>
              <p:nvPr/>
            </p:nvCxnSpPr>
            <p:spPr bwMode="auto">
              <a:xfrm flipV="1">
                <a:off x="454694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Gerade Verbindung 62"/>
              <p:cNvCxnSpPr/>
              <p:nvPr/>
            </p:nvCxnSpPr>
            <p:spPr bwMode="auto">
              <a:xfrm flipV="1">
                <a:off x="4731963"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4" name="Gerade Verbindung 63"/>
              <p:cNvCxnSpPr/>
              <p:nvPr/>
            </p:nvCxnSpPr>
            <p:spPr bwMode="auto">
              <a:xfrm flipV="1">
                <a:off x="4916978" y="2148840"/>
                <a:ext cx="0" cy="266700"/>
              </a:xfrm>
              <a:prstGeom prst="line">
                <a:avLst/>
              </a:prstGeom>
              <a:solidFill>
                <a:schemeClr val="folHlink"/>
              </a:solidFill>
              <a:ln w="19050"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pic>
        <p:nvPicPr>
          <p:cNvPr id="102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99848"/>
          <a:stretch/>
        </p:blipFill>
        <p:spPr bwMode="auto">
          <a:xfrm>
            <a:off x="1668624" y="4167597"/>
            <a:ext cx="164684" cy="1839214"/>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80" name="Textfeld 79"/>
          <p:cNvSpPr txBox="1"/>
          <p:nvPr/>
        </p:nvSpPr>
        <p:spPr>
          <a:xfrm rot="16200000">
            <a:off x="760516" y="4880133"/>
            <a:ext cx="970597" cy="400050"/>
          </a:xfrm>
          <a:prstGeom prst="rect">
            <a:avLst/>
          </a:prstGeom>
          <a:noFill/>
        </p:spPr>
        <p:txBody>
          <a:bodyPr wrap="none" rtlCol="0">
            <a:noAutofit/>
          </a:bodyPr>
          <a:lstStyle/>
          <a:p>
            <a:pPr eaLnBrk="0" fontAlgn="base" hangingPunct="0">
              <a:spcBef>
                <a:spcPct val="0"/>
              </a:spcBef>
              <a:spcAft>
                <a:spcPct val="0"/>
              </a:spcAft>
            </a:pPr>
            <a:r>
              <a:rPr lang="en-US" sz="1600" dirty="0">
                <a:solidFill>
                  <a:srgbClr val="000000"/>
                </a:solidFill>
              </a:rPr>
              <a:t>Intensity</a:t>
            </a:r>
          </a:p>
        </p:txBody>
      </p:sp>
      <p:sp>
        <p:nvSpPr>
          <p:cNvPr id="132" name="Textfeld 131"/>
          <p:cNvSpPr txBox="1"/>
          <p:nvPr/>
        </p:nvSpPr>
        <p:spPr>
          <a:xfrm>
            <a:off x="308803" y="2053310"/>
            <a:ext cx="1133476" cy="400050"/>
          </a:xfrm>
          <a:prstGeom prst="rect">
            <a:avLst/>
          </a:prstGeom>
          <a:noFill/>
        </p:spPr>
        <p:txBody>
          <a:bodyPr wrap="none" rtlCol="0">
            <a:noAutofit/>
          </a:bodyPr>
          <a:lstStyle/>
          <a:p>
            <a:pPr eaLnBrk="0" fontAlgn="base" hangingPunct="0">
              <a:spcBef>
                <a:spcPct val="0"/>
              </a:spcBef>
              <a:spcAft>
                <a:spcPct val="0"/>
              </a:spcAft>
            </a:pPr>
            <a:r>
              <a:rPr lang="en-US" sz="1200" dirty="0">
                <a:solidFill>
                  <a:srgbClr val="000000"/>
                </a:solidFill>
              </a:rPr>
              <a:t>excitation</a:t>
            </a:r>
          </a:p>
        </p:txBody>
      </p:sp>
      <p:sp>
        <p:nvSpPr>
          <p:cNvPr id="1027" name="Freihandform 1026"/>
          <p:cNvSpPr/>
          <p:nvPr/>
        </p:nvSpPr>
        <p:spPr bwMode="auto">
          <a:xfrm>
            <a:off x="411480" y="1653540"/>
            <a:ext cx="1104900" cy="121920"/>
          </a:xfrm>
          <a:custGeom>
            <a:avLst/>
            <a:gdLst>
              <a:gd name="connsiteX0" fmla="*/ 0 w 1203960"/>
              <a:gd name="connsiteY0" fmla="*/ 0 h 243840"/>
              <a:gd name="connsiteX1" fmla="*/ 670560 w 1203960"/>
              <a:gd name="connsiteY1" fmla="*/ 0 h 243840"/>
              <a:gd name="connsiteX2" fmla="*/ 1203960 w 1203960"/>
              <a:gd name="connsiteY2" fmla="*/ 243840 h 243840"/>
              <a:gd name="connsiteX0" fmla="*/ 0 w 1234440"/>
              <a:gd name="connsiteY0" fmla="*/ 0 h 160020"/>
              <a:gd name="connsiteX1" fmla="*/ 670560 w 1234440"/>
              <a:gd name="connsiteY1" fmla="*/ 0 h 160020"/>
              <a:gd name="connsiteX2" fmla="*/ 1234440 w 1234440"/>
              <a:gd name="connsiteY2" fmla="*/ 160020 h 160020"/>
              <a:gd name="connsiteX0" fmla="*/ 0 w 1104900"/>
              <a:gd name="connsiteY0" fmla="*/ 0 h 121920"/>
              <a:gd name="connsiteX1" fmla="*/ 670560 w 1104900"/>
              <a:gd name="connsiteY1" fmla="*/ 0 h 121920"/>
              <a:gd name="connsiteX2" fmla="*/ 1104900 w 1104900"/>
              <a:gd name="connsiteY2" fmla="*/ 121920 h 121920"/>
            </a:gdLst>
            <a:ahLst/>
            <a:cxnLst>
              <a:cxn ang="0">
                <a:pos x="connsiteX0" y="connsiteY0"/>
              </a:cxn>
              <a:cxn ang="0">
                <a:pos x="connsiteX1" y="connsiteY1"/>
              </a:cxn>
              <a:cxn ang="0">
                <a:pos x="connsiteX2" y="connsiteY2"/>
              </a:cxn>
            </a:cxnLst>
            <a:rect l="l" t="t" r="r" b="b"/>
            <a:pathLst>
              <a:path w="1104900" h="121920">
                <a:moveTo>
                  <a:pt x="0" y="0"/>
                </a:moveTo>
                <a:lnTo>
                  <a:pt x="670560" y="0"/>
                </a:lnTo>
                <a:lnTo>
                  <a:pt x="1104900" y="121920"/>
                </a:lnTo>
              </a:path>
            </a:pathLst>
          </a:custGeom>
          <a:noFill/>
          <a:ln w="3175"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37" name="Freihandform 136"/>
          <p:cNvSpPr/>
          <p:nvPr/>
        </p:nvSpPr>
        <p:spPr bwMode="auto">
          <a:xfrm flipV="1">
            <a:off x="411480" y="1924518"/>
            <a:ext cx="1575468" cy="361481"/>
          </a:xfrm>
          <a:custGeom>
            <a:avLst/>
            <a:gdLst>
              <a:gd name="connsiteX0" fmla="*/ 0 w 1203960"/>
              <a:gd name="connsiteY0" fmla="*/ 0 h 243840"/>
              <a:gd name="connsiteX1" fmla="*/ 670560 w 1203960"/>
              <a:gd name="connsiteY1" fmla="*/ 0 h 243840"/>
              <a:gd name="connsiteX2" fmla="*/ 1203960 w 1203960"/>
              <a:gd name="connsiteY2" fmla="*/ 243840 h 243840"/>
              <a:gd name="connsiteX0" fmla="*/ 0 w 1234440"/>
              <a:gd name="connsiteY0" fmla="*/ 0 h 160020"/>
              <a:gd name="connsiteX1" fmla="*/ 670560 w 1234440"/>
              <a:gd name="connsiteY1" fmla="*/ 0 h 160020"/>
              <a:gd name="connsiteX2" fmla="*/ 1234440 w 1234440"/>
              <a:gd name="connsiteY2" fmla="*/ 160020 h 160020"/>
            </a:gdLst>
            <a:ahLst/>
            <a:cxnLst>
              <a:cxn ang="0">
                <a:pos x="connsiteX0" y="connsiteY0"/>
              </a:cxn>
              <a:cxn ang="0">
                <a:pos x="connsiteX1" y="connsiteY1"/>
              </a:cxn>
              <a:cxn ang="0">
                <a:pos x="connsiteX2" y="connsiteY2"/>
              </a:cxn>
            </a:cxnLst>
            <a:rect l="l" t="t" r="r" b="b"/>
            <a:pathLst>
              <a:path w="1234440" h="160020">
                <a:moveTo>
                  <a:pt x="0" y="0"/>
                </a:moveTo>
                <a:lnTo>
                  <a:pt x="670560" y="0"/>
                </a:lnTo>
                <a:lnTo>
                  <a:pt x="1234440" y="160020"/>
                </a:lnTo>
              </a:path>
            </a:pathLst>
          </a:custGeom>
          <a:noFill/>
          <a:ln w="3175"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nvGrpSpPr>
          <p:cNvPr id="6" name="Gruppieren 5"/>
          <p:cNvGrpSpPr/>
          <p:nvPr/>
        </p:nvGrpSpPr>
        <p:grpSpPr>
          <a:xfrm>
            <a:off x="1484623" y="1384386"/>
            <a:ext cx="1046394" cy="1046394"/>
            <a:chOff x="1484623" y="1384386"/>
            <a:chExt cx="1046394" cy="1046394"/>
          </a:xfrm>
        </p:grpSpPr>
        <p:grpSp>
          <p:nvGrpSpPr>
            <p:cNvPr id="129" name="Gruppieren 128"/>
            <p:cNvGrpSpPr/>
            <p:nvPr/>
          </p:nvGrpSpPr>
          <p:grpSpPr>
            <a:xfrm>
              <a:off x="1484623" y="1384386"/>
              <a:ext cx="1046394" cy="1046394"/>
              <a:chOff x="1249679" y="1384386"/>
              <a:chExt cx="1046394" cy="1046394"/>
            </a:xfrm>
          </p:grpSpPr>
          <p:sp>
            <p:nvSpPr>
              <p:cNvPr id="130" name="Ellipse 129"/>
              <p:cNvSpPr/>
              <p:nvPr/>
            </p:nvSpPr>
            <p:spPr bwMode="auto">
              <a:xfrm>
                <a:off x="1249679" y="1384386"/>
                <a:ext cx="1046394" cy="1046394"/>
              </a:xfrm>
              <a:prstGeom prst="ellipse">
                <a:avLst/>
              </a:prstGeom>
              <a:noFill/>
              <a:ln w="3175" cap="flat" cmpd="sng" algn="ctr">
                <a:solidFill>
                  <a:schemeClr val="tx2"/>
                </a:solidFill>
                <a:prstDash val="dash"/>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31" name="Ellipse 130"/>
              <p:cNvSpPr/>
              <p:nvPr/>
            </p:nvSpPr>
            <p:spPr bwMode="auto">
              <a:xfrm flipV="1">
                <a:off x="1317282" y="1454590"/>
                <a:ext cx="915164" cy="915164"/>
              </a:xfrm>
              <a:prstGeom prst="ellipse">
                <a:avLst/>
              </a:prstGeom>
              <a:gradFill flip="none" rotWithShape="1">
                <a:gsLst>
                  <a:gs pos="0">
                    <a:srgbClr val="7030A0"/>
                  </a:gs>
                  <a:gs pos="33500">
                    <a:srgbClr val="B898D0">
                      <a:alpha val="79000"/>
                    </a:srgbClr>
                  </a:gs>
                  <a:gs pos="72000">
                    <a:srgbClr val="FFFFFE">
                      <a:alpha val="0"/>
                      <a:lumMod val="0"/>
                      <a:lumOff val="100000"/>
                    </a:srgbClr>
                  </a:gs>
                </a:gsLst>
                <a:path path="circle">
                  <a:fillToRect l="50000" t="50000" r="50000" b="50000"/>
                </a:path>
                <a:tileRect/>
              </a:gra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nvGrpSpPr>
            <p:cNvPr id="180" name="Gruppieren 179"/>
            <p:cNvGrpSpPr/>
            <p:nvPr/>
          </p:nvGrpSpPr>
          <p:grpSpPr>
            <a:xfrm>
              <a:off x="1493990" y="1445270"/>
              <a:ext cx="1033538" cy="939724"/>
              <a:chOff x="386078" y="2179778"/>
              <a:chExt cx="3657046" cy="3325098"/>
            </a:xfrm>
            <a:noFill/>
          </p:grpSpPr>
          <p:sp>
            <p:nvSpPr>
              <p:cNvPr id="181" name="Sechseck 180"/>
              <p:cNvSpPr/>
              <p:nvPr/>
            </p:nvSpPr>
            <p:spPr bwMode="auto">
              <a:xfrm>
                <a:off x="1893455"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82" name="Sechseck 181"/>
              <p:cNvSpPr/>
              <p:nvPr/>
            </p:nvSpPr>
            <p:spPr bwMode="auto">
              <a:xfrm>
                <a:off x="2392220" y="328814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83" name="Sechseck 182"/>
              <p:cNvSpPr/>
              <p:nvPr/>
            </p:nvSpPr>
            <p:spPr bwMode="auto">
              <a:xfrm>
                <a:off x="239222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84" name="Sechseck 183"/>
              <p:cNvSpPr/>
              <p:nvPr/>
            </p:nvSpPr>
            <p:spPr bwMode="auto">
              <a:xfrm>
                <a:off x="1893455"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85" name="Sechseck 184"/>
              <p:cNvSpPr/>
              <p:nvPr/>
            </p:nvSpPr>
            <p:spPr bwMode="auto">
              <a:xfrm>
                <a:off x="1394690" y="3842327"/>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86" name="Sechseck 185"/>
              <p:cNvSpPr/>
              <p:nvPr/>
            </p:nvSpPr>
            <p:spPr bwMode="auto">
              <a:xfrm>
                <a:off x="1394690" y="328814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87" name="Sechseck 186"/>
              <p:cNvSpPr/>
              <p:nvPr/>
            </p:nvSpPr>
            <p:spPr bwMode="auto">
              <a:xfrm>
                <a:off x="1893455" y="3565236"/>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88" name="Sechseck 187"/>
              <p:cNvSpPr/>
              <p:nvPr/>
            </p:nvSpPr>
            <p:spPr bwMode="auto">
              <a:xfrm>
                <a:off x="239222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89" name="Sechseck 188"/>
              <p:cNvSpPr/>
              <p:nvPr/>
            </p:nvSpPr>
            <p:spPr bwMode="auto">
              <a:xfrm>
                <a:off x="2897352" y="411942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90" name="Sechseck 189"/>
              <p:cNvSpPr/>
              <p:nvPr/>
            </p:nvSpPr>
            <p:spPr bwMode="auto">
              <a:xfrm>
                <a:off x="2897352" y="356523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91" name="Sechseck 190"/>
              <p:cNvSpPr/>
              <p:nvPr/>
            </p:nvSpPr>
            <p:spPr bwMode="auto">
              <a:xfrm>
                <a:off x="2897352" y="301105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92" name="Sechseck 191"/>
              <p:cNvSpPr/>
              <p:nvPr/>
            </p:nvSpPr>
            <p:spPr bwMode="auto">
              <a:xfrm>
                <a:off x="2404843"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93" name="Sechseck 192"/>
              <p:cNvSpPr/>
              <p:nvPr/>
            </p:nvSpPr>
            <p:spPr bwMode="auto">
              <a:xfrm>
                <a:off x="1893455"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94" name="Sechseck 193"/>
              <p:cNvSpPr/>
              <p:nvPr/>
            </p:nvSpPr>
            <p:spPr bwMode="auto">
              <a:xfrm>
                <a:off x="1394690" y="2733960"/>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95" name="Sechseck 194"/>
              <p:cNvSpPr/>
              <p:nvPr/>
            </p:nvSpPr>
            <p:spPr bwMode="auto">
              <a:xfrm>
                <a:off x="888998" y="301408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96" name="Sechseck 195"/>
              <p:cNvSpPr/>
              <p:nvPr/>
            </p:nvSpPr>
            <p:spPr bwMode="auto">
              <a:xfrm>
                <a:off x="888998" y="356826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97" name="Sechseck 196"/>
              <p:cNvSpPr/>
              <p:nvPr/>
            </p:nvSpPr>
            <p:spPr bwMode="auto">
              <a:xfrm>
                <a:off x="888998" y="4122446"/>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98" name="Sechseck 197"/>
              <p:cNvSpPr/>
              <p:nvPr/>
            </p:nvSpPr>
            <p:spPr bwMode="auto">
              <a:xfrm>
                <a:off x="1394690" y="4396512"/>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199" name="Sechseck 198"/>
              <p:cNvSpPr/>
              <p:nvPr/>
            </p:nvSpPr>
            <p:spPr bwMode="auto">
              <a:xfrm>
                <a:off x="1893455"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00" name="Sechseck 199"/>
              <p:cNvSpPr/>
              <p:nvPr/>
            </p:nvSpPr>
            <p:spPr bwMode="auto">
              <a:xfrm>
                <a:off x="2392220" y="217977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01" name="Sechseck 200"/>
              <p:cNvSpPr/>
              <p:nvPr/>
            </p:nvSpPr>
            <p:spPr bwMode="auto">
              <a:xfrm>
                <a:off x="2897352"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02" name="Sechseck 201"/>
              <p:cNvSpPr/>
              <p:nvPr/>
            </p:nvSpPr>
            <p:spPr bwMode="auto">
              <a:xfrm>
                <a:off x="1394690" y="218713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03" name="Sechseck 202"/>
              <p:cNvSpPr/>
              <p:nvPr/>
            </p:nvSpPr>
            <p:spPr bwMode="auto">
              <a:xfrm>
                <a:off x="888998" y="245686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04" name="Sechseck 203"/>
              <p:cNvSpPr/>
              <p:nvPr/>
            </p:nvSpPr>
            <p:spPr bwMode="auto">
              <a:xfrm>
                <a:off x="386078" y="329117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05" name="Sechseck 204"/>
              <p:cNvSpPr/>
              <p:nvPr/>
            </p:nvSpPr>
            <p:spPr bwMode="auto">
              <a:xfrm>
                <a:off x="386078" y="3845361"/>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06" name="Sechseck 205"/>
              <p:cNvSpPr/>
              <p:nvPr/>
            </p:nvSpPr>
            <p:spPr bwMode="auto">
              <a:xfrm>
                <a:off x="888998" y="4672108"/>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07" name="Sechseck 206"/>
              <p:cNvSpPr/>
              <p:nvPr/>
            </p:nvSpPr>
            <p:spPr bwMode="auto">
              <a:xfrm>
                <a:off x="1394690" y="495069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08" name="Sechseck 207"/>
              <p:cNvSpPr/>
              <p:nvPr/>
            </p:nvSpPr>
            <p:spPr bwMode="auto">
              <a:xfrm>
                <a:off x="2404843" y="494919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09" name="Sechseck 208"/>
              <p:cNvSpPr/>
              <p:nvPr/>
            </p:nvSpPr>
            <p:spPr bwMode="auto">
              <a:xfrm>
                <a:off x="2897352" y="46736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10" name="Sechseck 209"/>
              <p:cNvSpPr/>
              <p:nvPr/>
            </p:nvSpPr>
            <p:spPr bwMode="auto">
              <a:xfrm>
                <a:off x="3400272" y="3842324"/>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11" name="Sechseck 210"/>
              <p:cNvSpPr/>
              <p:nvPr/>
            </p:nvSpPr>
            <p:spPr bwMode="auto">
              <a:xfrm>
                <a:off x="3400272" y="3286503"/>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212" name="Sechseck 211"/>
              <p:cNvSpPr/>
              <p:nvPr/>
            </p:nvSpPr>
            <p:spPr bwMode="auto">
              <a:xfrm>
                <a:off x="3400272" y="2730929"/>
                <a:ext cx="642852" cy="554182"/>
              </a:xfrm>
              <a:prstGeom prst="hexagon">
                <a:avLst/>
              </a:prstGeom>
              <a:grp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grpSp>
      <p:sp>
        <p:nvSpPr>
          <p:cNvPr id="214" name="Freihandform 213"/>
          <p:cNvSpPr/>
          <p:nvPr/>
        </p:nvSpPr>
        <p:spPr bwMode="auto">
          <a:xfrm flipV="1">
            <a:off x="411480" y="2331283"/>
            <a:ext cx="1367559" cy="350015"/>
          </a:xfrm>
          <a:custGeom>
            <a:avLst/>
            <a:gdLst>
              <a:gd name="connsiteX0" fmla="*/ 0 w 1203960"/>
              <a:gd name="connsiteY0" fmla="*/ 0 h 243840"/>
              <a:gd name="connsiteX1" fmla="*/ 670560 w 1203960"/>
              <a:gd name="connsiteY1" fmla="*/ 0 h 243840"/>
              <a:gd name="connsiteX2" fmla="*/ 1203960 w 1203960"/>
              <a:gd name="connsiteY2" fmla="*/ 243840 h 243840"/>
              <a:gd name="connsiteX0" fmla="*/ 0 w 1234440"/>
              <a:gd name="connsiteY0" fmla="*/ 0 h 160020"/>
              <a:gd name="connsiteX1" fmla="*/ 670560 w 1234440"/>
              <a:gd name="connsiteY1" fmla="*/ 0 h 160020"/>
              <a:gd name="connsiteX2" fmla="*/ 1234440 w 1234440"/>
              <a:gd name="connsiteY2" fmla="*/ 160020 h 160020"/>
            </a:gdLst>
            <a:ahLst/>
            <a:cxnLst>
              <a:cxn ang="0">
                <a:pos x="connsiteX0" y="connsiteY0"/>
              </a:cxn>
              <a:cxn ang="0">
                <a:pos x="connsiteX1" y="connsiteY1"/>
              </a:cxn>
              <a:cxn ang="0">
                <a:pos x="connsiteX2" y="connsiteY2"/>
              </a:cxn>
            </a:cxnLst>
            <a:rect l="l" t="t" r="r" b="b"/>
            <a:pathLst>
              <a:path w="1234440" h="160020">
                <a:moveTo>
                  <a:pt x="0" y="0"/>
                </a:moveTo>
                <a:lnTo>
                  <a:pt x="670560" y="0"/>
                </a:lnTo>
                <a:lnTo>
                  <a:pt x="1234440" y="160020"/>
                </a:lnTo>
              </a:path>
            </a:pathLst>
          </a:custGeom>
          <a:noFill/>
          <a:ln w="3175"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84" name="Freihandform 483"/>
          <p:cNvSpPr/>
          <p:nvPr/>
        </p:nvSpPr>
        <p:spPr bwMode="auto">
          <a:xfrm>
            <a:off x="1577947" y="4030981"/>
            <a:ext cx="5564709" cy="1872334"/>
          </a:xfrm>
          <a:custGeom>
            <a:avLst/>
            <a:gdLst>
              <a:gd name="connsiteX0" fmla="*/ 0 w 6134100"/>
              <a:gd name="connsiteY0" fmla="*/ 15240 h 15240"/>
              <a:gd name="connsiteX1" fmla="*/ 6134100 w 6134100"/>
              <a:gd name="connsiteY1" fmla="*/ 0 h 15240"/>
              <a:gd name="connsiteX2" fmla="*/ 6134100 w 6134100"/>
              <a:gd name="connsiteY2" fmla="*/ 0 h 15240"/>
              <a:gd name="connsiteX0" fmla="*/ 0 w 6134100"/>
              <a:gd name="connsiteY0" fmla="*/ 15240 h 15240"/>
              <a:gd name="connsiteX1" fmla="*/ 3009900 w 6134100"/>
              <a:gd name="connsiteY1" fmla="*/ 15240 h 15240"/>
              <a:gd name="connsiteX2" fmla="*/ 6134100 w 6134100"/>
              <a:gd name="connsiteY2" fmla="*/ 0 h 15240"/>
              <a:gd name="connsiteX3" fmla="*/ 6134100 w 6134100"/>
              <a:gd name="connsiteY3" fmla="*/ 0 h 1524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1310640 w 6134100"/>
              <a:gd name="connsiteY1" fmla="*/ 74676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495800 w 6134100"/>
              <a:gd name="connsiteY3" fmla="*/ 632460 h 1341120"/>
              <a:gd name="connsiteX4" fmla="*/ 6134100 w 6134100"/>
              <a:gd name="connsiteY4" fmla="*/ 1325880 h 1341120"/>
              <a:gd name="connsiteX5" fmla="*/ 6134100 w 6134100"/>
              <a:gd name="connsiteY5"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556760 w 6134100"/>
              <a:gd name="connsiteY3" fmla="*/ 1036320 h 1341120"/>
              <a:gd name="connsiteX4" fmla="*/ 6134100 w 6134100"/>
              <a:gd name="connsiteY4" fmla="*/ 1325880 h 1341120"/>
              <a:gd name="connsiteX5" fmla="*/ 6134100 w 6134100"/>
              <a:gd name="connsiteY5" fmla="*/ 1325880 h 1341120"/>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64"/>
              <a:gd name="connsiteX1" fmla="*/ 2987040 w 6134100"/>
              <a:gd name="connsiteY1" fmla="*/ 4 h 1341164"/>
              <a:gd name="connsiteX2" fmla="*/ 6134100 w 6134100"/>
              <a:gd name="connsiteY2" fmla="*/ 1325884 h 1341164"/>
              <a:gd name="connsiteX3" fmla="*/ 6134100 w 6134100"/>
              <a:gd name="connsiteY3" fmla="*/ 1325884 h 1341164"/>
              <a:gd name="connsiteX0" fmla="*/ 107031 w 6241131"/>
              <a:gd name="connsiteY0" fmla="*/ 1341125 h 1442766"/>
              <a:gd name="connsiteX1" fmla="*/ 262384 w 6241131"/>
              <a:gd name="connsiteY1" fmla="*/ 1344075 h 1442766"/>
              <a:gd name="connsiteX2" fmla="*/ 3094071 w 6241131"/>
              <a:gd name="connsiteY2" fmla="*/ 5 h 1442766"/>
              <a:gd name="connsiteX3" fmla="*/ 6241131 w 6241131"/>
              <a:gd name="connsiteY3" fmla="*/ 1325885 h 1442766"/>
              <a:gd name="connsiteX4" fmla="*/ 6241131 w 6241131"/>
              <a:gd name="connsiteY4" fmla="*/ 1325885 h 1442766"/>
              <a:gd name="connsiteX0" fmla="*/ 0 w 7972466"/>
              <a:gd name="connsiteY0" fmla="*/ 1405128 h 1462299"/>
              <a:gd name="connsiteX1" fmla="*/ 1993719 w 7972466"/>
              <a:gd name="connsiteY1" fmla="*/ 1344075 h 1462299"/>
              <a:gd name="connsiteX2" fmla="*/ 4825406 w 7972466"/>
              <a:gd name="connsiteY2" fmla="*/ 5 h 1462299"/>
              <a:gd name="connsiteX3" fmla="*/ 7972466 w 7972466"/>
              <a:gd name="connsiteY3" fmla="*/ 1325885 h 1462299"/>
              <a:gd name="connsiteX4" fmla="*/ 7972466 w 7972466"/>
              <a:gd name="connsiteY4" fmla="*/ 1325885 h 1462299"/>
              <a:gd name="connsiteX0" fmla="*/ 0 w 7972466"/>
              <a:gd name="connsiteY0" fmla="*/ 1405128 h 1462299"/>
              <a:gd name="connsiteX1" fmla="*/ 1993719 w 7972466"/>
              <a:gd name="connsiteY1" fmla="*/ 1344075 h 1462299"/>
              <a:gd name="connsiteX2" fmla="*/ 4825406 w 7972466"/>
              <a:gd name="connsiteY2" fmla="*/ 5 h 1462299"/>
              <a:gd name="connsiteX3" fmla="*/ 7972466 w 7972466"/>
              <a:gd name="connsiteY3" fmla="*/ 1325885 h 1462299"/>
              <a:gd name="connsiteX4" fmla="*/ 7972466 w 7972466"/>
              <a:gd name="connsiteY4" fmla="*/ 1325885 h 1462299"/>
              <a:gd name="connsiteX0" fmla="*/ 0 w 7972466"/>
              <a:gd name="connsiteY0" fmla="*/ 1405128 h 1409339"/>
              <a:gd name="connsiteX1" fmla="*/ 1993719 w 7972466"/>
              <a:gd name="connsiteY1" fmla="*/ 1344075 h 1409339"/>
              <a:gd name="connsiteX2" fmla="*/ 4825406 w 7972466"/>
              <a:gd name="connsiteY2" fmla="*/ 5 h 1409339"/>
              <a:gd name="connsiteX3" fmla="*/ 7972466 w 7972466"/>
              <a:gd name="connsiteY3" fmla="*/ 1325885 h 1409339"/>
              <a:gd name="connsiteX4" fmla="*/ 7972466 w 7972466"/>
              <a:gd name="connsiteY4" fmla="*/ 1325885 h 1409339"/>
              <a:gd name="connsiteX0" fmla="*/ 0 w 7972466"/>
              <a:gd name="connsiteY0" fmla="*/ 1405128 h 1405131"/>
              <a:gd name="connsiteX1" fmla="*/ 1993719 w 7972466"/>
              <a:gd name="connsiteY1" fmla="*/ 1344075 h 1405131"/>
              <a:gd name="connsiteX2" fmla="*/ 4825406 w 7972466"/>
              <a:gd name="connsiteY2" fmla="*/ 5 h 1405131"/>
              <a:gd name="connsiteX3" fmla="*/ 7972466 w 7972466"/>
              <a:gd name="connsiteY3" fmla="*/ 1325885 h 1405131"/>
              <a:gd name="connsiteX4" fmla="*/ 7972466 w 7972466"/>
              <a:gd name="connsiteY4" fmla="*/ 1325885 h 1405131"/>
              <a:gd name="connsiteX0" fmla="*/ 0 w 7972466"/>
              <a:gd name="connsiteY0" fmla="*/ 1355348 h 1447593"/>
              <a:gd name="connsiteX1" fmla="*/ 1993719 w 7972466"/>
              <a:gd name="connsiteY1" fmla="*/ 1344075 h 1447593"/>
              <a:gd name="connsiteX2" fmla="*/ 4825406 w 7972466"/>
              <a:gd name="connsiteY2" fmla="*/ 5 h 1447593"/>
              <a:gd name="connsiteX3" fmla="*/ 7972466 w 7972466"/>
              <a:gd name="connsiteY3" fmla="*/ 1325885 h 1447593"/>
              <a:gd name="connsiteX4" fmla="*/ 7972466 w 7972466"/>
              <a:gd name="connsiteY4" fmla="*/ 1325885 h 1447593"/>
              <a:gd name="connsiteX0" fmla="*/ 0 w 7972466"/>
              <a:gd name="connsiteY0" fmla="*/ 1355348 h 1447593"/>
              <a:gd name="connsiteX1" fmla="*/ 1993719 w 7972466"/>
              <a:gd name="connsiteY1" fmla="*/ 1344075 h 1447593"/>
              <a:gd name="connsiteX2" fmla="*/ 4825406 w 7972466"/>
              <a:gd name="connsiteY2" fmla="*/ 5 h 1447593"/>
              <a:gd name="connsiteX3" fmla="*/ 7972466 w 7972466"/>
              <a:gd name="connsiteY3" fmla="*/ 1325885 h 1447593"/>
              <a:gd name="connsiteX4" fmla="*/ 7972466 w 7972466"/>
              <a:gd name="connsiteY4" fmla="*/ 1325885 h 1447593"/>
              <a:gd name="connsiteX0" fmla="*/ 16806 w 7989272"/>
              <a:gd name="connsiteY0" fmla="*/ 1355348 h 1820552"/>
              <a:gd name="connsiteX1" fmla="*/ 223946 w 7989272"/>
              <a:gd name="connsiteY1" fmla="*/ 1820547 h 1820552"/>
              <a:gd name="connsiteX2" fmla="*/ 2010525 w 7989272"/>
              <a:gd name="connsiteY2" fmla="*/ 1344075 h 1820552"/>
              <a:gd name="connsiteX3" fmla="*/ 4842212 w 7989272"/>
              <a:gd name="connsiteY3" fmla="*/ 5 h 1820552"/>
              <a:gd name="connsiteX4" fmla="*/ 7989272 w 7989272"/>
              <a:gd name="connsiteY4" fmla="*/ 1325885 h 1820552"/>
              <a:gd name="connsiteX5" fmla="*/ 7989272 w 7989272"/>
              <a:gd name="connsiteY5" fmla="*/ 1325885 h 1820552"/>
              <a:gd name="connsiteX0" fmla="*/ 0 w 7972466"/>
              <a:gd name="connsiteY0" fmla="*/ 1355348 h 1446932"/>
              <a:gd name="connsiteX1" fmla="*/ 1993719 w 7972466"/>
              <a:gd name="connsiteY1" fmla="*/ 1344075 h 1446932"/>
              <a:gd name="connsiteX2" fmla="*/ 4825406 w 7972466"/>
              <a:gd name="connsiteY2" fmla="*/ 5 h 1446932"/>
              <a:gd name="connsiteX3" fmla="*/ 7972466 w 7972466"/>
              <a:gd name="connsiteY3" fmla="*/ 1325885 h 1446932"/>
              <a:gd name="connsiteX4" fmla="*/ 7972466 w 7972466"/>
              <a:gd name="connsiteY4" fmla="*/ 1325885 h 1446932"/>
              <a:gd name="connsiteX0" fmla="*/ 0 w 7985412"/>
              <a:gd name="connsiteY0" fmla="*/ 1405129 h 1466059"/>
              <a:gd name="connsiteX1" fmla="*/ 2006665 w 7985412"/>
              <a:gd name="connsiteY1" fmla="*/ 1344075 h 1466059"/>
              <a:gd name="connsiteX2" fmla="*/ 4838352 w 7985412"/>
              <a:gd name="connsiteY2" fmla="*/ 5 h 1466059"/>
              <a:gd name="connsiteX3" fmla="*/ 7985412 w 7985412"/>
              <a:gd name="connsiteY3" fmla="*/ 1325885 h 1466059"/>
              <a:gd name="connsiteX4" fmla="*/ 7985412 w 7985412"/>
              <a:gd name="connsiteY4" fmla="*/ 1325885 h 1466059"/>
              <a:gd name="connsiteX0" fmla="*/ 0 w 7985412"/>
              <a:gd name="connsiteY0" fmla="*/ 1405129 h 1405129"/>
              <a:gd name="connsiteX1" fmla="*/ 2006665 w 7985412"/>
              <a:gd name="connsiteY1" fmla="*/ 1344075 h 1405129"/>
              <a:gd name="connsiteX2" fmla="*/ 4838352 w 7985412"/>
              <a:gd name="connsiteY2" fmla="*/ 5 h 1405129"/>
              <a:gd name="connsiteX3" fmla="*/ 7985412 w 7985412"/>
              <a:gd name="connsiteY3" fmla="*/ 1325885 h 1405129"/>
              <a:gd name="connsiteX4" fmla="*/ 7985412 w 7985412"/>
              <a:gd name="connsiteY4" fmla="*/ 1325885 h 1405129"/>
              <a:gd name="connsiteX0" fmla="*/ 0 w 7998358"/>
              <a:gd name="connsiteY0" fmla="*/ 1348237 h 1444504"/>
              <a:gd name="connsiteX1" fmla="*/ 2019611 w 7998358"/>
              <a:gd name="connsiteY1" fmla="*/ 1344075 h 1444504"/>
              <a:gd name="connsiteX2" fmla="*/ 4851298 w 7998358"/>
              <a:gd name="connsiteY2" fmla="*/ 5 h 1444504"/>
              <a:gd name="connsiteX3" fmla="*/ 7998358 w 7998358"/>
              <a:gd name="connsiteY3" fmla="*/ 1325885 h 1444504"/>
              <a:gd name="connsiteX4" fmla="*/ 7998358 w 7998358"/>
              <a:gd name="connsiteY4" fmla="*/ 1325885 h 1444504"/>
              <a:gd name="connsiteX0" fmla="*/ 0 w 7998358"/>
              <a:gd name="connsiteY0" fmla="*/ 1348237 h 1446121"/>
              <a:gd name="connsiteX1" fmla="*/ 2019611 w 7998358"/>
              <a:gd name="connsiteY1" fmla="*/ 1344075 h 1446121"/>
              <a:gd name="connsiteX2" fmla="*/ 4851298 w 7998358"/>
              <a:gd name="connsiteY2" fmla="*/ 5 h 1446121"/>
              <a:gd name="connsiteX3" fmla="*/ 7998358 w 7998358"/>
              <a:gd name="connsiteY3" fmla="*/ 1325885 h 1446121"/>
              <a:gd name="connsiteX4" fmla="*/ 7998358 w 7998358"/>
              <a:gd name="connsiteY4" fmla="*/ 1325885 h 1446121"/>
              <a:gd name="connsiteX0" fmla="*/ 0 w 7998358"/>
              <a:gd name="connsiteY0" fmla="*/ 1348237 h 1354980"/>
              <a:gd name="connsiteX1" fmla="*/ 2019611 w 7998358"/>
              <a:gd name="connsiteY1" fmla="*/ 1344075 h 1354980"/>
              <a:gd name="connsiteX2" fmla="*/ 4851298 w 7998358"/>
              <a:gd name="connsiteY2" fmla="*/ 5 h 1354980"/>
              <a:gd name="connsiteX3" fmla="*/ 7998358 w 7998358"/>
              <a:gd name="connsiteY3" fmla="*/ 1325885 h 1354980"/>
              <a:gd name="connsiteX4" fmla="*/ 7998358 w 7998358"/>
              <a:gd name="connsiteY4" fmla="*/ 1325885 h 1354980"/>
              <a:gd name="connsiteX0" fmla="*/ 0 w 8083710"/>
              <a:gd name="connsiteY0" fmla="*/ 1348247 h 1416187"/>
              <a:gd name="connsiteX1" fmla="*/ 2019611 w 8083710"/>
              <a:gd name="connsiteY1" fmla="*/ 1344085 h 1416187"/>
              <a:gd name="connsiteX2" fmla="*/ 4851298 w 8083710"/>
              <a:gd name="connsiteY2" fmla="*/ 15 h 1416187"/>
              <a:gd name="connsiteX3" fmla="*/ 7793634 w 8083710"/>
              <a:gd name="connsiteY3" fmla="*/ 1315640 h 1416187"/>
              <a:gd name="connsiteX4" fmla="*/ 7998358 w 8083710"/>
              <a:gd name="connsiteY4" fmla="*/ 1325895 h 1416187"/>
              <a:gd name="connsiteX5" fmla="*/ 7998358 w 8083710"/>
              <a:gd name="connsiteY5" fmla="*/ 1325895 h 1416187"/>
              <a:gd name="connsiteX0" fmla="*/ 0 w 7998358"/>
              <a:gd name="connsiteY0" fmla="*/ 1348247 h 1354990"/>
              <a:gd name="connsiteX1" fmla="*/ 2019611 w 7998358"/>
              <a:gd name="connsiteY1" fmla="*/ 1344085 h 1354990"/>
              <a:gd name="connsiteX2" fmla="*/ 4851298 w 7998358"/>
              <a:gd name="connsiteY2" fmla="*/ 15 h 1354990"/>
              <a:gd name="connsiteX3" fmla="*/ 7793634 w 7998358"/>
              <a:gd name="connsiteY3" fmla="*/ 1315640 h 1354990"/>
              <a:gd name="connsiteX4" fmla="*/ 7998358 w 7998358"/>
              <a:gd name="connsiteY4" fmla="*/ 1325895 h 1354990"/>
              <a:gd name="connsiteX5" fmla="*/ 7998358 w 7998358"/>
              <a:gd name="connsiteY5" fmla="*/ 1325895 h 1354990"/>
              <a:gd name="connsiteX0" fmla="*/ 0 w 8878702"/>
              <a:gd name="connsiteY0" fmla="*/ 1348247 h 1354990"/>
              <a:gd name="connsiteX1" fmla="*/ 2019611 w 8878702"/>
              <a:gd name="connsiteY1" fmla="*/ 1344085 h 1354990"/>
              <a:gd name="connsiteX2" fmla="*/ 4851298 w 8878702"/>
              <a:gd name="connsiteY2" fmla="*/ 15 h 1354990"/>
              <a:gd name="connsiteX3" fmla="*/ 7793634 w 8878702"/>
              <a:gd name="connsiteY3" fmla="*/ 1315640 h 1354990"/>
              <a:gd name="connsiteX4" fmla="*/ 7998358 w 8878702"/>
              <a:gd name="connsiteY4" fmla="*/ 1325895 h 1354990"/>
              <a:gd name="connsiteX5" fmla="*/ 8878702 w 8878702"/>
              <a:gd name="connsiteY5" fmla="*/ 1318784 h 1354990"/>
              <a:gd name="connsiteX0" fmla="*/ 0 w 8878702"/>
              <a:gd name="connsiteY0" fmla="*/ 1348247 h 1414001"/>
              <a:gd name="connsiteX1" fmla="*/ 2019611 w 8878702"/>
              <a:gd name="connsiteY1" fmla="*/ 1344085 h 1414001"/>
              <a:gd name="connsiteX2" fmla="*/ 4851298 w 8878702"/>
              <a:gd name="connsiteY2" fmla="*/ 15 h 1414001"/>
              <a:gd name="connsiteX3" fmla="*/ 7793634 w 8878702"/>
              <a:gd name="connsiteY3" fmla="*/ 1315640 h 1414001"/>
              <a:gd name="connsiteX4" fmla="*/ 8878702 w 8878702"/>
              <a:gd name="connsiteY4" fmla="*/ 1318784 h 1414001"/>
              <a:gd name="connsiteX0" fmla="*/ 0 w 9875562"/>
              <a:gd name="connsiteY0" fmla="*/ 1348247 h 1414001"/>
              <a:gd name="connsiteX1" fmla="*/ 2019611 w 9875562"/>
              <a:gd name="connsiteY1" fmla="*/ 1344085 h 1414001"/>
              <a:gd name="connsiteX2" fmla="*/ 4851298 w 9875562"/>
              <a:gd name="connsiteY2" fmla="*/ 15 h 1414001"/>
              <a:gd name="connsiteX3" fmla="*/ 7793634 w 9875562"/>
              <a:gd name="connsiteY3" fmla="*/ 1315640 h 1414001"/>
              <a:gd name="connsiteX4" fmla="*/ 9875562 w 9875562"/>
              <a:gd name="connsiteY4" fmla="*/ 1318784 h 1414001"/>
              <a:gd name="connsiteX0" fmla="*/ 0 w 9875562"/>
              <a:gd name="connsiteY0" fmla="*/ 1348374 h 1374793"/>
              <a:gd name="connsiteX1" fmla="*/ 2019611 w 9875562"/>
              <a:gd name="connsiteY1" fmla="*/ 1344212 h 1374793"/>
              <a:gd name="connsiteX2" fmla="*/ 4851298 w 9875562"/>
              <a:gd name="connsiteY2" fmla="*/ 142 h 1374793"/>
              <a:gd name="connsiteX3" fmla="*/ 7534709 w 9875562"/>
              <a:gd name="connsiteY3" fmla="*/ 1258875 h 1374793"/>
              <a:gd name="connsiteX4" fmla="*/ 9875562 w 9875562"/>
              <a:gd name="connsiteY4" fmla="*/ 1318911 h 1374793"/>
              <a:gd name="connsiteX0" fmla="*/ 0 w 9875562"/>
              <a:gd name="connsiteY0" fmla="*/ 1348350 h 1374769"/>
              <a:gd name="connsiteX1" fmla="*/ 2019611 w 9875562"/>
              <a:gd name="connsiteY1" fmla="*/ 1344188 h 1374769"/>
              <a:gd name="connsiteX2" fmla="*/ 4851298 w 9875562"/>
              <a:gd name="connsiteY2" fmla="*/ 118 h 1374769"/>
              <a:gd name="connsiteX3" fmla="*/ 7534709 w 9875562"/>
              <a:gd name="connsiteY3" fmla="*/ 1258851 h 1374769"/>
              <a:gd name="connsiteX4" fmla="*/ 9875562 w 9875562"/>
              <a:gd name="connsiteY4" fmla="*/ 1318887 h 1374769"/>
              <a:gd name="connsiteX0" fmla="*/ 0 w 9875562"/>
              <a:gd name="connsiteY0" fmla="*/ 1348368 h 1374787"/>
              <a:gd name="connsiteX1" fmla="*/ 2019611 w 9875562"/>
              <a:gd name="connsiteY1" fmla="*/ 1344206 h 1374787"/>
              <a:gd name="connsiteX2" fmla="*/ 4851298 w 9875562"/>
              <a:gd name="connsiteY2" fmla="*/ 136 h 1374787"/>
              <a:gd name="connsiteX3" fmla="*/ 7534709 w 9875562"/>
              <a:gd name="connsiteY3" fmla="*/ 1258869 h 1374787"/>
              <a:gd name="connsiteX4" fmla="*/ 9875562 w 9875562"/>
              <a:gd name="connsiteY4" fmla="*/ 1318905 h 1374787"/>
              <a:gd name="connsiteX0" fmla="*/ 0 w 9875562"/>
              <a:gd name="connsiteY0" fmla="*/ 1348352 h 1355095"/>
              <a:gd name="connsiteX1" fmla="*/ 2019611 w 9875562"/>
              <a:gd name="connsiteY1" fmla="*/ 1344190 h 1355095"/>
              <a:gd name="connsiteX2" fmla="*/ 4851298 w 9875562"/>
              <a:gd name="connsiteY2" fmla="*/ 120 h 1355095"/>
              <a:gd name="connsiteX3" fmla="*/ 7534709 w 9875562"/>
              <a:gd name="connsiteY3" fmla="*/ 1258853 h 1355095"/>
              <a:gd name="connsiteX4" fmla="*/ 9875562 w 9875562"/>
              <a:gd name="connsiteY4" fmla="*/ 1318889 h 1355095"/>
              <a:gd name="connsiteX0" fmla="*/ 0 w 9875562"/>
              <a:gd name="connsiteY0" fmla="*/ 1348352 h 1355095"/>
              <a:gd name="connsiteX1" fmla="*/ 2019611 w 9875562"/>
              <a:gd name="connsiteY1" fmla="*/ 1344190 h 1355095"/>
              <a:gd name="connsiteX2" fmla="*/ 4851298 w 9875562"/>
              <a:gd name="connsiteY2" fmla="*/ 120 h 1355095"/>
              <a:gd name="connsiteX3" fmla="*/ 7534709 w 9875562"/>
              <a:gd name="connsiteY3" fmla="*/ 1258853 h 1355095"/>
              <a:gd name="connsiteX4" fmla="*/ 9875562 w 9875562"/>
              <a:gd name="connsiteY4" fmla="*/ 1318889 h 1355095"/>
              <a:gd name="connsiteX0" fmla="*/ 0 w 9875562"/>
              <a:gd name="connsiteY0" fmla="*/ 1348351 h 1355094"/>
              <a:gd name="connsiteX1" fmla="*/ 2019611 w 9875562"/>
              <a:gd name="connsiteY1" fmla="*/ 1344189 h 1355094"/>
              <a:gd name="connsiteX2" fmla="*/ 4851298 w 9875562"/>
              <a:gd name="connsiteY2" fmla="*/ 119 h 1355094"/>
              <a:gd name="connsiteX3" fmla="*/ 7534709 w 9875562"/>
              <a:gd name="connsiteY3" fmla="*/ 1258852 h 1355094"/>
              <a:gd name="connsiteX4" fmla="*/ 9875562 w 9875562"/>
              <a:gd name="connsiteY4" fmla="*/ 1318888 h 1355094"/>
              <a:gd name="connsiteX0" fmla="*/ 0 w 9849670"/>
              <a:gd name="connsiteY0" fmla="*/ 1348373 h 1355116"/>
              <a:gd name="connsiteX1" fmla="*/ 2019611 w 9849670"/>
              <a:gd name="connsiteY1" fmla="*/ 1344211 h 1355116"/>
              <a:gd name="connsiteX2" fmla="*/ 4851298 w 9849670"/>
              <a:gd name="connsiteY2" fmla="*/ 141 h 1355116"/>
              <a:gd name="connsiteX3" fmla="*/ 7534709 w 9849670"/>
              <a:gd name="connsiteY3" fmla="*/ 1258874 h 1355116"/>
              <a:gd name="connsiteX4" fmla="*/ 9849670 w 9849670"/>
              <a:gd name="connsiteY4" fmla="*/ 1262018 h 1355116"/>
              <a:gd name="connsiteX0" fmla="*/ 0 w 9849670"/>
              <a:gd name="connsiteY0" fmla="*/ 1348353 h 1355096"/>
              <a:gd name="connsiteX1" fmla="*/ 2019611 w 9849670"/>
              <a:gd name="connsiteY1" fmla="*/ 1344191 h 1355096"/>
              <a:gd name="connsiteX2" fmla="*/ 4851298 w 9849670"/>
              <a:gd name="connsiteY2" fmla="*/ 121 h 1355096"/>
              <a:gd name="connsiteX3" fmla="*/ 7534709 w 9849670"/>
              <a:gd name="connsiteY3" fmla="*/ 1258854 h 1355096"/>
              <a:gd name="connsiteX4" fmla="*/ 9849670 w 9849670"/>
              <a:gd name="connsiteY4" fmla="*/ 1261998 h 1355096"/>
              <a:gd name="connsiteX0" fmla="*/ 0 w 8807411"/>
              <a:gd name="connsiteY0" fmla="*/ 1356118 h 1448949"/>
              <a:gd name="connsiteX1" fmla="*/ 977352 w 8807411"/>
              <a:gd name="connsiteY1" fmla="*/ 1344191 h 1448949"/>
              <a:gd name="connsiteX2" fmla="*/ 3809039 w 8807411"/>
              <a:gd name="connsiteY2" fmla="*/ 121 h 1448949"/>
              <a:gd name="connsiteX3" fmla="*/ 6492450 w 8807411"/>
              <a:gd name="connsiteY3" fmla="*/ 1258854 h 1448949"/>
              <a:gd name="connsiteX4" fmla="*/ 8807411 w 8807411"/>
              <a:gd name="connsiteY4" fmla="*/ 1261998 h 1448949"/>
              <a:gd name="connsiteX0" fmla="*/ 0 w 8807411"/>
              <a:gd name="connsiteY0" fmla="*/ 1356118 h 1356118"/>
              <a:gd name="connsiteX1" fmla="*/ 977352 w 8807411"/>
              <a:gd name="connsiteY1" fmla="*/ 1344191 h 1356118"/>
              <a:gd name="connsiteX2" fmla="*/ 3809039 w 8807411"/>
              <a:gd name="connsiteY2" fmla="*/ 121 h 1356118"/>
              <a:gd name="connsiteX3" fmla="*/ 6492450 w 8807411"/>
              <a:gd name="connsiteY3" fmla="*/ 1258854 h 1356118"/>
              <a:gd name="connsiteX4" fmla="*/ 8807411 w 8807411"/>
              <a:gd name="connsiteY4" fmla="*/ 1261998 h 1356118"/>
              <a:gd name="connsiteX0" fmla="*/ 0 w 7554359"/>
              <a:gd name="connsiteY0" fmla="*/ 1356138 h 1356138"/>
              <a:gd name="connsiteX1" fmla="*/ 977352 w 7554359"/>
              <a:gd name="connsiteY1" fmla="*/ 1344211 h 1356138"/>
              <a:gd name="connsiteX2" fmla="*/ 3809039 w 7554359"/>
              <a:gd name="connsiteY2" fmla="*/ 141 h 1356138"/>
              <a:gd name="connsiteX3" fmla="*/ 6492450 w 7554359"/>
              <a:gd name="connsiteY3" fmla="*/ 1258874 h 1356138"/>
              <a:gd name="connsiteX4" fmla="*/ 7554359 w 7554359"/>
              <a:gd name="connsiteY4" fmla="*/ 1262018 h 1356138"/>
              <a:gd name="connsiteX0" fmla="*/ 0 w 7554359"/>
              <a:gd name="connsiteY0" fmla="*/ 1356117 h 1356117"/>
              <a:gd name="connsiteX1" fmla="*/ 977352 w 7554359"/>
              <a:gd name="connsiteY1" fmla="*/ 1344190 h 1356117"/>
              <a:gd name="connsiteX2" fmla="*/ 3809039 w 7554359"/>
              <a:gd name="connsiteY2" fmla="*/ 120 h 1356117"/>
              <a:gd name="connsiteX3" fmla="*/ 6492450 w 7554359"/>
              <a:gd name="connsiteY3" fmla="*/ 1258853 h 1356117"/>
              <a:gd name="connsiteX4" fmla="*/ 7554359 w 7554359"/>
              <a:gd name="connsiteY4" fmla="*/ 1261997 h 1356117"/>
              <a:gd name="connsiteX0" fmla="*/ 0 w 7554359"/>
              <a:gd name="connsiteY0" fmla="*/ 1356117 h 1356117"/>
              <a:gd name="connsiteX1" fmla="*/ 977352 w 7554359"/>
              <a:gd name="connsiteY1" fmla="*/ 1344190 h 1356117"/>
              <a:gd name="connsiteX2" fmla="*/ 3809039 w 7554359"/>
              <a:gd name="connsiteY2" fmla="*/ 120 h 1356117"/>
              <a:gd name="connsiteX3" fmla="*/ 6492450 w 7554359"/>
              <a:gd name="connsiteY3" fmla="*/ 1258853 h 1356117"/>
              <a:gd name="connsiteX4" fmla="*/ 7554359 w 7554359"/>
              <a:gd name="connsiteY4" fmla="*/ 1261997 h 1356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54359" h="1356117">
                <a:moveTo>
                  <a:pt x="0" y="1356117"/>
                </a:moveTo>
                <a:lnTo>
                  <a:pt x="977352" y="1344190"/>
                </a:lnTo>
                <a:cubicBezTo>
                  <a:pt x="2631030" y="1327826"/>
                  <a:pt x="2889856" y="14343"/>
                  <a:pt x="3809039" y="120"/>
                </a:cubicBezTo>
                <a:cubicBezTo>
                  <a:pt x="4728222" y="-14103"/>
                  <a:pt x="4968500" y="1242611"/>
                  <a:pt x="6492450" y="1258853"/>
                </a:cubicBezTo>
                <a:lnTo>
                  <a:pt x="7554359" y="1261997"/>
                </a:lnTo>
              </a:path>
            </a:pathLst>
          </a:custGeom>
          <a:noFill/>
          <a:ln w="12700"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95" name="Textfeld 494"/>
          <p:cNvSpPr txBox="1"/>
          <p:nvPr/>
        </p:nvSpPr>
        <p:spPr>
          <a:xfrm>
            <a:off x="7165886" y="6006811"/>
            <a:ext cx="733425" cy="400050"/>
          </a:xfrm>
          <a:prstGeom prst="rect">
            <a:avLst/>
          </a:prstGeom>
          <a:noFill/>
        </p:spPr>
        <p:txBody>
          <a:bodyPr wrap="none" rtlCol="0">
            <a:noAutofit/>
          </a:bodyPr>
          <a:lstStyle/>
          <a:p>
            <a:pPr eaLnBrk="0" fontAlgn="base" hangingPunct="0">
              <a:spcBef>
                <a:spcPct val="0"/>
              </a:spcBef>
              <a:spcAft>
                <a:spcPct val="0"/>
              </a:spcAft>
            </a:pPr>
            <a:r>
              <a:rPr lang="en-US" sz="1200" dirty="0">
                <a:solidFill>
                  <a:srgbClr val="000000"/>
                </a:solidFill>
              </a:rPr>
              <a:t>scan</a:t>
            </a:r>
          </a:p>
        </p:txBody>
      </p:sp>
      <p:sp>
        <p:nvSpPr>
          <p:cNvPr id="474" name="Freihandform 473"/>
          <p:cNvSpPr/>
          <p:nvPr/>
        </p:nvSpPr>
        <p:spPr bwMode="auto">
          <a:xfrm>
            <a:off x="1636123" y="3724546"/>
            <a:ext cx="5564012" cy="2177633"/>
          </a:xfrm>
          <a:custGeom>
            <a:avLst/>
            <a:gdLst>
              <a:gd name="connsiteX0" fmla="*/ 0 w 6134100"/>
              <a:gd name="connsiteY0" fmla="*/ 15240 h 15240"/>
              <a:gd name="connsiteX1" fmla="*/ 6134100 w 6134100"/>
              <a:gd name="connsiteY1" fmla="*/ 0 h 15240"/>
              <a:gd name="connsiteX2" fmla="*/ 6134100 w 6134100"/>
              <a:gd name="connsiteY2" fmla="*/ 0 h 15240"/>
              <a:gd name="connsiteX0" fmla="*/ 0 w 6134100"/>
              <a:gd name="connsiteY0" fmla="*/ 15240 h 15240"/>
              <a:gd name="connsiteX1" fmla="*/ 3009900 w 6134100"/>
              <a:gd name="connsiteY1" fmla="*/ 15240 h 15240"/>
              <a:gd name="connsiteX2" fmla="*/ 6134100 w 6134100"/>
              <a:gd name="connsiteY2" fmla="*/ 0 h 15240"/>
              <a:gd name="connsiteX3" fmla="*/ 6134100 w 6134100"/>
              <a:gd name="connsiteY3" fmla="*/ 0 h 1524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1310640 w 6134100"/>
              <a:gd name="connsiteY1" fmla="*/ 74676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6134100 w 6134100"/>
              <a:gd name="connsiteY3" fmla="*/ 1325880 h 1341120"/>
              <a:gd name="connsiteX4" fmla="*/ 6134100 w 6134100"/>
              <a:gd name="connsiteY4"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495800 w 6134100"/>
              <a:gd name="connsiteY3" fmla="*/ 632460 h 1341120"/>
              <a:gd name="connsiteX4" fmla="*/ 6134100 w 6134100"/>
              <a:gd name="connsiteY4" fmla="*/ 1325880 h 1341120"/>
              <a:gd name="connsiteX5" fmla="*/ 6134100 w 6134100"/>
              <a:gd name="connsiteY5" fmla="*/ 1325880 h 1341120"/>
              <a:gd name="connsiteX0" fmla="*/ 0 w 6134100"/>
              <a:gd name="connsiteY0" fmla="*/ 1341120 h 1341120"/>
              <a:gd name="connsiteX1" fmla="*/ 1394460 w 6134100"/>
              <a:gd name="connsiteY1" fmla="*/ 1043940 h 1341120"/>
              <a:gd name="connsiteX2" fmla="*/ 2987040 w 6134100"/>
              <a:gd name="connsiteY2" fmla="*/ 0 h 1341120"/>
              <a:gd name="connsiteX3" fmla="*/ 4556760 w 6134100"/>
              <a:gd name="connsiteY3" fmla="*/ 1036320 h 1341120"/>
              <a:gd name="connsiteX4" fmla="*/ 6134100 w 6134100"/>
              <a:gd name="connsiteY4" fmla="*/ 1325880 h 1341120"/>
              <a:gd name="connsiteX5" fmla="*/ 6134100 w 6134100"/>
              <a:gd name="connsiteY5" fmla="*/ 1325880 h 1341120"/>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1121 h 1341121"/>
              <a:gd name="connsiteX1" fmla="*/ 1394460 w 6134100"/>
              <a:gd name="connsiteY1" fmla="*/ 1043941 h 1341121"/>
              <a:gd name="connsiteX2" fmla="*/ 2987040 w 6134100"/>
              <a:gd name="connsiteY2" fmla="*/ 1 h 1341121"/>
              <a:gd name="connsiteX3" fmla="*/ 4556760 w 6134100"/>
              <a:gd name="connsiteY3" fmla="*/ 1036321 h 1341121"/>
              <a:gd name="connsiteX4" fmla="*/ 6134100 w 6134100"/>
              <a:gd name="connsiteY4" fmla="*/ 1325881 h 1341121"/>
              <a:gd name="connsiteX5" fmla="*/ 6134100 w 6134100"/>
              <a:gd name="connsiteY5" fmla="*/ 1325881 h 1341121"/>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2958 h 1342958"/>
              <a:gd name="connsiteX1" fmla="*/ 1394460 w 6134100"/>
              <a:gd name="connsiteY1" fmla="*/ 1045778 h 1342958"/>
              <a:gd name="connsiteX2" fmla="*/ 2987040 w 6134100"/>
              <a:gd name="connsiteY2" fmla="*/ 1838 h 1342958"/>
              <a:gd name="connsiteX3" fmla="*/ 6134100 w 6134100"/>
              <a:gd name="connsiteY3" fmla="*/ 1327718 h 1342958"/>
              <a:gd name="connsiteX4" fmla="*/ 6134100 w 6134100"/>
              <a:gd name="connsiteY4" fmla="*/ 1327718 h 1342958"/>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0 h 1341120"/>
              <a:gd name="connsiteX1" fmla="*/ 2987040 w 6134100"/>
              <a:gd name="connsiteY1" fmla="*/ 0 h 1341120"/>
              <a:gd name="connsiteX2" fmla="*/ 6134100 w 6134100"/>
              <a:gd name="connsiteY2" fmla="*/ 1325880 h 1341120"/>
              <a:gd name="connsiteX3" fmla="*/ 6134100 w 6134100"/>
              <a:gd name="connsiteY3" fmla="*/ 1325880 h 1341120"/>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24"/>
              <a:gd name="connsiteX1" fmla="*/ 2987040 w 6134100"/>
              <a:gd name="connsiteY1" fmla="*/ 4 h 1341124"/>
              <a:gd name="connsiteX2" fmla="*/ 6134100 w 6134100"/>
              <a:gd name="connsiteY2" fmla="*/ 1325884 h 1341124"/>
              <a:gd name="connsiteX3" fmla="*/ 6134100 w 6134100"/>
              <a:gd name="connsiteY3" fmla="*/ 1325884 h 1341124"/>
              <a:gd name="connsiteX0" fmla="*/ 0 w 6134100"/>
              <a:gd name="connsiteY0" fmla="*/ 1341124 h 1341164"/>
              <a:gd name="connsiteX1" fmla="*/ 2987040 w 6134100"/>
              <a:gd name="connsiteY1" fmla="*/ 4 h 1341164"/>
              <a:gd name="connsiteX2" fmla="*/ 6134100 w 6134100"/>
              <a:gd name="connsiteY2" fmla="*/ 1325884 h 1341164"/>
              <a:gd name="connsiteX3" fmla="*/ 6134100 w 6134100"/>
              <a:gd name="connsiteY3" fmla="*/ 1325884 h 1341164"/>
              <a:gd name="connsiteX0" fmla="*/ 107031 w 6241131"/>
              <a:gd name="connsiteY0" fmla="*/ 1341125 h 1442766"/>
              <a:gd name="connsiteX1" fmla="*/ 262384 w 6241131"/>
              <a:gd name="connsiteY1" fmla="*/ 1344075 h 1442766"/>
              <a:gd name="connsiteX2" fmla="*/ 3094071 w 6241131"/>
              <a:gd name="connsiteY2" fmla="*/ 5 h 1442766"/>
              <a:gd name="connsiteX3" fmla="*/ 6241131 w 6241131"/>
              <a:gd name="connsiteY3" fmla="*/ 1325885 h 1442766"/>
              <a:gd name="connsiteX4" fmla="*/ 6241131 w 6241131"/>
              <a:gd name="connsiteY4" fmla="*/ 1325885 h 1442766"/>
              <a:gd name="connsiteX0" fmla="*/ 0 w 7972466"/>
              <a:gd name="connsiteY0" fmla="*/ 1405128 h 1462299"/>
              <a:gd name="connsiteX1" fmla="*/ 1993719 w 7972466"/>
              <a:gd name="connsiteY1" fmla="*/ 1344075 h 1462299"/>
              <a:gd name="connsiteX2" fmla="*/ 4825406 w 7972466"/>
              <a:gd name="connsiteY2" fmla="*/ 5 h 1462299"/>
              <a:gd name="connsiteX3" fmla="*/ 7972466 w 7972466"/>
              <a:gd name="connsiteY3" fmla="*/ 1325885 h 1462299"/>
              <a:gd name="connsiteX4" fmla="*/ 7972466 w 7972466"/>
              <a:gd name="connsiteY4" fmla="*/ 1325885 h 1462299"/>
              <a:gd name="connsiteX0" fmla="*/ 0 w 7972466"/>
              <a:gd name="connsiteY0" fmla="*/ 1405128 h 1462299"/>
              <a:gd name="connsiteX1" fmla="*/ 1993719 w 7972466"/>
              <a:gd name="connsiteY1" fmla="*/ 1344075 h 1462299"/>
              <a:gd name="connsiteX2" fmla="*/ 4825406 w 7972466"/>
              <a:gd name="connsiteY2" fmla="*/ 5 h 1462299"/>
              <a:gd name="connsiteX3" fmla="*/ 7972466 w 7972466"/>
              <a:gd name="connsiteY3" fmla="*/ 1325885 h 1462299"/>
              <a:gd name="connsiteX4" fmla="*/ 7972466 w 7972466"/>
              <a:gd name="connsiteY4" fmla="*/ 1325885 h 1462299"/>
              <a:gd name="connsiteX0" fmla="*/ 0 w 7972466"/>
              <a:gd name="connsiteY0" fmla="*/ 1405128 h 1409339"/>
              <a:gd name="connsiteX1" fmla="*/ 1993719 w 7972466"/>
              <a:gd name="connsiteY1" fmla="*/ 1344075 h 1409339"/>
              <a:gd name="connsiteX2" fmla="*/ 4825406 w 7972466"/>
              <a:gd name="connsiteY2" fmla="*/ 5 h 1409339"/>
              <a:gd name="connsiteX3" fmla="*/ 7972466 w 7972466"/>
              <a:gd name="connsiteY3" fmla="*/ 1325885 h 1409339"/>
              <a:gd name="connsiteX4" fmla="*/ 7972466 w 7972466"/>
              <a:gd name="connsiteY4" fmla="*/ 1325885 h 1409339"/>
              <a:gd name="connsiteX0" fmla="*/ 0 w 7972466"/>
              <a:gd name="connsiteY0" fmla="*/ 1405128 h 1405131"/>
              <a:gd name="connsiteX1" fmla="*/ 1993719 w 7972466"/>
              <a:gd name="connsiteY1" fmla="*/ 1344075 h 1405131"/>
              <a:gd name="connsiteX2" fmla="*/ 4825406 w 7972466"/>
              <a:gd name="connsiteY2" fmla="*/ 5 h 1405131"/>
              <a:gd name="connsiteX3" fmla="*/ 7972466 w 7972466"/>
              <a:gd name="connsiteY3" fmla="*/ 1325885 h 1405131"/>
              <a:gd name="connsiteX4" fmla="*/ 7972466 w 7972466"/>
              <a:gd name="connsiteY4" fmla="*/ 1325885 h 1405131"/>
              <a:gd name="connsiteX0" fmla="*/ 0 w 7972466"/>
              <a:gd name="connsiteY0" fmla="*/ 1355348 h 1447593"/>
              <a:gd name="connsiteX1" fmla="*/ 1993719 w 7972466"/>
              <a:gd name="connsiteY1" fmla="*/ 1344075 h 1447593"/>
              <a:gd name="connsiteX2" fmla="*/ 4825406 w 7972466"/>
              <a:gd name="connsiteY2" fmla="*/ 5 h 1447593"/>
              <a:gd name="connsiteX3" fmla="*/ 7972466 w 7972466"/>
              <a:gd name="connsiteY3" fmla="*/ 1325885 h 1447593"/>
              <a:gd name="connsiteX4" fmla="*/ 7972466 w 7972466"/>
              <a:gd name="connsiteY4" fmla="*/ 1325885 h 1447593"/>
              <a:gd name="connsiteX0" fmla="*/ 0 w 7972466"/>
              <a:gd name="connsiteY0" fmla="*/ 1355348 h 1447593"/>
              <a:gd name="connsiteX1" fmla="*/ 1993719 w 7972466"/>
              <a:gd name="connsiteY1" fmla="*/ 1344075 h 1447593"/>
              <a:gd name="connsiteX2" fmla="*/ 4825406 w 7972466"/>
              <a:gd name="connsiteY2" fmla="*/ 5 h 1447593"/>
              <a:gd name="connsiteX3" fmla="*/ 7972466 w 7972466"/>
              <a:gd name="connsiteY3" fmla="*/ 1325885 h 1447593"/>
              <a:gd name="connsiteX4" fmla="*/ 7972466 w 7972466"/>
              <a:gd name="connsiteY4" fmla="*/ 1325885 h 1447593"/>
              <a:gd name="connsiteX0" fmla="*/ 16806 w 7989272"/>
              <a:gd name="connsiteY0" fmla="*/ 1355348 h 1820552"/>
              <a:gd name="connsiteX1" fmla="*/ 223946 w 7989272"/>
              <a:gd name="connsiteY1" fmla="*/ 1820547 h 1820552"/>
              <a:gd name="connsiteX2" fmla="*/ 2010525 w 7989272"/>
              <a:gd name="connsiteY2" fmla="*/ 1344075 h 1820552"/>
              <a:gd name="connsiteX3" fmla="*/ 4842212 w 7989272"/>
              <a:gd name="connsiteY3" fmla="*/ 5 h 1820552"/>
              <a:gd name="connsiteX4" fmla="*/ 7989272 w 7989272"/>
              <a:gd name="connsiteY4" fmla="*/ 1325885 h 1820552"/>
              <a:gd name="connsiteX5" fmla="*/ 7989272 w 7989272"/>
              <a:gd name="connsiteY5" fmla="*/ 1325885 h 1820552"/>
              <a:gd name="connsiteX0" fmla="*/ 0 w 7972466"/>
              <a:gd name="connsiteY0" fmla="*/ 1355348 h 1446932"/>
              <a:gd name="connsiteX1" fmla="*/ 1993719 w 7972466"/>
              <a:gd name="connsiteY1" fmla="*/ 1344075 h 1446932"/>
              <a:gd name="connsiteX2" fmla="*/ 4825406 w 7972466"/>
              <a:gd name="connsiteY2" fmla="*/ 5 h 1446932"/>
              <a:gd name="connsiteX3" fmla="*/ 7972466 w 7972466"/>
              <a:gd name="connsiteY3" fmla="*/ 1325885 h 1446932"/>
              <a:gd name="connsiteX4" fmla="*/ 7972466 w 7972466"/>
              <a:gd name="connsiteY4" fmla="*/ 1325885 h 1446932"/>
              <a:gd name="connsiteX0" fmla="*/ 0 w 7985412"/>
              <a:gd name="connsiteY0" fmla="*/ 1405129 h 1466059"/>
              <a:gd name="connsiteX1" fmla="*/ 2006665 w 7985412"/>
              <a:gd name="connsiteY1" fmla="*/ 1344075 h 1466059"/>
              <a:gd name="connsiteX2" fmla="*/ 4838352 w 7985412"/>
              <a:gd name="connsiteY2" fmla="*/ 5 h 1466059"/>
              <a:gd name="connsiteX3" fmla="*/ 7985412 w 7985412"/>
              <a:gd name="connsiteY3" fmla="*/ 1325885 h 1466059"/>
              <a:gd name="connsiteX4" fmla="*/ 7985412 w 7985412"/>
              <a:gd name="connsiteY4" fmla="*/ 1325885 h 1466059"/>
              <a:gd name="connsiteX0" fmla="*/ 0 w 7985412"/>
              <a:gd name="connsiteY0" fmla="*/ 1405129 h 1405129"/>
              <a:gd name="connsiteX1" fmla="*/ 2006665 w 7985412"/>
              <a:gd name="connsiteY1" fmla="*/ 1344075 h 1405129"/>
              <a:gd name="connsiteX2" fmla="*/ 4838352 w 7985412"/>
              <a:gd name="connsiteY2" fmla="*/ 5 h 1405129"/>
              <a:gd name="connsiteX3" fmla="*/ 7985412 w 7985412"/>
              <a:gd name="connsiteY3" fmla="*/ 1325885 h 1405129"/>
              <a:gd name="connsiteX4" fmla="*/ 7985412 w 7985412"/>
              <a:gd name="connsiteY4" fmla="*/ 1325885 h 1405129"/>
              <a:gd name="connsiteX0" fmla="*/ 0 w 7998358"/>
              <a:gd name="connsiteY0" fmla="*/ 1348237 h 1444504"/>
              <a:gd name="connsiteX1" fmla="*/ 2019611 w 7998358"/>
              <a:gd name="connsiteY1" fmla="*/ 1344075 h 1444504"/>
              <a:gd name="connsiteX2" fmla="*/ 4851298 w 7998358"/>
              <a:gd name="connsiteY2" fmla="*/ 5 h 1444504"/>
              <a:gd name="connsiteX3" fmla="*/ 7998358 w 7998358"/>
              <a:gd name="connsiteY3" fmla="*/ 1325885 h 1444504"/>
              <a:gd name="connsiteX4" fmla="*/ 7998358 w 7998358"/>
              <a:gd name="connsiteY4" fmla="*/ 1325885 h 1444504"/>
              <a:gd name="connsiteX0" fmla="*/ 0 w 7998358"/>
              <a:gd name="connsiteY0" fmla="*/ 1348237 h 1446121"/>
              <a:gd name="connsiteX1" fmla="*/ 2019611 w 7998358"/>
              <a:gd name="connsiteY1" fmla="*/ 1344075 h 1446121"/>
              <a:gd name="connsiteX2" fmla="*/ 4851298 w 7998358"/>
              <a:gd name="connsiteY2" fmla="*/ 5 h 1446121"/>
              <a:gd name="connsiteX3" fmla="*/ 7998358 w 7998358"/>
              <a:gd name="connsiteY3" fmla="*/ 1325885 h 1446121"/>
              <a:gd name="connsiteX4" fmla="*/ 7998358 w 7998358"/>
              <a:gd name="connsiteY4" fmla="*/ 1325885 h 1446121"/>
              <a:gd name="connsiteX0" fmla="*/ 0 w 7998358"/>
              <a:gd name="connsiteY0" fmla="*/ 1348237 h 1354980"/>
              <a:gd name="connsiteX1" fmla="*/ 2019611 w 7998358"/>
              <a:gd name="connsiteY1" fmla="*/ 1344075 h 1354980"/>
              <a:gd name="connsiteX2" fmla="*/ 4851298 w 7998358"/>
              <a:gd name="connsiteY2" fmla="*/ 5 h 1354980"/>
              <a:gd name="connsiteX3" fmla="*/ 7998358 w 7998358"/>
              <a:gd name="connsiteY3" fmla="*/ 1325885 h 1354980"/>
              <a:gd name="connsiteX4" fmla="*/ 7998358 w 7998358"/>
              <a:gd name="connsiteY4" fmla="*/ 1325885 h 1354980"/>
              <a:gd name="connsiteX0" fmla="*/ 0 w 8083710"/>
              <a:gd name="connsiteY0" fmla="*/ 1348247 h 1416187"/>
              <a:gd name="connsiteX1" fmla="*/ 2019611 w 8083710"/>
              <a:gd name="connsiteY1" fmla="*/ 1344085 h 1416187"/>
              <a:gd name="connsiteX2" fmla="*/ 4851298 w 8083710"/>
              <a:gd name="connsiteY2" fmla="*/ 15 h 1416187"/>
              <a:gd name="connsiteX3" fmla="*/ 7793634 w 8083710"/>
              <a:gd name="connsiteY3" fmla="*/ 1315640 h 1416187"/>
              <a:gd name="connsiteX4" fmla="*/ 7998358 w 8083710"/>
              <a:gd name="connsiteY4" fmla="*/ 1325895 h 1416187"/>
              <a:gd name="connsiteX5" fmla="*/ 7998358 w 8083710"/>
              <a:gd name="connsiteY5" fmla="*/ 1325895 h 1416187"/>
              <a:gd name="connsiteX0" fmla="*/ 0 w 7998358"/>
              <a:gd name="connsiteY0" fmla="*/ 1348247 h 1354990"/>
              <a:gd name="connsiteX1" fmla="*/ 2019611 w 7998358"/>
              <a:gd name="connsiteY1" fmla="*/ 1344085 h 1354990"/>
              <a:gd name="connsiteX2" fmla="*/ 4851298 w 7998358"/>
              <a:gd name="connsiteY2" fmla="*/ 15 h 1354990"/>
              <a:gd name="connsiteX3" fmla="*/ 7793634 w 7998358"/>
              <a:gd name="connsiteY3" fmla="*/ 1315640 h 1354990"/>
              <a:gd name="connsiteX4" fmla="*/ 7998358 w 7998358"/>
              <a:gd name="connsiteY4" fmla="*/ 1325895 h 1354990"/>
              <a:gd name="connsiteX5" fmla="*/ 7998358 w 7998358"/>
              <a:gd name="connsiteY5" fmla="*/ 1325895 h 1354990"/>
              <a:gd name="connsiteX0" fmla="*/ 0 w 8878702"/>
              <a:gd name="connsiteY0" fmla="*/ 1348247 h 1354990"/>
              <a:gd name="connsiteX1" fmla="*/ 2019611 w 8878702"/>
              <a:gd name="connsiteY1" fmla="*/ 1344085 h 1354990"/>
              <a:gd name="connsiteX2" fmla="*/ 4851298 w 8878702"/>
              <a:gd name="connsiteY2" fmla="*/ 15 h 1354990"/>
              <a:gd name="connsiteX3" fmla="*/ 7793634 w 8878702"/>
              <a:gd name="connsiteY3" fmla="*/ 1315640 h 1354990"/>
              <a:gd name="connsiteX4" fmla="*/ 7998358 w 8878702"/>
              <a:gd name="connsiteY4" fmla="*/ 1325895 h 1354990"/>
              <a:gd name="connsiteX5" fmla="*/ 8878702 w 8878702"/>
              <a:gd name="connsiteY5" fmla="*/ 1318784 h 1354990"/>
              <a:gd name="connsiteX0" fmla="*/ 0 w 8878702"/>
              <a:gd name="connsiteY0" fmla="*/ 1348247 h 1414001"/>
              <a:gd name="connsiteX1" fmla="*/ 2019611 w 8878702"/>
              <a:gd name="connsiteY1" fmla="*/ 1344085 h 1414001"/>
              <a:gd name="connsiteX2" fmla="*/ 4851298 w 8878702"/>
              <a:gd name="connsiteY2" fmla="*/ 15 h 1414001"/>
              <a:gd name="connsiteX3" fmla="*/ 7793634 w 8878702"/>
              <a:gd name="connsiteY3" fmla="*/ 1315640 h 1414001"/>
              <a:gd name="connsiteX4" fmla="*/ 8878702 w 8878702"/>
              <a:gd name="connsiteY4" fmla="*/ 1318784 h 1414001"/>
              <a:gd name="connsiteX0" fmla="*/ 0 w 9875562"/>
              <a:gd name="connsiteY0" fmla="*/ 1348247 h 1414001"/>
              <a:gd name="connsiteX1" fmla="*/ 2019611 w 9875562"/>
              <a:gd name="connsiteY1" fmla="*/ 1344085 h 1414001"/>
              <a:gd name="connsiteX2" fmla="*/ 4851298 w 9875562"/>
              <a:gd name="connsiteY2" fmla="*/ 15 h 1414001"/>
              <a:gd name="connsiteX3" fmla="*/ 7793634 w 9875562"/>
              <a:gd name="connsiteY3" fmla="*/ 1315640 h 1414001"/>
              <a:gd name="connsiteX4" fmla="*/ 9875562 w 9875562"/>
              <a:gd name="connsiteY4" fmla="*/ 1318784 h 1414001"/>
              <a:gd name="connsiteX0" fmla="*/ 0 w 9875562"/>
              <a:gd name="connsiteY0" fmla="*/ 1348374 h 1374793"/>
              <a:gd name="connsiteX1" fmla="*/ 2019611 w 9875562"/>
              <a:gd name="connsiteY1" fmla="*/ 1344212 h 1374793"/>
              <a:gd name="connsiteX2" fmla="*/ 4851298 w 9875562"/>
              <a:gd name="connsiteY2" fmla="*/ 142 h 1374793"/>
              <a:gd name="connsiteX3" fmla="*/ 7534709 w 9875562"/>
              <a:gd name="connsiteY3" fmla="*/ 1258875 h 1374793"/>
              <a:gd name="connsiteX4" fmla="*/ 9875562 w 9875562"/>
              <a:gd name="connsiteY4" fmla="*/ 1318911 h 1374793"/>
              <a:gd name="connsiteX0" fmla="*/ 0 w 9875562"/>
              <a:gd name="connsiteY0" fmla="*/ 1348350 h 1374769"/>
              <a:gd name="connsiteX1" fmla="*/ 2019611 w 9875562"/>
              <a:gd name="connsiteY1" fmla="*/ 1344188 h 1374769"/>
              <a:gd name="connsiteX2" fmla="*/ 4851298 w 9875562"/>
              <a:gd name="connsiteY2" fmla="*/ 118 h 1374769"/>
              <a:gd name="connsiteX3" fmla="*/ 7534709 w 9875562"/>
              <a:gd name="connsiteY3" fmla="*/ 1258851 h 1374769"/>
              <a:gd name="connsiteX4" fmla="*/ 9875562 w 9875562"/>
              <a:gd name="connsiteY4" fmla="*/ 1318887 h 1374769"/>
              <a:gd name="connsiteX0" fmla="*/ 0 w 9875562"/>
              <a:gd name="connsiteY0" fmla="*/ 1348368 h 1374787"/>
              <a:gd name="connsiteX1" fmla="*/ 2019611 w 9875562"/>
              <a:gd name="connsiteY1" fmla="*/ 1344206 h 1374787"/>
              <a:gd name="connsiteX2" fmla="*/ 4851298 w 9875562"/>
              <a:gd name="connsiteY2" fmla="*/ 136 h 1374787"/>
              <a:gd name="connsiteX3" fmla="*/ 7534709 w 9875562"/>
              <a:gd name="connsiteY3" fmla="*/ 1258869 h 1374787"/>
              <a:gd name="connsiteX4" fmla="*/ 9875562 w 9875562"/>
              <a:gd name="connsiteY4" fmla="*/ 1318905 h 1374787"/>
              <a:gd name="connsiteX0" fmla="*/ 0 w 9875562"/>
              <a:gd name="connsiteY0" fmla="*/ 1348352 h 1355095"/>
              <a:gd name="connsiteX1" fmla="*/ 2019611 w 9875562"/>
              <a:gd name="connsiteY1" fmla="*/ 1344190 h 1355095"/>
              <a:gd name="connsiteX2" fmla="*/ 4851298 w 9875562"/>
              <a:gd name="connsiteY2" fmla="*/ 120 h 1355095"/>
              <a:gd name="connsiteX3" fmla="*/ 7534709 w 9875562"/>
              <a:gd name="connsiteY3" fmla="*/ 1258853 h 1355095"/>
              <a:gd name="connsiteX4" fmla="*/ 9875562 w 9875562"/>
              <a:gd name="connsiteY4" fmla="*/ 1318889 h 1355095"/>
              <a:gd name="connsiteX0" fmla="*/ 0 w 9875562"/>
              <a:gd name="connsiteY0" fmla="*/ 1348352 h 1355095"/>
              <a:gd name="connsiteX1" fmla="*/ 2019611 w 9875562"/>
              <a:gd name="connsiteY1" fmla="*/ 1344190 h 1355095"/>
              <a:gd name="connsiteX2" fmla="*/ 4851298 w 9875562"/>
              <a:gd name="connsiteY2" fmla="*/ 120 h 1355095"/>
              <a:gd name="connsiteX3" fmla="*/ 7534709 w 9875562"/>
              <a:gd name="connsiteY3" fmla="*/ 1258853 h 1355095"/>
              <a:gd name="connsiteX4" fmla="*/ 9875562 w 9875562"/>
              <a:gd name="connsiteY4" fmla="*/ 1318889 h 1355095"/>
              <a:gd name="connsiteX0" fmla="*/ 0 w 9875562"/>
              <a:gd name="connsiteY0" fmla="*/ 1348351 h 1355094"/>
              <a:gd name="connsiteX1" fmla="*/ 2019611 w 9875562"/>
              <a:gd name="connsiteY1" fmla="*/ 1344189 h 1355094"/>
              <a:gd name="connsiteX2" fmla="*/ 4851298 w 9875562"/>
              <a:gd name="connsiteY2" fmla="*/ 119 h 1355094"/>
              <a:gd name="connsiteX3" fmla="*/ 7534709 w 9875562"/>
              <a:gd name="connsiteY3" fmla="*/ 1258852 h 1355094"/>
              <a:gd name="connsiteX4" fmla="*/ 9875562 w 9875562"/>
              <a:gd name="connsiteY4" fmla="*/ 1318888 h 1355094"/>
              <a:gd name="connsiteX0" fmla="*/ 0 w 9849670"/>
              <a:gd name="connsiteY0" fmla="*/ 1348373 h 1355116"/>
              <a:gd name="connsiteX1" fmla="*/ 2019611 w 9849670"/>
              <a:gd name="connsiteY1" fmla="*/ 1344211 h 1355116"/>
              <a:gd name="connsiteX2" fmla="*/ 4851298 w 9849670"/>
              <a:gd name="connsiteY2" fmla="*/ 141 h 1355116"/>
              <a:gd name="connsiteX3" fmla="*/ 7534709 w 9849670"/>
              <a:gd name="connsiteY3" fmla="*/ 1258874 h 1355116"/>
              <a:gd name="connsiteX4" fmla="*/ 9849670 w 9849670"/>
              <a:gd name="connsiteY4" fmla="*/ 1262018 h 1355116"/>
              <a:gd name="connsiteX0" fmla="*/ 0 w 9849670"/>
              <a:gd name="connsiteY0" fmla="*/ 1348353 h 1355096"/>
              <a:gd name="connsiteX1" fmla="*/ 2019611 w 9849670"/>
              <a:gd name="connsiteY1" fmla="*/ 1344191 h 1355096"/>
              <a:gd name="connsiteX2" fmla="*/ 4851298 w 9849670"/>
              <a:gd name="connsiteY2" fmla="*/ 121 h 1355096"/>
              <a:gd name="connsiteX3" fmla="*/ 7534709 w 9849670"/>
              <a:gd name="connsiteY3" fmla="*/ 1258854 h 1355096"/>
              <a:gd name="connsiteX4" fmla="*/ 9849670 w 9849670"/>
              <a:gd name="connsiteY4" fmla="*/ 1261998 h 1355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49670" h="1355096">
                <a:moveTo>
                  <a:pt x="0" y="1348353"/>
                </a:moveTo>
                <a:cubicBezTo>
                  <a:pt x="557767" y="1353117"/>
                  <a:pt x="201255" y="1362663"/>
                  <a:pt x="2019611" y="1344191"/>
                </a:cubicBezTo>
                <a:cubicBezTo>
                  <a:pt x="3837967" y="1325719"/>
                  <a:pt x="3932115" y="14344"/>
                  <a:pt x="4851298" y="121"/>
                </a:cubicBezTo>
                <a:cubicBezTo>
                  <a:pt x="5770481" y="-14102"/>
                  <a:pt x="5976659" y="1240552"/>
                  <a:pt x="7534709" y="1258854"/>
                </a:cubicBezTo>
                <a:cubicBezTo>
                  <a:pt x="9092759" y="1277156"/>
                  <a:pt x="9623614" y="1261343"/>
                  <a:pt x="9849670" y="1261998"/>
                </a:cubicBezTo>
              </a:path>
            </a:pathLst>
          </a:custGeom>
          <a:noFill/>
          <a:ln w="38100" cap="flat" cmpd="sng" algn="ctr">
            <a:solidFill>
              <a:srgbClr val="0070C0"/>
            </a:solidFill>
            <a:prstDash val="solid"/>
            <a:round/>
            <a:headEnd type="none" w="sm" len="sm"/>
            <a:tailEnd type="none" w="sm" len="sm"/>
          </a:ln>
          <a:effectLst/>
        </p:spPr>
        <p:txBody>
          <a:bodyPr vert="horz" wrap="none" lIns="0" tIns="0" rIns="0" bIns="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3" name="Pfeil nach rechts 2"/>
          <p:cNvSpPr/>
          <p:nvPr/>
        </p:nvSpPr>
        <p:spPr bwMode="auto">
          <a:xfrm>
            <a:off x="2896433" y="5089141"/>
            <a:ext cx="705345" cy="240649"/>
          </a:xfrm>
          <a:prstGeom prst="rightArrow">
            <a:avLst/>
          </a:prstGeom>
          <a:solidFill>
            <a:srgbClr val="66CCFF"/>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492" name="Pfeil nach rechts 491"/>
          <p:cNvSpPr/>
          <p:nvPr/>
        </p:nvSpPr>
        <p:spPr bwMode="auto">
          <a:xfrm rot="10800000">
            <a:off x="5199206" y="5089140"/>
            <a:ext cx="705345" cy="240649"/>
          </a:xfrm>
          <a:prstGeom prst="rightArrow">
            <a:avLst/>
          </a:prstGeom>
          <a:solidFill>
            <a:srgbClr val="66CCFF"/>
          </a:solidFill>
          <a:ln w="3175" cap="flat" cmpd="sng" algn="ctr">
            <a:no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00" name="Textfeld 499"/>
          <p:cNvSpPr txBox="1"/>
          <p:nvPr/>
        </p:nvSpPr>
        <p:spPr>
          <a:xfrm>
            <a:off x="5941347" y="4918112"/>
            <a:ext cx="3257082" cy="533593"/>
          </a:xfrm>
          <a:prstGeom prst="rect">
            <a:avLst/>
          </a:prstGeom>
          <a:solidFill>
            <a:schemeClr val="bg1"/>
          </a:solidFill>
        </p:spPr>
        <p:txBody>
          <a:bodyPr wrap="square" rtlCol="0">
            <a:noAutofit/>
          </a:bodyPr>
          <a:lstStyle/>
          <a:p>
            <a:pPr eaLnBrk="0" fontAlgn="base" hangingPunct="0">
              <a:spcBef>
                <a:spcPct val="0"/>
              </a:spcBef>
              <a:spcAft>
                <a:spcPct val="0"/>
              </a:spcAft>
            </a:pPr>
            <a:r>
              <a:rPr lang="en-US" sz="1400" dirty="0">
                <a:solidFill>
                  <a:srgbClr val="000000"/>
                </a:solidFill>
              </a:rPr>
              <a:t>Get an extra push beyond the limit using </a:t>
            </a:r>
            <a:r>
              <a:rPr lang="en-US" sz="1400" dirty="0" err="1">
                <a:solidFill>
                  <a:srgbClr val="000000"/>
                </a:solidFill>
              </a:rPr>
              <a:t>deconvolution</a:t>
            </a:r>
            <a:r>
              <a:rPr lang="en-US" sz="1400" dirty="0">
                <a:solidFill>
                  <a:srgbClr val="000000"/>
                </a:solidFill>
              </a:rPr>
              <a:t> (down to 1:1,7)</a:t>
            </a:r>
          </a:p>
        </p:txBody>
      </p:sp>
      <p:cxnSp>
        <p:nvCxnSpPr>
          <p:cNvPr id="504" name="Gerade Verbindung mit Pfeil 503"/>
          <p:cNvCxnSpPr/>
          <p:nvPr/>
        </p:nvCxnSpPr>
        <p:spPr bwMode="auto">
          <a:xfrm>
            <a:off x="3611910" y="5184475"/>
            <a:ext cx="1569290" cy="433"/>
          </a:xfrm>
          <a:prstGeom prst="straightConnector1">
            <a:avLst/>
          </a:prstGeom>
          <a:solidFill>
            <a:schemeClr val="folHlink"/>
          </a:solidFill>
          <a:ln w="3175" cap="flat" cmpd="sng" algn="ctr">
            <a:solidFill>
              <a:schemeClr val="folHlink"/>
            </a:solidFill>
            <a:prstDash val="solid"/>
            <a:round/>
            <a:headEnd type="arrow"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05" name="Textfeld 504"/>
          <p:cNvSpPr txBox="1"/>
          <p:nvPr/>
        </p:nvSpPr>
        <p:spPr>
          <a:xfrm>
            <a:off x="3989779" y="5253616"/>
            <a:ext cx="1125606" cy="348469"/>
          </a:xfrm>
          <a:prstGeom prst="rect">
            <a:avLst/>
          </a:prstGeom>
          <a:noFill/>
        </p:spPr>
        <p:txBody>
          <a:bodyPr wrap="square" rtlCol="0">
            <a:noAutofit/>
          </a:bodyPr>
          <a:lstStyle/>
          <a:p>
            <a:pPr eaLnBrk="0" fontAlgn="base" hangingPunct="0">
              <a:spcBef>
                <a:spcPct val="0"/>
              </a:spcBef>
              <a:spcAft>
                <a:spcPct val="0"/>
              </a:spcAft>
            </a:pPr>
            <a:r>
              <a:rPr lang="en-US" sz="1400" dirty="0">
                <a:solidFill>
                  <a:srgbClr val="000000"/>
                </a:solidFill>
              </a:rPr>
              <a:t>~ 140 nm</a:t>
            </a:r>
          </a:p>
        </p:txBody>
      </p:sp>
      <p:sp>
        <p:nvSpPr>
          <p:cNvPr id="506" name="Sechseck 505"/>
          <p:cNvSpPr/>
          <p:nvPr/>
        </p:nvSpPr>
        <p:spPr bwMode="auto">
          <a:xfrm>
            <a:off x="734134" y="3053352"/>
            <a:ext cx="181680" cy="156620"/>
          </a:xfrm>
          <a:prstGeom prst="hexagon">
            <a:avLst/>
          </a:prstGeom>
          <a:noFill/>
          <a:ln w="3175" cap="flat" cmpd="sng" algn="ctr">
            <a:solidFill>
              <a:srgbClr val="008BD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sp>
        <p:nvSpPr>
          <p:cNvPr id="507" name="Textfeld 506"/>
          <p:cNvSpPr txBox="1"/>
          <p:nvPr/>
        </p:nvSpPr>
        <p:spPr>
          <a:xfrm>
            <a:off x="485018" y="3161146"/>
            <a:ext cx="928854" cy="400050"/>
          </a:xfrm>
          <a:prstGeom prst="rect">
            <a:avLst/>
          </a:prstGeom>
          <a:noFill/>
        </p:spPr>
        <p:txBody>
          <a:bodyPr wrap="none" rtlCol="0">
            <a:noAutofit/>
          </a:bodyPr>
          <a:lstStyle/>
          <a:p>
            <a:pPr eaLnBrk="0" fontAlgn="base" hangingPunct="0">
              <a:spcBef>
                <a:spcPct val="0"/>
              </a:spcBef>
              <a:spcAft>
                <a:spcPct val="0"/>
              </a:spcAft>
            </a:pPr>
            <a:r>
              <a:rPr lang="en-US" sz="1200" dirty="0">
                <a:solidFill>
                  <a:srgbClr val="000000"/>
                </a:solidFill>
              </a:rPr>
              <a:t>subunit </a:t>
            </a:r>
          </a:p>
          <a:p>
            <a:pPr eaLnBrk="0" fontAlgn="base" hangingPunct="0">
              <a:spcBef>
                <a:spcPct val="0"/>
              </a:spcBef>
              <a:spcAft>
                <a:spcPct val="0"/>
              </a:spcAft>
            </a:pPr>
            <a:r>
              <a:rPr lang="en-US" sz="1200" dirty="0">
                <a:solidFill>
                  <a:srgbClr val="000000"/>
                </a:solidFill>
              </a:rPr>
              <a:t>~ 0.2 </a:t>
            </a:r>
            <a:r>
              <a:rPr lang="en-US" sz="1200" dirty="0" err="1">
                <a:solidFill>
                  <a:srgbClr val="000000"/>
                </a:solidFill>
              </a:rPr>
              <a:t>A.u</a:t>
            </a:r>
            <a:r>
              <a:rPr lang="en-US" sz="1200" dirty="0">
                <a:solidFill>
                  <a:srgbClr val="000000"/>
                </a:solidFill>
              </a:rPr>
              <a:t>.</a:t>
            </a:r>
          </a:p>
        </p:txBody>
      </p:sp>
      <p:cxnSp>
        <p:nvCxnSpPr>
          <p:cNvPr id="60" name="Gerade Verbindung mit Pfeil 59"/>
          <p:cNvCxnSpPr>
            <a:endCxn id="506" idx="3"/>
          </p:cNvCxnSpPr>
          <p:nvPr/>
        </p:nvCxnSpPr>
        <p:spPr bwMode="auto">
          <a:xfrm>
            <a:off x="450321" y="3131662"/>
            <a:ext cx="283813" cy="0"/>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5" name="Gerade Verbindung mit Pfeil 64"/>
          <p:cNvCxnSpPr>
            <a:endCxn id="506" idx="0"/>
          </p:cNvCxnSpPr>
          <p:nvPr/>
        </p:nvCxnSpPr>
        <p:spPr bwMode="auto">
          <a:xfrm flipH="1">
            <a:off x="915814" y="3131662"/>
            <a:ext cx="313638" cy="0"/>
          </a:xfrm>
          <a:prstGeom prst="straightConnector1">
            <a:avLst/>
          </a:prstGeom>
          <a:solidFill>
            <a:schemeClr val="folHlink"/>
          </a:solidFill>
          <a:ln w="3175" cap="flat" cmpd="sng" algn="ctr">
            <a:solidFill>
              <a:schemeClr val="folHlink"/>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99" name="Textfeld 496"/>
          <p:cNvSpPr txBox="1"/>
          <p:nvPr/>
        </p:nvSpPr>
        <p:spPr>
          <a:xfrm>
            <a:off x="5418117" y="2186563"/>
            <a:ext cx="3264462" cy="533593"/>
          </a:xfrm>
          <a:prstGeom prst="rect">
            <a:avLst/>
          </a:prstGeom>
          <a:noFill/>
        </p:spPr>
        <p:txBody>
          <a:bodyPr wrap="square" rtlCol="0">
            <a:noAutofit/>
          </a:bodyPr>
          <a:lstStyle/>
          <a:p>
            <a:pPr eaLnBrk="0" fontAlgn="base" hangingPunct="0">
              <a:spcBef>
                <a:spcPct val="0"/>
              </a:spcBef>
              <a:spcAft>
                <a:spcPct val="0"/>
              </a:spcAft>
            </a:pPr>
            <a:r>
              <a:rPr lang="en-US" sz="1400" dirty="0">
                <a:solidFill>
                  <a:srgbClr val="000000"/>
                </a:solidFill>
              </a:rPr>
              <a:t>All elements are acquired simultaneously, and can be remapped for better resolution and sensitivity</a:t>
            </a:r>
          </a:p>
          <a:p>
            <a:pPr eaLnBrk="0" fontAlgn="base" hangingPunct="0">
              <a:spcBef>
                <a:spcPct val="0"/>
              </a:spcBef>
              <a:spcAft>
                <a:spcPct val="0"/>
              </a:spcAft>
            </a:pPr>
            <a:r>
              <a:rPr lang="en-US" sz="1400" dirty="0">
                <a:solidFill>
                  <a:srgbClr val="000000"/>
                </a:solidFill>
              </a:rPr>
              <a:t>The PSF is mapped directly 1:</a:t>
            </a:r>
            <a:r>
              <a:rPr lang="en-US" sz="1400" dirty="0">
                <a:solidFill>
                  <a:srgbClr val="000000"/>
                </a:solidFill>
                <a:latin typeface="Cambria Math"/>
                <a:ea typeface="Cambria Math"/>
              </a:rPr>
              <a:t>√</a:t>
            </a:r>
            <a:r>
              <a:rPr lang="en-US" sz="1400" dirty="0">
                <a:solidFill>
                  <a:srgbClr val="000000"/>
                </a:solidFill>
                <a:ea typeface="Cambria Math"/>
              </a:rPr>
              <a:t>2</a:t>
            </a:r>
            <a:endParaRPr lang="en-US" sz="1400" dirty="0">
              <a:solidFill>
                <a:srgbClr val="000000"/>
              </a:solidFill>
            </a:endParaRPr>
          </a:p>
          <a:p>
            <a:pPr eaLnBrk="0" fontAlgn="base" hangingPunct="0">
              <a:spcBef>
                <a:spcPct val="0"/>
              </a:spcBef>
              <a:spcAft>
                <a:spcPct val="0"/>
              </a:spcAft>
            </a:pPr>
            <a:endParaRPr lang="en-US" sz="1400" dirty="0">
              <a:solidFill>
                <a:srgbClr val="000000"/>
              </a:solidFill>
            </a:endParaRPr>
          </a:p>
        </p:txBody>
      </p:sp>
      <p:sp>
        <p:nvSpPr>
          <p:cNvPr id="7" name="Date Placeholder 6"/>
          <p:cNvSpPr>
            <a:spLocks noGrp="1"/>
          </p:cNvSpPr>
          <p:nvPr>
            <p:ph type="dt" sz="half" idx="10"/>
          </p:nvPr>
        </p:nvSpPr>
        <p:spPr/>
        <p:txBody>
          <a:bodyPr/>
          <a:lstStyle/>
          <a:p>
            <a:fld id="{A38633FA-E847-4EF9-BFCD-1A936C986393}" type="datetime1">
              <a:rPr lang="de-DE" smtClean="0">
                <a:solidFill>
                  <a:srgbClr val="000000"/>
                </a:solidFill>
              </a:rPr>
              <a:pPr/>
              <a:t>28.02.2019</a:t>
            </a:fld>
            <a:endParaRPr lang="en-US" dirty="0">
              <a:solidFill>
                <a:srgbClr val="000000"/>
              </a:solidFill>
            </a:endParaRPr>
          </a:p>
        </p:txBody>
      </p:sp>
      <p:sp>
        <p:nvSpPr>
          <p:cNvPr id="8" name="Slide Number Placeholder 7"/>
          <p:cNvSpPr>
            <a:spLocks noGrp="1"/>
          </p:cNvSpPr>
          <p:nvPr>
            <p:ph type="sldNum" sz="quarter" idx="11"/>
          </p:nvPr>
        </p:nvSpPr>
        <p:spPr/>
        <p:txBody>
          <a:bodyPr/>
          <a:lstStyle/>
          <a:p>
            <a:fld id="{E7106F61-AEF5-4A9D-9A53-47E3DFDE314C}" type="slidenum">
              <a:rPr lang="de-DE" smtClean="0">
                <a:solidFill>
                  <a:srgbClr val="000000"/>
                </a:solidFill>
              </a:rPr>
              <a:pPr/>
              <a:t>43</a:t>
            </a:fld>
            <a:endParaRPr lang="de-DE">
              <a:solidFill>
                <a:srgbClr val="000000"/>
              </a:solidFill>
            </a:endParaRPr>
          </a:p>
        </p:txBody>
      </p:sp>
    </p:spTree>
    <p:extLst>
      <p:ext uri="{BB962C8B-B14F-4D97-AF65-F5344CB8AC3E}">
        <p14:creationId xmlns:p14="http://schemas.microsoft.com/office/powerpoint/2010/main" val="27948075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84"/>
                                        </p:tgtEl>
                                        <p:attrNameLst>
                                          <p:attrName>style.visibility</p:attrName>
                                        </p:attrNameLst>
                                      </p:cBhvr>
                                      <p:to>
                                        <p:strVal val="visible"/>
                                      </p:to>
                                    </p:set>
                                    <p:animEffect transition="in" filter="fade">
                                      <p:cBhvr>
                                        <p:cTn id="7" dur="500"/>
                                        <p:tgtEl>
                                          <p:spTgt spid="484"/>
                                        </p:tgtEl>
                                      </p:cBhvr>
                                    </p:animEffect>
                                  </p:childTnLst>
                                </p:cTn>
                              </p:par>
                              <p:par>
                                <p:cTn id="8" presetID="1" presetClass="entr" presetSubtype="0" fill="hold" grpId="0" nodeType="withEffect">
                                  <p:stCondLst>
                                    <p:cond delay="0"/>
                                  </p:stCondLst>
                                  <p:childTnLst>
                                    <p:set>
                                      <p:cBhvr>
                                        <p:cTn id="9" dur="1" fill="hold">
                                          <p:stCondLst>
                                            <p:cond delay="0"/>
                                          </p:stCondLst>
                                        </p:cTn>
                                        <p:tgtEl>
                                          <p:spTgt spid="499"/>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3"/>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492"/>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500"/>
                                        </p:tgtEl>
                                        <p:attrNameLst>
                                          <p:attrName>style.visibility</p:attrName>
                                        </p:attrNameLst>
                                      </p:cBhvr>
                                      <p:to>
                                        <p:strVal val="visible"/>
                                      </p:to>
                                    </p:set>
                                  </p:childTnLst>
                                </p:cTn>
                              </p:par>
                            </p:childTnLst>
                          </p:cTn>
                        </p:par>
                        <p:par>
                          <p:cTn id="18" fill="hold">
                            <p:stCondLst>
                              <p:cond delay="0"/>
                            </p:stCondLst>
                            <p:childTnLst>
                              <p:par>
                                <p:cTn id="19" presetID="10" presetClass="entr" presetSubtype="0" fill="hold" grpId="0" nodeType="afterEffect">
                                  <p:stCondLst>
                                    <p:cond delay="750"/>
                                  </p:stCondLst>
                                  <p:childTnLst>
                                    <p:set>
                                      <p:cBhvr>
                                        <p:cTn id="20" dur="1" fill="hold">
                                          <p:stCondLst>
                                            <p:cond delay="0"/>
                                          </p:stCondLst>
                                        </p:cTn>
                                        <p:tgtEl>
                                          <p:spTgt spid="474"/>
                                        </p:tgtEl>
                                        <p:attrNameLst>
                                          <p:attrName>style.visibility</p:attrName>
                                        </p:attrNameLst>
                                      </p:cBhvr>
                                      <p:to>
                                        <p:strVal val="visible"/>
                                      </p:to>
                                    </p:set>
                                    <p:animEffect transition="in" filter="fade">
                                      <p:cBhvr>
                                        <p:cTn id="21" dur="500"/>
                                        <p:tgtEl>
                                          <p:spTgt spid="474"/>
                                        </p:tgtEl>
                                      </p:cBhvr>
                                    </p:animEffec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0"/>
                                          </p:stCondLst>
                                        </p:cTn>
                                        <p:tgtEl>
                                          <p:spTgt spid="504"/>
                                        </p:tgtEl>
                                        <p:attrNameLst>
                                          <p:attrName>style.visibility</p:attrName>
                                        </p:attrNameLst>
                                      </p:cBhvr>
                                      <p:to>
                                        <p:strVal val="visible"/>
                                      </p:to>
                                    </p:set>
                                  </p:childTnLst>
                                </p:cTn>
                              </p:par>
                              <p:par>
                                <p:cTn id="26" presetID="1" presetClass="entr" presetSubtype="0" fill="hold" grpId="0" nodeType="withEffect">
                                  <p:stCondLst>
                                    <p:cond delay="0"/>
                                  </p:stCondLst>
                                  <p:childTnLst>
                                    <p:set>
                                      <p:cBhvr>
                                        <p:cTn id="27" dur="1" fill="hold">
                                          <p:stCondLst>
                                            <p:cond delay="0"/>
                                          </p:stCondLst>
                                        </p:cTn>
                                        <p:tgtEl>
                                          <p:spTgt spid="50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4" grpId="0" animBg="1"/>
      <p:bldP spid="474" grpId="0" animBg="1"/>
      <p:bldP spid="3" grpId="0" animBg="1"/>
      <p:bldP spid="492" grpId="0" animBg="1"/>
      <p:bldP spid="500" grpId="0" animBg="1"/>
      <p:bldP spid="505" grpId="0"/>
      <p:bldP spid="499"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72" name="Gruppieren 2071"/>
          <p:cNvGrpSpPr/>
          <p:nvPr/>
        </p:nvGrpSpPr>
        <p:grpSpPr>
          <a:xfrm>
            <a:off x="129228" y="1425910"/>
            <a:ext cx="4352225" cy="3600948"/>
            <a:chOff x="129228" y="1425910"/>
            <a:chExt cx="4352225" cy="3600948"/>
          </a:xfrm>
        </p:grpSpPr>
        <p:grpSp>
          <p:nvGrpSpPr>
            <p:cNvPr id="2066" name="Gruppieren 2065"/>
            <p:cNvGrpSpPr/>
            <p:nvPr/>
          </p:nvGrpSpPr>
          <p:grpSpPr>
            <a:xfrm>
              <a:off x="129228" y="1425910"/>
              <a:ext cx="4352225" cy="3600948"/>
              <a:chOff x="18562566" y="6990623"/>
              <a:chExt cx="4352225" cy="3600948"/>
            </a:xfrm>
          </p:grpSpPr>
          <p:pic>
            <p:nvPicPr>
              <p:cNvPr id="1031" name="Picture 7"/>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18562566" y="6990623"/>
                <a:ext cx="4352225" cy="36009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93" name="Gerade Verbindung mit Pfeil 92"/>
              <p:cNvCxnSpPr/>
              <p:nvPr/>
            </p:nvCxnSpPr>
            <p:spPr bwMode="auto">
              <a:xfrm>
                <a:off x="18942411" y="8040010"/>
                <a:ext cx="342213" cy="236483"/>
              </a:xfrm>
              <a:prstGeom prst="straightConnector1">
                <a:avLst/>
              </a:prstGeom>
              <a:solidFill>
                <a:schemeClr val="folHlink"/>
              </a:solidFill>
              <a:ln w="3175" cap="flat" cmpd="sng" algn="ctr">
                <a:solidFill>
                  <a:srgbClr val="FFFF00"/>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4" name="Gerade Verbindung mit Pfeil 93"/>
              <p:cNvCxnSpPr/>
              <p:nvPr/>
            </p:nvCxnSpPr>
            <p:spPr bwMode="auto">
              <a:xfrm>
                <a:off x="19026468" y="7904516"/>
                <a:ext cx="342213" cy="236483"/>
              </a:xfrm>
              <a:prstGeom prst="straightConnector1">
                <a:avLst/>
              </a:prstGeom>
              <a:solidFill>
                <a:schemeClr val="folHlink"/>
              </a:solidFill>
              <a:ln w="3175" cap="flat" cmpd="sng" algn="ctr">
                <a:solidFill>
                  <a:srgbClr val="FFFF00"/>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5" name="Gerade Verbindung mit Pfeil 94"/>
              <p:cNvCxnSpPr/>
              <p:nvPr/>
            </p:nvCxnSpPr>
            <p:spPr bwMode="auto">
              <a:xfrm>
                <a:off x="20529478" y="8686732"/>
                <a:ext cx="227678" cy="533396"/>
              </a:xfrm>
              <a:prstGeom prst="straightConnector1">
                <a:avLst/>
              </a:prstGeom>
              <a:solidFill>
                <a:schemeClr val="folHlink"/>
              </a:solidFill>
              <a:ln w="3175" cap="flat" cmpd="sng" algn="ctr">
                <a:solidFill>
                  <a:srgbClr val="FFFF00"/>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6" name="Gerade Verbindung mit Pfeil 95"/>
              <p:cNvCxnSpPr/>
              <p:nvPr/>
            </p:nvCxnSpPr>
            <p:spPr bwMode="auto">
              <a:xfrm>
                <a:off x="20679522" y="8609091"/>
                <a:ext cx="227678" cy="533396"/>
              </a:xfrm>
              <a:prstGeom prst="straightConnector1">
                <a:avLst/>
              </a:prstGeom>
              <a:solidFill>
                <a:schemeClr val="folHlink"/>
              </a:solidFill>
              <a:ln w="3175" cap="flat" cmpd="sng" algn="ctr">
                <a:solidFill>
                  <a:srgbClr val="FFFF00"/>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103" name="Gerade Verbindung 102"/>
            <p:cNvCxnSpPr/>
            <p:nvPr/>
          </p:nvCxnSpPr>
          <p:spPr bwMode="auto">
            <a:xfrm>
              <a:off x="509073" y="4735009"/>
              <a:ext cx="1204088" cy="0"/>
            </a:xfrm>
            <a:prstGeom prst="line">
              <a:avLst/>
            </a:prstGeom>
            <a:solidFill>
              <a:schemeClr val="folHlink"/>
            </a:solidFill>
            <a:ln w="38100" cap="flat" cmpd="sng" algn="ctr">
              <a:solidFill>
                <a:srgbClr val="FFFF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2071" name="Gruppieren 2070"/>
          <p:cNvGrpSpPr/>
          <p:nvPr/>
        </p:nvGrpSpPr>
        <p:grpSpPr>
          <a:xfrm>
            <a:off x="129228" y="1425910"/>
            <a:ext cx="4352225" cy="3600948"/>
            <a:chOff x="129228" y="1425910"/>
            <a:chExt cx="4352225" cy="3600948"/>
          </a:xfrm>
        </p:grpSpPr>
        <p:pic>
          <p:nvPicPr>
            <p:cNvPr id="61" name="Picture 9"/>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129228" y="1425910"/>
              <a:ext cx="4352225" cy="36009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01" name="Gerade Verbindung 100"/>
            <p:cNvCxnSpPr/>
            <p:nvPr/>
          </p:nvCxnSpPr>
          <p:spPr bwMode="auto">
            <a:xfrm>
              <a:off x="851286" y="4739488"/>
              <a:ext cx="451521" cy="0"/>
            </a:xfrm>
            <a:prstGeom prst="line">
              <a:avLst/>
            </a:prstGeom>
            <a:solidFill>
              <a:schemeClr val="folHlink"/>
            </a:solidFill>
            <a:ln w="38100" cap="flat" cmpd="sng" algn="ctr">
              <a:solidFill>
                <a:srgbClr val="FFFF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2070" name="Gruppieren 2069"/>
          <p:cNvGrpSpPr/>
          <p:nvPr/>
        </p:nvGrpSpPr>
        <p:grpSpPr>
          <a:xfrm>
            <a:off x="129228" y="1425910"/>
            <a:ext cx="4376410" cy="3600948"/>
            <a:chOff x="129228" y="1425910"/>
            <a:chExt cx="4376410" cy="3600948"/>
          </a:xfrm>
        </p:grpSpPr>
        <p:pic>
          <p:nvPicPr>
            <p:cNvPr id="92" name="Picture 10"/>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129228" y="1425910"/>
              <a:ext cx="4376410" cy="36009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06" name="Gerade Verbindung 105"/>
            <p:cNvCxnSpPr/>
            <p:nvPr/>
          </p:nvCxnSpPr>
          <p:spPr bwMode="auto">
            <a:xfrm>
              <a:off x="955884" y="4735009"/>
              <a:ext cx="192767" cy="0"/>
            </a:xfrm>
            <a:prstGeom prst="line">
              <a:avLst/>
            </a:prstGeom>
            <a:solidFill>
              <a:schemeClr val="folHlink"/>
            </a:solidFill>
            <a:ln w="38100" cap="flat" cmpd="sng" algn="ctr">
              <a:solidFill>
                <a:srgbClr val="FFFF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2" name="Titel 1"/>
          <p:cNvSpPr>
            <a:spLocks noGrp="1"/>
          </p:cNvSpPr>
          <p:nvPr>
            <p:ph type="title"/>
          </p:nvPr>
        </p:nvSpPr>
        <p:spPr>
          <a:xfrm>
            <a:off x="466725" y="307975"/>
            <a:ext cx="7588704" cy="941388"/>
          </a:xfrm>
        </p:spPr>
        <p:txBody>
          <a:bodyPr/>
          <a:lstStyle/>
          <a:p>
            <a:r>
              <a:rPr lang="en-US" dirty="0"/>
              <a:t>ZEISS LSM 880 – </a:t>
            </a:r>
            <a:r>
              <a:rPr lang="en-US" dirty="0" err="1"/>
              <a:t>Airyscan</a:t>
            </a:r>
            <a:r>
              <a:rPr lang="en-US" dirty="0"/>
              <a:t> enhances resolution, </a:t>
            </a:r>
            <a:br>
              <a:rPr lang="en-US" dirty="0"/>
            </a:br>
            <a:r>
              <a:rPr lang="en-US" dirty="0"/>
              <a:t>boosts SNR </a:t>
            </a:r>
            <a:r>
              <a:rPr lang="en-US" sz="2000" i="1" dirty="0">
                <a:solidFill>
                  <a:schemeClr val="bg2"/>
                </a:solidFill>
              </a:rPr>
              <a:t>“...thereby allowing for a much more accurate quantification“ </a:t>
            </a:r>
            <a:r>
              <a:rPr lang="en-US" sz="1200" i="1" dirty="0">
                <a:solidFill>
                  <a:schemeClr val="bg2"/>
                </a:solidFill>
              </a:rPr>
              <a:t>(</a:t>
            </a:r>
            <a:r>
              <a:rPr lang="en-US" sz="1200" i="1" dirty="0" err="1">
                <a:solidFill>
                  <a:schemeClr val="bg2"/>
                </a:solidFill>
              </a:rPr>
              <a:t>Karlseder</a:t>
            </a:r>
            <a:r>
              <a:rPr lang="en-US" sz="1200" i="1" dirty="0">
                <a:solidFill>
                  <a:schemeClr val="bg2"/>
                </a:solidFill>
              </a:rPr>
              <a:t> and Fitzpatrick, The Salk Institute, La Jolla, CA, USA)</a:t>
            </a:r>
          </a:p>
        </p:txBody>
      </p:sp>
      <p:sp>
        <p:nvSpPr>
          <p:cNvPr id="4" name="Foliennummernplatzhalter 3"/>
          <p:cNvSpPr>
            <a:spLocks noGrp="1"/>
          </p:cNvSpPr>
          <p:nvPr>
            <p:ph type="sldNum" sz="quarter" idx="11"/>
          </p:nvPr>
        </p:nvSpPr>
        <p:spPr/>
        <p:txBody>
          <a:bodyPr/>
          <a:lstStyle/>
          <a:p>
            <a:fld id="{8205D155-24A6-4D1A-8D30-537BB875DDDF}" type="slidenum">
              <a:rPr lang="en-US" smtClean="0">
                <a:solidFill>
                  <a:srgbClr val="000000"/>
                </a:solidFill>
              </a:rPr>
              <a:pPr/>
              <a:t>44</a:t>
            </a:fld>
            <a:endParaRPr lang="en-US">
              <a:solidFill>
                <a:srgbClr val="000000"/>
              </a:solidFill>
            </a:endParaRPr>
          </a:p>
        </p:txBody>
      </p:sp>
      <p:sp>
        <p:nvSpPr>
          <p:cNvPr id="5" name="Fußzeilenplatzhalter 4"/>
          <p:cNvSpPr>
            <a:spLocks noGrp="1"/>
          </p:cNvSpPr>
          <p:nvPr>
            <p:ph type="ftr" sz="quarter" idx="12"/>
          </p:nvPr>
        </p:nvSpPr>
        <p:spPr/>
        <p:txBody>
          <a:bodyPr/>
          <a:lstStyle/>
          <a:p>
            <a:r>
              <a:rPr lang="en-US">
                <a:solidFill>
                  <a:srgbClr val="000000"/>
                </a:solidFill>
              </a:rPr>
              <a:t>Carl Zeiss Microscopy</a:t>
            </a:r>
            <a:endParaRPr lang="en-US" dirty="0">
              <a:solidFill>
                <a:srgbClr val="000000"/>
              </a:solidFill>
            </a:endParaRPr>
          </a:p>
        </p:txBody>
      </p:sp>
      <p:sp>
        <p:nvSpPr>
          <p:cNvPr id="6" name="Rechteck 5"/>
          <p:cNvSpPr/>
          <p:nvPr/>
        </p:nvSpPr>
        <p:spPr>
          <a:xfrm>
            <a:off x="129228" y="5073063"/>
            <a:ext cx="8859920" cy="584775"/>
          </a:xfrm>
          <a:prstGeom prst="rect">
            <a:avLst/>
          </a:prstGeom>
        </p:spPr>
        <p:txBody>
          <a:bodyPr wrap="square">
            <a:spAutoFit/>
          </a:bodyPr>
          <a:lstStyle/>
          <a:p>
            <a:pPr eaLnBrk="0" fontAlgn="base" hangingPunct="0">
              <a:spcBef>
                <a:spcPct val="0"/>
              </a:spcBef>
              <a:spcAft>
                <a:spcPct val="0"/>
              </a:spcAft>
            </a:pPr>
            <a:r>
              <a:rPr lang="en-US" sz="1600" dirty="0">
                <a:solidFill>
                  <a:srgbClr val="000000"/>
                </a:solidFill>
              </a:rPr>
              <a:t>Telomere replication without RTEL1: Stalled forks and telomere breakage visualized as doubled dots using </a:t>
            </a:r>
            <a:r>
              <a:rPr lang="en-US" sz="1600" dirty="0" err="1">
                <a:solidFill>
                  <a:srgbClr val="000000"/>
                </a:solidFill>
              </a:rPr>
              <a:t>Airyscan</a:t>
            </a:r>
            <a:r>
              <a:rPr lang="en-US" sz="1600" dirty="0">
                <a:solidFill>
                  <a:srgbClr val="000000"/>
                </a:solidFill>
              </a:rPr>
              <a:t>. Resolution is meaningless without good SNR.</a:t>
            </a:r>
            <a:endParaRPr lang="de-DE" sz="1600" dirty="0">
              <a:solidFill>
                <a:srgbClr val="000000"/>
              </a:solidFill>
            </a:endParaRPr>
          </a:p>
        </p:txBody>
      </p:sp>
      <p:grpSp>
        <p:nvGrpSpPr>
          <p:cNvPr id="2065" name="Gruppieren 2064"/>
          <p:cNvGrpSpPr/>
          <p:nvPr/>
        </p:nvGrpSpPr>
        <p:grpSpPr>
          <a:xfrm>
            <a:off x="4612737" y="1425910"/>
            <a:ext cx="4376411" cy="3600948"/>
            <a:chOff x="14048723" y="6990623"/>
            <a:chExt cx="4376411" cy="3600948"/>
          </a:xfrm>
        </p:grpSpPr>
        <p:grpSp>
          <p:nvGrpSpPr>
            <p:cNvPr id="2062" name="Gruppieren 2061"/>
            <p:cNvGrpSpPr/>
            <p:nvPr/>
          </p:nvGrpSpPr>
          <p:grpSpPr>
            <a:xfrm>
              <a:off x="14048723" y="6990623"/>
              <a:ext cx="4376411" cy="3600948"/>
              <a:chOff x="14139515" y="6990623"/>
              <a:chExt cx="4376411" cy="3600948"/>
            </a:xfrm>
          </p:grpSpPr>
          <p:pic>
            <p:nvPicPr>
              <p:cNvPr id="57" name="Picture 7"/>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14139515" y="6990623"/>
                <a:ext cx="4376411" cy="36009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2055" name="Gerade Verbindung mit Pfeil 2054"/>
              <p:cNvCxnSpPr/>
              <p:nvPr/>
            </p:nvCxnSpPr>
            <p:spPr bwMode="auto">
              <a:xfrm>
                <a:off x="14483122" y="7846210"/>
                <a:ext cx="342213" cy="236483"/>
              </a:xfrm>
              <a:prstGeom prst="straightConnector1">
                <a:avLst/>
              </a:prstGeom>
              <a:solidFill>
                <a:schemeClr val="folHlink"/>
              </a:solidFill>
              <a:ln w="3175" cap="flat" cmpd="sng" algn="ctr">
                <a:solidFill>
                  <a:srgbClr val="FFFF00"/>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0" name="Gerade Verbindung mit Pfeil 69"/>
              <p:cNvCxnSpPr/>
              <p:nvPr/>
            </p:nvCxnSpPr>
            <p:spPr bwMode="auto">
              <a:xfrm>
                <a:off x="14567179" y="7710716"/>
                <a:ext cx="342213" cy="236483"/>
              </a:xfrm>
              <a:prstGeom prst="straightConnector1">
                <a:avLst/>
              </a:prstGeom>
              <a:solidFill>
                <a:schemeClr val="folHlink"/>
              </a:solidFill>
              <a:ln w="3175" cap="flat" cmpd="sng" algn="ctr">
                <a:solidFill>
                  <a:srgbClr val="FFFF00"/>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1" name="Gerade Verbindung mit Pfeil 70"/>
              <p:cNvCxnSpPr/>
              <p:nvPr/>
            </p:nvCxnSpPr>
            <p:spPr bwMode="auto">
              <a:xfrm>
                <a:off x="16070189" y="8492932"/>
                <a:ext cx="227678" cy="533396"/>
              </a:xfrm>
              <a:prstGeom prst="straightConnector1">
                <a:avLst/>
              </a:prstGeom>
              <a:solidFill>
                <a:schemeClr val="folHlink"/>
              </a:solidFill>
              <a:ln w="3175" cap="flat" cmpd="sng" algn="ctr">
                <a:solidFill>
                  <a:srgbClr val="FFFF00"/>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3" name="Gerade Verbindung mit Pfeil 72"/>
              <p:cNvCxnSpPr/>
              <p:nvPr/>
            </p:nvCxnSpPr>
            <p:spPr bwMode="auto">
              <a:xfrm>
                <a:off x="16220233" y="8415291"/>
                <a:ext cx="227678" cy="533396"/>
              </a:xfrm>
              <a:prstGeom prst="straightConnector1">
                <a:avLst/>
              </a:prstGeom>
              <a:solidFill>
                <a:schemeClr val="folHlink"/>
              </a:solidFill>
              <a:ln w="3175" cap="flat" cmpd="sng" algn="ctr">
                <a:solidFill>
                  <a:srgbClr val="FFFF00"/>
                </a:solidFill>
                <a:prstDash val="solid"/>
                <a:round/>
                <a:headEnd type="none" w="sm" len="sm"/>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82" name="Gerade Verbindung 81"/>
            <p:cNvCxnSpPr/>
            <p:nvPr/>
          </p:nvCxnSpPr>
          <p:spPr bwMode="auto">
            <a:xfrm>
              <a:off x="14630980" y="10295075"/>
              <a:ext cx="1204088" cy="0"/>
            </a:xfrm>
            <a:prstGeom prst="line">
              <a:avLst/>
            </a:prstGeom>
            <a:solidFill>
              <a:schemeClr val="folHlink"/>
            </a:solidFill>
            <a:ln w="38100" cap="flat" cmpd="sng" algn="ctr">
              <a:solidFill>
                <a:srgbClr val="FFFF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4" name="Textfeld 83"/>
            <p:cNvSpPr txBox="1"/>
            <p:nvPr/>
          </p:nvSpPr>
          <p:spPr>
            <a:xfrm>
              <a:off x="14833770" y="9827098"/>
              <a:ext cx="685800" cy="304800"/>
            </a:xfrm>
            <a:prstGeom prst="rect">
              <a:avLst/>
            </a:prstGeom>
            <a:noFill/>
          </p:spPr>
          <p:txBody>
            <a:bodyPr wrap="none" rtlCol="0">
              <a:noAutofit/>
            </a:bodyPr>
            <a:lstStyle/>
            <a:p>
              <a:pPr eaLnBrk="0" fontAlgn="base" hangingPunct="0">
                <a:spcBef>
                  <a:spcPct val="0"/>
                </a:spcBef>
                <a:spcAft>
                  <a:spcPct val="0"/>
                </a:spcAft>
              </a:pPr>
              <a:r>
                <a:rPr lang="en-US" sz="1600" dirty="0">
                  <a:solidFill>
                    <a:srgbClr val="FFFF00"/>
                  </a:solidFill>
                </a:rPr>
                <a:t>2 µm</a:t>
              </a:r>
            </a:p>
          </p:txBody>
        </p:sp>
      </p:grpSp>
      <p:grpSp>
        <p:nvGrpSpPr>
          <p:cNvPr id="2064" name="Gruppieren 2063"/>
          <p:cNvGrpSpPr/>
          <p:nvPr/>
        </p:nvGrpSpPr>
        <p:grpSpPr>
          <a:xfrm>
            <a:off x="4612737" y="1425910"/>
            <a:ext cx="4376410" cy="3600948"/>
            <a:chOff x="14048723" y="3156139"/>
            <a:chExt cx="4376410" cy="3600948"/>
          </a:xfrm>
        </p:grpSpPr>
        <p:grpSp>
          <p:nvGrpSpPr>
            <p:cNvPr id="2060" name="Gruppieren 2059"/>
            <p:cNvGrpSpPr/>
            <p:nvPr/>
          </p:nvGrpSpPr>
          <p:grpSpPr>
            <a:xfrm>
              <a:off x="14048723" y="3156139"/>
              <a:ext cx="4376410" cy="3600948"/>
              <a:chOff x="14127803" y="3156139"/>
              <a:chExt cx="4376410" cy="3600948"/>
            </a:xfrm>
          </p:grpSpPr>
          <p:pic>
            <p:nvPicPr>
              <p:cNvPr id="1033" name="Picture 9"/>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14127803" y="3156139"/>
                <a:ext cx="4376410" cy="36009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1" name="Rechteck 80"/>
              <p:cNvSpPr/>
              <p:nvPr/>
            </p:nvSpPr>
            <p:spPr bwMode="auto">
              <a:xfrm>
                <a:off x="14631943" y="4216981"/>
                <a:ext cx="1602969" cy="1398816"/>
              </a:xfrm>
              <a:prstGeom prst="rect">
                <a:avLst/>
              </a:prstGeom>
              <a:noFill/>
              <a:ln w="19050" cap="flat" cmpd="sng" algn="ctr">
                <a:solidFill>
                  <a:srgbClr val="FFFF0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cxnSp>
          <p:nvCxnSpPr>
            <p:cNvPr id="64" name="Gerade Verbindung 63"/>
            <p:cNvCxnSpPr/>
            <p:nvPr/>
          </p:nvCxnSpPr>
          <p:spPr bwMode="auto">
            <a:xfrm>
              <a:off x="15007264" y="6460591"/>
              <a:ext cx="451521" cy="0"/>
            </a:xfrm>
            <a:prstGeom prst="line">
              <a:avLst/>
            </a:prstGeom>
            <a:solidFill>
              <a:schemeClr val="folHlink"/>
            </a:solidFill>
            <a:ln w="38100" cap="flat" cmpd="sng" algn="ctr">
              <a:solidFill>
                <a:srgbClr val="FFFF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5" name="Textfeld 84"/>
            <p:cNvSpPr txBox="1"/>
            <p:nvPr/>
          </p:nvSpPr>
          <p:spPr>
            <a:xfrm>
              <a:off x="14833770" y="5992614"/>
              <a:ext cx="685800" cy="304800"/>
            </a:xfrm>
            <a:prstGeom prst="rect">
              <a:avLst/>
            </a:prstGeom>
            <a:noFill/>
          </p:spPr>
          <p:txBody>
            <a:bodyPr wrap="none" rtlCol="0">
              <a:noAutofit/>
            </a:bodyPr>
            <a:lstStyle/>
            <a:p>
              <a:pPr eaLnBrk="0" fontAlgn="base" hangingPunct="0">
                <a:spcBef>
                  <a:spcPct val="0"/>
                </a:spcBef>
                <a:spcAft>
                  <a:spcPct val="0"/>
                </a:spcAft>
              </a:pPr>
              <a:r>
                <a:rPr lang="en-US" sz="1600" dirty="0">
                  <a:solidFill>
                    <a:srgbClr val="FFFF00"/>
                  </a:solidFill>
                </a:rPr>
                <a:t>2 µm</a:t>
              </a:r>
            </a:p>
          </p:txBody>
        </p:sp>
      </p:grpSp>
      <p:grpSp>
        <p:nvGrpSpPr>
          <p:cNvPr id="2063" name="Gruppieren 2062"/>
          <p:cNvGrpSpPr/>
          <p:nvPr/>
        </p:nvGrpSpPr>
        <p:grpSpPr>
          <a:xfrm>
            <a:off x="4612737" y="1425910"/>
            <a:ext cx="4376410" cy="3600948"/>
            <a:chOff x="14048723" y="-844610"/>
            <a:chExt cx="4376410" cy="3600948"/>
          </a:xfrm>
        </p:grpSpPr>
        <p:grpSp>
          <p:nvGrpSpPr>
            <p:cNvPr id="2061" name="Gruppieren 2060"/>
            <p:cNvGrpSpPr/>
            <p:nvPr/>
          </p:nvGrpSpPr>
          <p:grpSpPr>
            <a:xfrm>
              <a:off x="14048723" y="-844610"/>
              <a:ext cx="4376410" cy="3600948"/>
              <a:chOff x="14048723" y="-844610"/>
              <a:chExt cx="4376410" cy="3600948"/>
            </a:xfrm>
          </p:grpSpPr>
          <p:pic>
            <p:nvPicPr>
              <p:cNvPr id="1034" name="Picture 10"/>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14048723" y="-844610"/>
                <a:ext cx="4376410" cy="36009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6" name="Rechteck 75"/>
              <p:cNvSpPr/>
              <p:nvPr/>
            </p:nvSpPr>
            <p:spPr bwMode="auto">
              <a:xfrm>
                <a:off x="15767437" y="1478943"/>
                <a:ext cx="1347150" cy="1232067"/>
              </a:xfrm>
              <a:prstGeom prst="rect">
                <a:avLst/>
              </a:prstGeom>
              <a:noFill/>
              <a:ln w="19050" cap="flat" cmpd="sng" algn="ctr">
                <a:solidFill>
                  <a:srgbClr val="FFFF00"/>
                </a:solidFill>
                <a:prstDash val="solid"/>
                <a:round/>
                <a:headEnd type="none" w="sm" len="sm"/>
                <a:tailEnd type="none" w="sm" len="sm"/>
              </a:ln>
              <a:effectLst/>
            </p:spPr>
            <p:txBody>
              <a:bodyPr vert="horz" wrap="square" lIns="36000" tIns="36000" rIns="36000" bIns="36000" numCol="1" rtlCol="0" anchor="ctr" anchorCtr="0" compatLnSpc="1">
                <a:prstTxWarp prst="textNoShape">
                  <a:avLst/>
                </a:prstTxWarp>
              </a:bodyPr>
              <a:lstStyle/>
              <a:p>
                <a:pPr eaLnBrk="0" fontAlgn="base" hangingPunct="0">
                  <a:spcBef>
                    <a:spcPct val="0"/>
                  </a:spcBef>
                  <a:spcAft>
                    <a:spcPct val="0"/>
                  </a:spcAft>
                </a:pPr>
                <a:endParaRPr lang="en-US" sz="1600">
                  <a:solidFill>
                    <a:srgbClr val="000000"/>
                  </a:solidFill>
                </a:endParaRPr>
              </a:p>
            </p:txBody>
          </p:sp>
        </p:grpSp>
        <p:sp>
          <p:nvSpPr>
            <p:cNvPr id="79" name="Textfeld 78"/>
            <p:cNvSpPr txBox="1"/>
            <p:nvPr/>
          </p:nvSpPr>
          <p:spPr>
            <a:xfrm>
              <a:off x="14880389" y="2000250"/>
              <a:ext cx="685800" cy="304800"/>
            </a:xfrm>
            <a:prstGeom prst="rect">
              <a:avLst/>
            </a:prstGeom>
            <a:noFill/>
          </p:spPr>
          <p:txBody>
            <a:bodyPr wrap="none" rtlCol="0">
              <a:noAutofit/>
            </a:bodyPr>
            <a:lstStyle/>
            <a:p>
              <a:pPr eaLnBrk="0" fontAlgn="base" hangingPunct="0">
                <a:spcBef>
                  <a:spcPct val="0"/>
                </a:spcBef>
                <a:spcAft>
                  <a:spcPct val="0"/>
                </a:spcAft>
              </a:pPr>
              <a:r>
                <a:rPr lang="en-US" sz="1600" dirty="0">
                  <a:solidFill>
                    <a:srgbClr val="FFFF00"/>
                  </a:solidFill>
                </a:rPr>
                <a:t>2 µm</a:t>
              </a:r>
            </a:p>
          </p:txBody>
        </p:sp>
        <p:cxnSp>
          <p:nvCxnSpPr>
            <p:cNvPr id="80" name="Gerade Verbindung 79"/>
            <p:cNvCxnSpPr/>
            <p:nvPr/>
          </p:nvCxnSpPr>
          <p:spPr bwMode="auto">
            <a:xfrm>
              <a:off x="15136641" y="2463634"/>
              <a:ext cx="192767" cy="0"/>
            </a:xfrm>
            <a:prstGeom prst="line">
              <a:avLst/>
            </a:prstGeom>
            <a:solidFill>
              <a:schemeClr val="folHlink"/>
            </a:solidFill>
            <a:ln w="38100" cap="flat" cmpd="sng" algn="ctr">
              <a:solidFill>
                <a:srgbClr val="FFFF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04" name="Textfeld 103"/>
          <p:cNvSpPr txBox="1"/>
          <p:nvPr/>
        </p:nvSpPr>
        <p:spPr>
          <a:xfrm>
            <a:off x="729277" y="4258553"/>
            <a:ext cx="685800" cy="304800"/>
          </a:xfrm>
          <a:prstGeom prst="rect">
            <a:avLst/>
          </a:prstGeom>
          <a:noFill/>
        </p:spPr>
        <p:txBody>
          <a:bodyPr wrap="none" rtlCol="0">
            <a:noAutofit/>
          </a:bodyPr>
          <a:lstStyle/>
          <a:p>
            <a:pPr eaLnBrk="0" fontAlgn="base" hangingPunct="0">
              <a:spcBef>
                <a:spcPct val="0"/>
              </a:spcBef>
              <a:spcAft>
                <a:spcPct val="0"/>
              </a:spcAft>
            </a:pPr>
            <a:r>
              <a:rPr lang="en-US" sz="1600" dirty="0">
                <a:solidFill>
                  <a:srgbClr val="FFFF00"/>
                </a:solidFill>
              </a:rPr>
              <a:t>2 µm</a:t>
            </a:r>
          </a:p>
        </p:txBody>
      </p:sp>
      <p:sp>
        <p:nvSpPr>
          <p:cNvPr id="72" name="Rechteck 71"/>
          <p:cNvSpPr/>
          <p:nvPr/>
        </p:nvSpPr>
        <p:spPr>
          <a:xfrm>
            <a:off x="129228" y="5747981"/>
            <a:ext cx="8859920" cy="830997"/>
          </a:xfrm>
          <a:prstGeom prst="rect">
            <a:avLst/>
          </a:prstGeom>
        </p:spPr>
        <p:txBody>
          <a:bodyPr wrap="square">
            <a:spAutoFit/>
          </a:bodyPr>
          <a:lstStyle/>
          <a:p>
            <a:pPr eaLnBrk="0" fontAlgn="base" hangingPunct="0">
              <a:spcBef>
                <a:spcPct val="0"/>
              </a:spcBef>
              <a:spcAft>
                <a:spcPct val="0"/>
              </a:spcAft>
            </a:pPr>
            <a:r>
              <a:rPr lang="en-US" sz="1600" b="1" dirty="0">
                <a:solidFill>
                  <a:srgbClr val="000000"/>
                </a:solidFill>
              </a:rPr>
              <a:t>Courtesy: J. </a:t>
            </a:r>
            <a:r>
              <a:rPr lang="en-US" sz="1600" b="1" dirty="0" err="1">
                <a:solidFill>
                  <a:srgbClr val="000000"/>
                </a:solidFill>
              </a:rPr>
              <a:t>Karlseder</a:t>
            </a:r>
            <a:r>
              <a:rPr lang="en-US" sz="1600" b="1" dirty="0">
                <a:solidFill>
                  <a:srgbClr val="000000"/>
                </a:solidFill>
              </a:rPr>
              <a:t> Ph.D. (Molecular and Cell Biology Laboratory) and </a:t>
            </a:r>
          </a:p>
          <a:p>
            <a:pPr eaLnBrk="0" fontAlgn="base" hangingPunct="0">
              <a:spcBef>
                <a:spcPct val="0"/>
              </a:spcBef>
              <a:spcAft>
                <a:spcPct val="0"/>
              </a:spcAft>
            </a:pPr>
            <a:r>
              <a:rPr lang="en-US" sz="1600" b="1" dirty="0">
                <a:solidFill>
                  <a:srgbClr val="000000"/>
                </a:solidFill>
              </a:rPr>
              <a:t>J. Fitzpatrick Ph.D. (Director, </a:t>
            </a:r>
            <a:r>
              <a:rPr lang="en-US" sz="1600" b="1" dirty="0" err="1">
                <a:solidFill>
                  <a:srgbClr val="000000"/>
                </a:solidFill>
              </a:rPr>
              <a:t>Waitt</a:t>
            </a:r>
            <a:r>
              <a:rPr lang="en-US" sz="1600" b="1" dirty="0">
                <a:solidFill>
                  <a:srgbClr val="000000"/>
                </a:solidFill>
              </a:rPr>
              <a:t> Advanced </a:t>
            </a:r>
            <a:r>
              <a:rPr lang="en-US" sz="1600" b="1" dirty="0" err="1">
                <a:solidFill>
                  <a:srgbClr val="000000"/>
                </a:solidFill>
              </a:rPr>
              <a:t>Biophotonics</a:t>
            </a:r>
            <a:r>
              <a:rPr lang="en-US" sz="1600" b="1" dirty="0">
                <a:solidFill>
                  <a:srgbClr val="000000"/>
                </a:solidFill>
              </a:rPr>
              <a:t> Core), </a:t>
            </a:r>
          </a:p>
          <a:p>
            <a:pPr eaLnBrk="0" fontAlgn="base" hangingPunct="0">
              <a:spcBef>
                <a:spcPct val="0"/>
              </a:spcBef>
              <a:spcAft>
                <a:spcPct val="0"/>
              </a:spcAft>
            </a:pPr>
            <a:r>
              <a:rPr lang="en-US" sz="1600" b="1" dirty="0">
                <a:solidFill>
                  <a:srgbClr val="000000"/>
                </a:solidFill>
              </a:rPr>
              <a:t>The Salk Institute, La Jolla, USA.</a:t>
            </a:r>
            <a:endParaRPr lang="de-DE" sz="1600" b="1" dirty="0">
              <a:solidFill>
                <a:srgbClr val="000000"/>
              </a:solidFill>
            </a:endParaRPr>
          </a:p>
        </p:txBody>
      </p:sp>
      <p:sp>
        <p:nvSpPr>
          <p:cNvPr id="3" name="Datumsplatzhalter 2"/>
          <p:cNvSpPr>
            <a:spLocks noGrp="1"/>
          </p:cNvSpPr>
          <p:nvPr>
            <p:ph type="dt" sz="half" idx="10"/>
          </p:nvPr>
        </p:nvSpPr>
        <p:spPr/>
        <p:txBody>
          <a:bodyPr/>
          <a:lstStyle/>
          <a:p>
            <a:fld id="{15B9A508-DC1D-4256-82DB-F42AAA971832}" type="datetime1">
              <a:rPr lang="de-DE" smtClean="0">
                <a:solidFill>
                  <a:srgbClr val="000000"/>
                </a:solidFill>
              </a:rPr>
              <a:pPr/>
              <a:t>28.02.2019</a:t>
            </a:fld>
            <a:endParaRPr lang="en-US" dirty="0">
              <a:solidFill>
                <a:srgbClr val="000000"/>
              </a:solidFill>
            </a:endParaRPr>
          </a:p>
        </p:txBody>
      </p:sp>
    </p:spTree>
    <p:extLst>
      <p:ext uri="{BB962C8B-B14F-4D97-AF65-F5344CB8AC3E}">
        <p14:creationId xmlns:p14="http://schemas.microsoft.com/office/powerpoint/2010/main" val="159181499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070"/>
                                        </p:tgtEl>
                                      </p:cBhvr>
                                    </p:animEffect>
                                    <p:set>
                                      <p:cBhvr>
                                        <p:cTn id="7" dur="1" fill="hold">
                                          <p:stCondLst>
                                            <p:cond delay="499"/>
                                          </p:stCondLst>
                                        </p:cTn>
                                        <p:tgtEl>
                                          <p:spTgt spid="2070"/>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2063"/>
                                        </p:tgtEl>
                                      </p:cBhvr>
                                    </p:animEffect>
                                    <p:set>
                                      <p:cBhvr>
                                        <p:cTn id="10" dur="1" fill="hold">
                                          <p:stCondLst>
                                            <p:cond delay="499"/>
                                          </p:stCondLst>
                                        </p:cTn>
                                        <p:tgtEl>
                                          <p:spTgt spid="2063"/>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xit" presetSubtype="0" fill="hold" nodeType="clickEffect">
                                  <p:stCondLst>
                                    <p:cond delay="0"/>
                                  </p:stCondLst>
                                  <p:childTnLst>
                                    <p:animEffect transition="out" filter="fade">
                                      <p:cBhvr>
                                        <p:cTn id="14" dur="500"/>
                                        <p:tgtEl>
                                          <p:spTgt spid="2071"/>
                                        </p:tgtEl>
                                      </p:cBhvr>
                                    </p:animEffect>
                                    <p:set>
                                      <p:cBhvr>
                                        <p:cTn id="15" dur="1" fill="hold">
                                          <p:stCondLst>
                                            <p:cond delay="499"/>
                                          </p:stCondLst>
                                        </p:cTn>
                                        <p:tgtEl>
                                          <p:spTgt spid="2071"/>
                                        </p:tgtEl>
                                        <p:attrNameLst>
                                          <p:attrName>style.visibility</p:attrName>
                                        </p:attrNameLst>
                                      </p:cBhvr>
                                      <p:to>
                                        <p:strVal val="hidden"/>
                                      </p:to>
                                    </p:set>
                                  </p:childTnLst>
                                </p:cTn>
                              </p:par>
                              <p:par>
                                <p:cTn id="16" presetID="10" presetClass="exit" presetSubtype="0" fill="hold" nodeType="withEffect">
                                  <p:stCondLst>
                                    <p:cond delay="0"/>
                                  </p:stCondLst>
                                  <p:childTnLst>
                                    <p:animEffect transition="out" filter="fade">
                                      <p:cBhvr>
                                        <p:cTn id="17" dur="500"/>
                                        <p:tgtEl>
                                          <p:spTgt spid="2064"/>
                                        </p:tgtEl>
                                      </p:cBhvr>
                                    </p:animEffect>
                                    <p:set>
                                      <p:cBhvr>
                                        <p:cTn id="18" dur="1" fill="hold">
                                          <p:stCondLst>
                                            <p:cond delay="499"/>
                                          </p:stCondLst>
                                        </p:cTn>
                                        <p:tgtEl>
                                          <p:spTgt spid="206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chor="t"/>
          <a:lstStyle/>
          <a:p>
            <a:r>
              <a:rPr lang="en-US" dirty="0">
                <a:latin typeface="Comic Sans MS" panose="030F0702030302020204" pitchFamily="66" charset="0"/>
              </a:rPr>
              <a:t>Homework 6: due 7 March.</a:t>
            </a:r>
          </a:p>
        </p:txBody>
      </p:sp>
      <p:sp>
        <p:nvSpPr>
          <p:cNvPr id="2" name="TextBox 1"/>
          <p:cNvSpPr txBox="1"/>
          <p:nvPr/>
        </p:nvSpPr>
        <p:spPr>
          <a:xfrm>
            <a:off x="628650" y="1690689"/>
            <a:ext cx="7436827" cy="3970318"/>
          </a:xfrm>
          <a:prstGeom prst="rect">
            <a:avLst/>
          </a:prstGeom>
          <a:noFill/>
        </p:spPr>
        <p:txBody>
          <a:bodyPr wrap="square" rtlCol="0">
            <a:spAutoFit/>
          </a:bodyPr>
          <a:lstStyle/>
          <a:p>
            <a:r>
              <a:rPr lang="en-US" dirty="0">
                <a:solidFill>
                  <a:prstClr val="black"/>
                </a:solidFill>
                <a:latin typeface="Comic Sans MS" panose="030F0702030302020204" pitchFamily="66" charset="0"/>
              </a:rPr>
              <a:t>During this class we have discussed several different ways of doing optical sectioning which provides us with the 3rd Dimension. We have also learned that microscopy usually involves compromises, with some microscopy techniques working better for one type of experiment than another. For this assignment you are going to compare and contrast two different microscopy techniques for doing optical sectioning. List one advantage and one disadvantage that one technique has over the other. </a:t>
            </a:r>
          </a:p>
          <a:p>
            <a:endParaRPr lang="en-US" dirty="0">
              <a:solidFill>
                <a:prstClr val="black"/>
              </a:solidFill>
              <a:latin typeface="Comic Sans MS" panose="030F0702030302020204" pitchFamily="66" charset="0"/>
            </a:endParaRPr>
          </a:p>
          <a:p>
            <a:r>
              <a:rPr lang="en-US" dirty="0">
                <a:solidFill>
                  <a:prstClr val="black"/>
                </a:solidFill>
                <a:latin typeface="Comic Sans MS" panose="030F0702030302020204" pitchFamily="66" charset="0"/>
              </a:rPr>
              <a:t>1: List two optical sectioning techniques.</a:t>
            </a:r>
          </a:p>
          <a:p>
            <a:endParaRPr lang="en-US" dirty="0">
              <a:solidFill>
                <a:prstClr val="black"/>
              </a:solidFill>
              <a:latin typeface="Comic Sans MS" panose="030F0702030302020204" pitchFamily="66" charset="0"/>
            </a:endParaRPr>
          </a:p>
          <a:p>
            <a:r>
              <a:rPr lang="en-US" dirty="0">
                <a:solidFill>
                  <a:prstClr val="black"/>
                </a:solidFill>
                <a:latin typeface="Comic Sans MS" panose="030F0702030302020204" pitchFamily="66" charset="0"/>
              </a:rPr>
              <a:t>2: List an advantage that one technique has over the other.</a:t>
            </a:r>
          </a:p>
          <a:p>
            <a:endParaRPr lang="en-US" dirty="0">
              <a:solidFill>
                <a:prstClr val="black"/>
              </a:solidFill>
              <a:latin typeface="Comic Sans MS" panose="030F0702030302020204" pitchFamily="66" charset="0"/>
            </a:endParaRPr>
          </a:p>
          <a:p>
            <a:r>
              <a:rPr lang="en-US" dirty="0">
                <a:solidFill>
                  <a:prstClr val="black"/>
                </a:solidFill>
                <a:latin typeface="Comic Sans MS" panose="030F0702030302020204" pitchFamily="66" charset="0"/>
              </a:rPr>
              <a:t>3: List a disadvantage that one technique has over the other.</a:t>
            </a:r>
          </a:p>
        </p:txBody>
      </p:sp>
    </p:spTree>
    <p:extLst>
      <p:ext uri="{BB962C8B-B14F-4D97-AF65-F5344CB8AC3E}">
        <p14:creationId xmlns:p14="http://schemas.microsoft.com/office/powerpoint/2010/main" val="133839212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chor="t"/>
          <a:lstStyle/>
          <a:p>
            <a:r>
              <a:rPr lang="en-US" dirty="0">
                <a:latin typeface="Comic Sans MS" panose="030F0702030302020204" pitchFamily="66" charset="0"/>
              </a:rPr>
              <a:t>Homework 5</a:t>
            </a:r>
          </a:p>
        </p:txBody>
      </p:sp>
      <p:sp>
        <p:nvSpPr>
          <p:cNvPr id="2" name="TextBox 1"/>
          <p:cNvSpPr txBox="1"/>
          <p:nvPr/>
        </p:nvSpPr>
        <p:spPr>
          <a:xfrm>
            <a:off x="628650" y="1563606"/>
            <a:ext cx="7811157" cy="30469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omic Sans MS" panose="030F0702030302020204" pitchFamily="66" charset="0"/>
                <a:ea typeface="+mn-ea"/>
                <a:cs typeface="+mn-cs"/>
              </a:rPr>
              <a:t>Early on during zebrafish development, many molecules are involved in patterning the embryo’s tissues and axes. One possible explanation for this complex patterning is Alan Turing’s reaction-diffusion model. To test this you have fluorescently tagged three proteins involved in this process. Your hypothesis is that one protein acts at a long distance while another acts at a short distance and the third at an intermediate distance.</a:t>
            </a:r>
            <a:endParaRPr kumimoji="0" lang="en-US" sz="12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omic Sans MS" panose="030F0702030302020204" pitchFamily="66" charset="0"/>
                <a:ea typeface="+mn-ea"/>
                <a:cs typeface="+mn-cs"/>
              </a:rPr>
              <a:t>Questions: What fluorescent technique would you use to determine the mobility of these three proteins? What would you predict is the relative mobility of these three proteins?</a:t>
            </a:r>
            <a:endParaRPr kumimoji="0" lang="en-US" sz="1800" b="0" i="0" u="none" strike="noStrike" kern="1200" cap="none" spc="0" normalizeH="0" baseline="0" noProof="0" dirty="0">
              <a:ln>
                <a:noFill/>
              </a:ln>
              <a:solidFill>
                <a:prstClr val="black"/>
              </a:solidFill>
              <a:effectLst/>
              <a:uLnTx/>
              <a:uFillTx/>
              <a:latin typeface="Comic Sans MS" panose="030F0702030302020204" pitchFamily="66" charset="0"/>
              <a:ea typeface="+mn-ea"/>
              <a:cs typeface="+mn-cs"/>
            </a:endParaRPr>
          </a:p>
        </p:txBody>
      </p:sp>
    </p:spTree>
    <p:extLst>
      <p:ext uri="{BB962C8B-B14F-4D97-AF65-F5344CB8AC3E}">
        <p14:creationId xmlns:p14="http://schemas.microsoft.com/office/powerpoint/2010/main" val="43723392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chor="t"/>
          <a:lstStyle/>
          <a:p>
            <a:r>
              <a:rPr lang="en-US" dirty="0">
                <a:latin typeface="Comic Sans MS" panose="030F0702030302020204" pitchFamily="66" charset="0"/>
              </a:rPr>
              <a:t>Homework 5</a:t>
            </a:r>
          </a:p>
        </p:txBody>
      </p:sp>
      <p:sp>
        <p:nvSpPr>
          <p:cNvPr id="2" name="TextBox 1"/>
          <p:cNvSpPr txBox="1"/>
          <p:nvPr/>
        </p:nvSpPr>
        <p:spPr>
          <a:xfrm>
            <a:off x="628650" y="1563606"/>
            <a:ext cx="7811157" cy="486287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omic Sans MS" panose="030F0702030302020204" pitchFamily="66" charset="0"/>
                <a:ea typeface="+mn-ea"/>
                <a:cs typeface="+mn-cs"/>
              </a:rPr>
              <a:t>Early on during zebrafish development, many molecules are involved in patterning the embryo’s tissues and axes. One possible explanation for this complex patterning is Alan Turing’s reaction-diffusion model. To test this you have fluorescently tagged three proteins involved in this process. Your hypothesis is that one protein acts at a long distance while another acts at a short distance and the third at an intermediate distance.</a:t>
            </a:r>
            <a:endParaRPr kumimoji="0" lang="en-US" sz="12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omic Sans MS" panose="030F0702030302020204" pitchFamily="66" charset="0"/>
                <a:ea typeface="+mn-ea"/>
                <a:cs typeface="+mn-cs"/>
              </a:rPr>
              <a:t>Questions: What fluorescent technique would you use to determine the mobility of these three proteins? What would you predict is the relative mobility of these three protei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omic Sans MS" panose="030F0702030302020204" pitchFamily="66"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ED7D31"/>
                </a:solidFill>
                <a:effectLst/>
                <a:uLnTx/>
                <a:uFillTx/>
                <a:latin typeface="Comic Sans MS" panose="030F0702030302020204" pitchFamily="66" charset="0"/>
                <a:ea typeface="+mn-ea"/>
                <a:cs typeface="+mn-cs"/>
              </a:rPr>
              <a:t>Answer: (1) FRAP or FCS; (2) Protein acting at a long distance has a higher diffusion coefficient than the protein acting at an intermediate distance while the protein acting at a short distance has a very low diffusion coefficient.  Long distance &gt; intermediate &gt; short.</a:t>
            </a:r>
          </a:p>
        </p:txBody>
      </p:sp>
    </p:spTree>
    <p:extLst>
      <p:ext uri="{BB962C8B-B14F-4D97-AF65-F5344CB8AC3E}">
        <p14:creationId xmlns:p14="http://schemas.microsoft.com/office/powerpoint/2010/main" val="275426678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t>This example is based on an actual paper.</a:t>
            </a:r>
          </a:p>
        </p:txBody>
      </p:sp>
      <p:sp>
        <p:nvSpPr>
          <p:cNvPr id="3" name="Content Placeholder 2"/>
          <p:cNvSpPr>
            <a:spLocks noGrp="1"/>
          </p:cNvSpPr>
          <p:nvPr>
            <p:ph idx="1"/>
          </p:nvPr>
        </p:nvSpPr>
        <p:spPr/>
        <p:txBody>
          <a:bodyPr>
            <a:normAutofit/>
          </a:bodyPr>
          <a:lstStyle/>
          <a:p>
            <a:r>
              <a:rPr lang="en-US" sz="2400" dirty="0"/>
              <a:t>Müller, P., Rogers, K.W., Jordan, B.M., Lee, J.S., Robson, D., </a:t>
            </a:r>
            <a:r>
              <a:rPr lang="en-US" sz="2400" dirty="0" err="1"/>
              <a:t>Ramanathan</a:t>
            </a:r>
            <a:r>
              <a:rPr lang="en-US" sz="2400" dirty="0"/>
              <a:t>, S., </a:t>
            </a:r>
            <a:r>
              <a:rPr lang="en-US" sz="2400" dirty="0" err="1"/>
              <a:t>Schier</a:t>
            </a:r>
            <a:r>
              <a:rPr lang="en-US" sz="2400" dirty="0"/>
              <a:t>, A.F., </a:t>
            </a:r>
            <a:r>
              <a:rPr lang="en-US" sz="2400" b="1" u="sng" dirty="0"/>
              <a:t>2012</a:t>
            </a:r>
            <a:r>
              <a:rPr lang="en-US" sz="2400" dirty="0"/>
              <a:t>. Differential Diffusivity of Nodal and Lefty Underlies a Reaction-Diffusion Patterning System. </a:t>
            </a:r>
            <a:r>
              <a:rPr lang="en-US" sz="2400" b="1" i="1" dirty="0"/>
              <a:t>Science</a:t>
            </a:r>
            <a:r>
              <a:rPr lang="en-US" sz="2400" dirty="0"/>
              <a:t> 336, 721-724.</a:t>
            </a:r>
          </a:p>
          <a:p>
            <a:r>
              <a:rPr lang="en-US" sz="2400" dirty="0"/>
              <a:t>They used FRAP to determine the mobility of four different proteins 2 </a:t>
            </a:r>
            <a:r>
              <a:rPr lang="en-US" sz="2400" dirty="0" err="1"/>
              <a:t>nodals</a:t>
            </a:r>
            <a:r>
              <a:rPr lang="en-US" sz="2400" dirty="0"/>
              <a:t> (Cyclops and Squint) and 2 Lefties.</a:t>
            </a:r>
          </a:p>
        </p:txBody>
      </p:sp>
      <p:pic>
        <p:nvPicPr>
          <p:cNvPr id="4" name="Picture 3"/>
          <p:cNvPicPr>
            <a:picLocks noChangeAspect="1"/>
          </p:cNvPicPr>
          <p:nvPr/>
        </p:nvPicPr>
        <p:blipFill>
          <a:blip r:embed="rId3"/>
          <a:stretch>
            <a:fillRect/>
          </a:stretch>
        </p:blipFill>
        <p:spPr>
          <a:xfrm>
            <a:off x="117548" y="4603532"/>
            <a:ext cx="8908904" cy="1382547"/>
          </a:xfrm>
          <a:prstGeom prst="rect">
            <a:avLst/>
          </a:prstGeom>
        </p:spPr>
      </p:pic>
    </p:spTree>
    <p:extLst>
      <p:ext uri="{BB962C8B-B14F-4D97-AF65-F5344CB8AC3E}">
        <p14:creationId xmlns:p14="http://schemas.microsoft.com/office/powerpoint/2010/main" val="39430167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t>Cyclops slow, Squint intermediate &amp; Lefty fast.</a:t>
            </a:r>
          </a:p>
        </p:txBody>
      </p:sp>
      <p:pic>
        <p:nvPicPr>
          <p:cNvPr id="9" name="Content Placeholder 8"/>
          <p:cNvPicPr>
            <a:picLocks noGrp="1" noChangeAspect="1"/>
          </p:cNvPicPr>
          <p:nvPr>
            <p:ph sz="half" idx="2"/>
          </p:nvPr>
        </p:nvPicPr>
        <p:blipFill>
          <a:blip r:embed="rId3"/>
          <a:stretch>
            <a:fillRect/>
          </a:stretch>
        </p:blipFill>
        <p:spPr>
          <a:xfrm>
            <a:off x="2079014" y="1027907"/>
            <a:ext cx="5327088" cy="5633544"/>
          </a:xfrm>
          <a:prstGeom prst="rect">
            <a:avLst/>
          </a:prstGeom>
        </p:spPr>
      </p:pic>
    </p:spTree>
    <p:extLst>
      <p:ext uri="{BB962C8B-B14F-4D97-AF65-F5344CB8AC3E}">
        <p14:creationId xmlns:p14="http://schemas.microsoft.com/office/powerpoint/2010/main" val="17227562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a:t>Super-resolution microscopy</a:t>
            </a:r>
          </a:p>
        </p:txBody>
      </p:sp>
      <p:sp>
        <p:nvSpPr>
          <p:cNvPr id="8" name="Content Placeholder 7"/>
          <p:cNvSpPr>
            <a:spLocks noGrp="1"/>
          </p:cNvSpPr>
          <p:nvPr>
            <p:ph sz="half" idx="1"/>
          </p:nvPr>
        </p:nvSpPr>
        <p:spPr/>
        <p:txBody>
          <a:bodyPr>
            <a:normAutofit/>
          </a:bodyPr>
          <a:lstStyle/>
          <a:p>
            <a:pPr lvl="0"/>
            <a:r>
              <a:rPr lang="en-US" sz="2000" dirty="0">
                <a:solidFill>
                  <a:prstClr val="black"/>
                </a:solidFill>
              </a:rPr>
              <a:t>Abbe (1873) reported that smallest resolvable distance between two points (</a:t>
            </a:r>
            <a:r>
              <a:rPr lang="en-US" sz="2000" dirty="0">
                <a:solidFill>
                  <a:prstClr val="black"/>
                </a:solidFill>
                <a:latin typeface="Script MT Bold" panose="03040602040607080904" pitchFamily="66" charset="0"/>
              </a:rPr>
              <a:t>d</a:t>
            </a:r>
            <a:r>
              <a:rPr lang="en-US" sz="2000" dirty="0">
                <a:solidFill>
                  <a:prstClr val="black"/>
                </a:solidFill>
              </a:rPr>
              <a:t>) using a conventional microscope may never be smaller than half the wavelength of the imaging light (~200 nm) </a:t>
            </a:r>
          </a:p>
          <a:p>
            <a:pPr lvl="0"/>
            <a:r>
              <a:rPr lang="en-US" sz="2000" dirty="0">
                <a:solidFill>
                  <a:prstClr val="black"/>
                </a:solidFill>
              </a:rPr>
              <a:t>Is resolution diffraction limited? </a:t>
            </a:r>
          </a:p>
        </p:txBody>
      </p:sp>
      <p:pic>
        <p:nvPicPr>
          <p:cNvPr id="9" name="Content Placeholder 8"/>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4716797" y="1825625"/>
            <a:ext cx="3710906" cy="4351338"/>
          </a:xfrm>
        </p:spPr>
      </p:pic>
      <p:pic>
        <p:nvPicPr>
          <p:cNvPr id="5" name="Picture 1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3950" y="4346576"/>
            <a:ext cx="2895600" cy="1830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099087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t>2D versus 3D</a:t>
            </a:r>
            <a:br>
              <a:rPr lang="en-US" sz="3200" dirty="0"/>
            </a:br>
            <a:r>
              <a:rPr lang="en-US" sz="3200" dirty="0"/>
              <a:t>model.</a:t>
            </a:r>
          </a:p>
        </p:txBody>
      </p:sp>
      <p:pic>
        <p:nvPicPr>
          <p:cNvPr id="5" name="Picture 4"/>
          <p:cNvPicPr>
            <a:picLocks noChangeAspect="1"/>
          </p:cNvPicPr>
          <p:nvPr/>
        </p:nvPicPr>
        <p:blipFill rotWithShape="1">
          <a:blip r:embed="rId3"/>
          <a:srcRect b="19827"/>
          <a:stretch/>
        </p:blipFill>
        <p:spPr>
          <a:xfrm>
            <a:off x="4110300" y="365126"/>
            <a:ext cx="4482018" cy="4227895"/>
          </a:xfrm>
          <a:prstGeom prst="rect">
            <a:avLst/>
          </a:prstGeom>
        </p:spPr>
      </p:pic>
      <p:pic>
        <p:nvPicPr>
          <p:cNvPr id="7" name="Picture 6"/>
          <p:cNvPicPr>
            <a:picLocks noChangeAspect="1"/>
          </p:cNvPicPr>
          <p:nvPr/>
        </p:nvPicPr>
        <p:blipFill rotWithShape="1">
          <a:blip r:embed="rId3"/>
          <a:srcRect t="80870" b="1"/>
          <a:stretch/>
        </p:blipFill>
        <p:spPr>
          <a:xfrm>
            <a:off x="229599" y="4519448"/>
            <a:ext cx="9011687" cy="2028283"/>
          </a:xfrm>
          <a:prstGeom prst="rect">
            <a:avLst/>
          </a:prstGeom>
        </p:spPr>
      </p:pic>
    </p:spTree>
    <p:extLst>
      <p:ext uri="{BB962C8B-B14F-4D97-AF65-F5344CB8AC3E}">
        <p14:creationId xmlns:p14="http://schemas.microsoft.com/office/powerpoint/2010/main" val="156625003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800" dirty="0"/>
              <a:t>Why did they use FRAP instead of FCS?</a:t>
            </a:r>
          </a:p>
        </p:txBody>
      </p:sp>
      <p:sp>
        <p:nvSpPr>
          <p:cNvPr id="997379" name="Rectangle 3"/>
          <p:cNvSpPr>
            <a:spLocks noGrp="1" noChangeArrowheads="1"/>
          </p:cNvSpPr>
          <p:nvPr>
            <p:ph idx="4294967295"/>
          </p:nvPr>
        </p:nvSpPr>
        <p:spPr>
          <a:xfrm>
            <a:off x="168160" y="1903413"/>
            <a:ext cx="3657600" cy="3444875"/>
          </a:xfrm>
        </p:spPr>
        <p:txBody>
          <a:bodyPr>
            <a:normAutofit/>
          </a:bodyPr>
          <a:lstStyle/>
          <a:p>
            <a:r>
              <a:rPr lang="en-US" altLang="en-US" sz="2000" dirty="0">
                <a:solidFill>
                  <a:srgbClr val="000000"/>
                </a:solidFill>
              </a:rPr>
              <a:t>Proteins acting as morphogen</a:t>
            </a:r>
          </a:p>
          <a:p>
            <a:pPr lvl="1"/>
            <a:r>
              <a:rPr lang="en-US" altLang="en-US" sz="1800" dirty="0">
                <a:solidFill>
                  <a:srgbClr val="000000"/>
                </a:solidFill>
              </a:rPr>
              <a:t>Yu, S. R., M. Burkhardt, et al. (2009). Nature 461(7263): 533-536.</a:t>
            </a:r>
          </a:p>
          <a:p>
            <a:r>
              <a:rPr lang="en-US" altLang="en-US" sz="2000" dirty="0">
                <a:solidFill>
                  <a:srgbClr val="000000"/>
                </a:solidFill>
              </a:rPr>
              <a:t>Receptor ligand interactions</a:t>
            </a:r>
          </a:p>
          <a:p>
            <a:pPr lvl="1"/>
            <a:r>
              <a:rPr lang="en-US" altLang="en-US" sz="1800" dirty="0" err="1">
                <a:solidFill>
                  <a:srgbClr val="000000"/>
                </a:solidFill>
              </a:rPr>
              <a:t>Ries</a:t>
            </a:r>
            <a:r>
              <a:rPr lang="en-US" altLang="en-US" sz="1800" dirty="0">
                <a:solidFill>
                  <a:srgbClr val="000000"/>
                </a:solidFill>
              </a:rPr>
              <a:t>, J., S. R. Yu, et al. (2009). Nat Methods 6(9): 643-645.</a:t>
            </a:r>
          </a:p>
        </p:txBody>
      </p:sp>
      <p:pic>
        <p:nvPicPr>
          <p:cNvPr id="997380"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40879" y="4200878"/>
            <a:ext cx="2136422" cy="2099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97381"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37000" y="2034823"/>
            <a:ext cx="4940300" cy="1968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97382"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4934" y="4439355"/>
            <a:ext cx="5857523" cy="1807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567792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800" dirty="0"/>
              <a:t>Why did they use FRAP instead of FCS?</a:t>
            </a:r>
          </a:p>
        </p:txBody>
      </p:sp>
      <p:sp>
        <p:nvSpPr>
          <p:cNvPr id="997379" name="Rectangle 3"/>
          <p:cNvSpPr>
            <a:spLocks noGrp="1" noChangeArrowheads="1"/>
          </p:cNvSpPr>
          <p:nvPr>
            <p:ph idx="4294967295"/>
          </p:nvPr>
        </p:nvSpPr>
        <p:spPr>
          <a:xfrm>
            <a:off x="168160" y="1903413"/>
            <a:ext cx="3657600" cy="3444875"/>
          </a:xfrm>
        </p:spPr>
        <p:txBody>
          <a:bodyPr>
            <a:normAutofit/>
          </a:bodyPr>
          <a:lstStyle/>
          <a:p>
            <a:r>
              <a:rPr lang="en-US" altLang="en-US" sz="2000" dirty="0">
                <a:solidFill>
                  <a:srgbClr val="000000"/>
                </a:solidFill>
              </a:rPr>
              <a:t>Proteins acting as morphogen</a:t>
            </a:r>
          </a:p>
          <a:p>
            <a:pPr lvl="1"/>
            <a:r>
              <a:rPr lang="en-US" altLang="en-US" sz="1800" dirty="0">
                <a:solidFill>
                  <a:srgbClr val="000000"/>
                </a:solidFill>
              </a:rPr>
              <a:t>Yu, S. R., M. Burkhardt, et al. (2009). Nature 461(7263): 533-536.</a:t>
            </a:r>
          </a:p>
        </p:txBody>
      </p:sp>
      <p:pic>
        <p:nvPicPr>
          <p:cNvPr id="997381"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37000" y="2034823"/>
            <a:ext cx="4940300" cy="1968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p:cNvPicPr>
            <a:picLocks noChangeAspect="1"/>
          </p:cNvPicPr>
          <p:nvPr/>
        </p:nvPicPr>
        <p:blipFill>
          <a:blip r:embed="rId3"/>
          <a:stretch>
            <a:fillRect/>
          </a:stretch>
        </p:blipFill>
        <p:spPr>
          <a:xfrm>
            <a:off x="888351" y="4271564"/>
            <a:ext cx="6862801" cy="2174467"/>
          </a:xfrm>
          <a:prstGeom prst="rect">
            <a:avLst/>
          </a:prstGeom>
        </p:spPr>
      </p:pic>
    </p:spTree>
    <p:extLst>
      <p:ext uri="{BB962C8B-B14F-4D97-AF65-F5344CB8AC3E}">
        <p14:creationId xmlns:p14="http://schemas.microsoft.com/office/powerpoint/2010/main" val="347566584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t>Paper to read</a:t>
            </a:r>
          </a:p>
        </p:txBody>
      </p:sp>
      <p:sp>
        <p:nvSpPr>
          <p:cNvPr id="3" name="Content Placeholder 2"/>
          <p:cNvSpPr>
            <a:spLocks noGrp="1"/>
          </p:cNvSpPr>
          <p:nvPr>
            <p:ph idx="1"/>
          </p:nvPr>
        </p:nvSpPr>
        <p:spPr/>
        <p:txBody>
          <a:bodyPr/>
          <a:lstStyle/>
          <a:p>
            <a:r>
              <a:rPr lang="en-US" dirty="0"/>
              <a:t>McConnell, G., </a:t>
            </a:r>
            <a:r>
              <a:rPr lang="en-US" dirty="0" err="1"/>
              <a:t>Trägårdh</a:t>
            </a:r>
            <a:r>
              <a:rPr lang="en-US" dirty="0"/>
              <a:t>, J., Amor, R., </a:t>
            </a:r>
            <a:r>
              <a:rPr lang="en-US" dirty="0" err="1"/>
              <a:t>Dempster</a:t>
            </a:r>
            <a:r>
              <a:rPr lang="en-US" dirty="0"/>
              <a:t>, J., Reid, E., Amos, W.B., </a:t>
            </a:r>
            <a:r>
              <a:rPr lang="en-US" b="1" u="sng" dirty="0"/>
              <a:t>2016</a:t>
            </a:r>
            <a:r>
              <a:rPr lang="en-US" dirty="0"/>
              <a:t>. A novel optical microscope for imaging large embryos and tissue volumes with sub-cellular resolution throughout. </a:t>
            </a:r>
            <a:r>
              <a:rPr lang="en-US" b="1" i="1" dirty="0" err="1"/>
              <a:t>eLife</a:t>
            </a:r>
            <a:r>
              <a:rPr lang="en-US" dirty="0"/>
              <a:t> 5, e18659.</a:t>
            </a:r>
          </a:p>
          <a:p>
            <a:r>
              <a:rPr lang="en-US" dirty="0">
                <a:hlinkClick r:id="rId2"/>
              </a:rPr>
              <a:t>https://elifesciences.org/content/5/e18659</a:t>
            </a:r>
            <a:endParaRPr lang="en-US" dirty="0"/>
          </a:p>
          <a:p>
            <a:endParaRPr lang="en-US" dirty="0"/>
          </a:p>
        </p:txBody>
      </p:sp>
    </p:spTree>
    <p:extLst>
      <p:ext uri="{BB962C8B-B14F-4D97-AF65-F5344CB8AC3E}">
        <p14:creationId xmlns:p14="http://schemas.microsoft.com/office/powerpoint/2010/main" val="240130950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err="1"/>
              <a:t>Mesolens</a:t>
            </a:r>
            <a:r>
              <a:rPr lang="en-US" sz="3200" dirty="0"/>
              <a:t>: low mag with high NA</a:t>
            </a:r>
          </a:p>
        </p:txBody>
      </p:sp>
      <p:pic>
        <p:nvPicPr>
          <p:cNvPr id="5" name="Content Placeholder 4"/>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1481561" y="1825625"/>
            <a:ext cx="6180877" cy="4351338"/>
          </a:xfrm>
        </p:spPr>
      </p:pic>
    </p:spTree>
    <p:extLst>
      <p:ext uri="{BB962C8B-B14F-4D97-AF65-F5344CB8AC3E}">
        <p14:creationId xmlns:p14="http://schemas.microsoft.com/office/powerpoint/2010/main" val="179141781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err="1"/>
              <a:t>Mesolens</a:t>
            </a:r>
            <a:r>
              <a:rPr lang="en-US" sz="3200" dirty="0"/>
              <a:t>: low mag with high NA</a:t>
            </a:r>
          </a:p>
        </p:txBody>
      </p:sp>
      <p:pic>
        <p:nvPicPr>
          <p:cNvPr id="4" name="Content Placeholder 3"/>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13229" y="1587062"/>
            <a:ext cx="8954132" cy="4372303"/>
          </a:xfrm>
        </p:spPr>
      </p:pic>
    </p:spTree>
    <p:extLst>
      <p:ext uri="{BB962C8B-B14F-4D97-AF65-F5344CB8AC3E}">
        <p14:creationId xmlns:p14="http://schemas.microsoft.com/office/powerpoint/2010/main" val="6658966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err="1"/>
              <a:t>Mesolens</a:t>
            </a:r>
            <a:r>
              <a:rPr lang="en-US" sz="3200" dirty="0"/>
              <a:t>: low mag with high NA</a:t>
            </a:r>
          </a:p>
        </p:txBody>
      </p:sp>
      <p:pic>
        <p:nvPicPr>
          <p:cNvPr id="7" name="Content Placeholder 6">
            <a:extLst>
              <a:ext uri="{FF2B5EF4-FFF2-40B4-BE49-F238E27FC236}">
                <a16:creationId xmlns:a16="http://schemas.microsoft.com/office/drawing/2014/main" id="{9E92ACC5-4A8A-47BB-8158-B1BE2731C69D}"/>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954916" y="1825625"/>
            <a:ext cx="5234167" cy="4351338"/>
          </a:xfrm>
        </p:spPr>
      </p:pic>
    </p:spTree>
    <p:extLst>
      <p:ext uri="{BB962C8B-B14F-4D97-AF65-F5344CB8AC3E}">
        <p14:creationId xmlns:p14="http://schemas.microsoft.com/office/powerpoint/2010/main" val="193250808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ormAutofit/>
          </a:bodyPr>
          <a:lstStyle/>
          <a:p>
            <a:r>
              <a:rPr lang="en-US" sz="3200" dirty="0" err="1"/>
              <a:t>Mesolens</a:t>
            </a:r>
            <a:r>
              <a:rPr lang="en-US" sz="3200" dirty="0"/>
              <a:t>: advantages and disadvantages</a:t>
            </a:r>
          </a:p>
        </p:txBody>
      </p:sp>
      <p:pic>
        <p:nvPicPr>
          <p:cNvPr id="4" name="elife-18659-media1">
            <a:hlinkClick r:id="" action="ppaction://media"/>
          </p:cNvPr>
          <p:cNvPicPr>
            <a:picLocks noGrp="1" noChangeAspect="1"/>
          </p:cNvPicPr>
          <p:nvPr>
            <p:ph idx="1"/>
            <a:videoFile r:link="rId2"/>
            <p:extLst>
              <p:ext uri="{DAA4B4D4-6D71-4841-9C94-3DE7FCFB9230}">
                <p14:media xmlns:p14="http://schemas.microsoft.com/office/powerpoint/2010/main" r:embed="rId1"/>
              </p:ext>
            </p:extLst>
          </p:nvPr>
        </p:nvPicPr>
        <p:blipFill>
          <a:blip r:embed="rId4"/>
          <a:stretch>
            <a:fillRect/>
          </a:stretch>
        </p:blipFill>
        <p:spPr>
          <a:xfrm>
            <a:off x="628649" y="1170340"/>
            <a:ext cx="7401254" cy="5006624"/>
          </a:xfrm>
        </p:spPr>
      </p:pic>
    </p:spTree>
    <p:extLst>
      <p:ext uri="{BB962C8B-B14F-4D97-AF65-F5344CB8AC3E}">
        <p14:creationId xmlns:p14="http://schemas.microsoft.com/office/powerpoint/2010/main" val="24102364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5760"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a:solidFill>
                  <a:prstClr val="black"/>
                </a:solidFill>
              </a:rPr>
              <a:t>Super-resolution microscopy</a:t>
            </a:r>
            <a:endParaRPr lang="en-US" sz="3200" dirty="0"/>
          </a:p>
        </p:txBody>
      </p:sp>
      <p:sp>
        <p:nvSpPr>
          <p:cNvPr id="3" name="Content Placeholder 2"/>
          <p:cNvSpPr>
            <a:spLocks noGrp="1"/>
          </p:cNvSpPr>
          <p:nvPr>
            <p:ph idx="1"/>
          </p:nvPr>
        </p:nvSpPr>
        <p:spPr/>
        <p:txBody>
          <a:bodyPr>
            <a:normAutofit/>
          </a:bodyPr>
          <a:lstStyle/>
          <a:p>
            <a:r>
              <a:rPr lang="en-US" sz="2000" dirty="0"/>
              <a:t>Could always do super-resolution if could label points with different colors</a:t>
            </a:r>
          </a:p>
          <a:p>
            <a:r>
              <a:rPr lang="en-US" sz="2000" dirty="0"/>
              <a:t>Separate with different fluorescent filters (spectral </a:t>
            </a:r>
            <a:r>
              <a:rPr lang="en-US" sz="2000" dirty="0" err="1"/>
              <a:t>unmixing</a:t>
            </a:r>
            <a:r>
              <a:rPr lang="en-US" sz="2000" dirty="0"/>
              <a:t>)</a:t>
            </a:r>
          </a:p>
          <a:p>
            <a:r>
              <a:rPr lang="en-US" sz="2000" dirty="0"/>
              <a:t>Why fluorescence is such an important illumination technique</a:t>
            </a:r>
          </a:p>
        </p:txBody>
      </p:sp>
      <p:sp>
        <p:nvSpPr>
          <p:cNvPr id="4" name="Oval 3"/>
          <p:cNvSpPr/>
          <p:nvPr/>
        </p:nvSpPr>
        <p:spPr>
          <a:xfrm>
            <a:off x="852922" y="3876603"/>
            <a:ext cx="187036" cy="187036"/>
          </a:xfrm>
          <a:prstGeom prst="ellips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l="2195" t="7934" r="63790" b="13719"/>
          <a:stretch/>
        </p:blipFill>
        <p:spPr>
          <a:xfrm>
            <a:off x="831272" y="4362373"/>
            <a:ext cx="2202874" cy="1567810"/>
          </a:xfrm>
          <a:prstGeom prst="rect">
            <a:avLst/>
          </a:prstGeom>
        </p:spPr>
      </p:pic>
      <p:sp>
        <p:nvSpPr>
          <p:cNvPr id="6" name="Oval 5"/>
          <p:cNvSpPr/>
          <p:nvPr/>
        </p:nvSpPr>
        <p:spPr>
          <a:xfrm>
            <a:off x="852922" y="3577869"/>
            <a:ext cx="187036" cy="187036"/>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p:cNvSpPr/>
          <p:nvPr/>
        </p:nvSpPr>
        <p:spPr>
          <a:xfrm>
            <a:off x="3779694" y="3876603"/>
            <a:ext cx="187036" cy="187036"/>
          </a:xfrm>
          <a:prstGeom prst="ellips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p:cNvPicPr>
            <a:picLocks noChangeAspect="1"/>
          </p:cNvPicPr>
          <p:nvPr/>
        </p:nvPicPr>
        <p:blipFill rotWithShape="1">
          <a:blip r:embed="rId3">
            <a:extLst>
              <a:ext uri="{28A0092B-C50C-407E-A947-70E740481C1C}">
                <a14:useLocalDpi xmlns:a14="http://schemas.microsoft.com/office/drawing/2010/main" val="0"/>
              </a:ext>
            </a:extLst>
          </a:blip>
          <a:srcRect l="2195" t="7934" r="63790" b="13719"/>
          <a:stretch/>
        </p:blipFill>
        <p:spPr>
          <a:xfrm>
            <a:off x="3758044" y="4362373"/>
            <a:ext cx="2202874" cy="1567810"/>
          </a:xfrm>
          <a:prstGeom prst="rect">
            <a:avLst/>
          </a:prstGeom>
        </p:spPr>
      </p:pic>
      <p:sp>
        <p:nvSpPr>
          <p:cNvPr id="10" name="Oval 9"/>
          <p:cNvSpPr/>
          <p:nvPr/>
        </p:nvSpPr>
        <p:spPr>
          <a:xfrm>
            <a:off x="4959928" y="3876603"/>
            <a:ext cx="187036" cy="187036"/>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p:cNvSpPr/>
          <p:nvPr/>
        </p:nvSpPr>
        <p:spPr>
          <a:xfrm>
            <a:off x="6706466" y="3876603"/>
            <a:ext cx="187036" cy="187036"/>
          </a:xfrm>
          <a:prstGeom prst="ellips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p:cNvPicPr>
            <a:picLocks noChangeAspect="1"/>
          </p:cNvPicPr>
          <p:nvPr/>
        </p:nvPicPr>
        <p:blipFill rotWithShape="1">
          <a:blip r:embed="rId3">
            <a:extLst>
              <a:ext uri="{28A0092B-C50C-407E-A947-70E740481C1C}">
                <a14:useLocalDpi xmlns:a14="http://schemas.microsoft.com/office/drawing/2010/main" val="0"/>
              </a:ext>
            </a:extLst>
          </a:blip>
          <a:srcRect l="2195" t="7934" r="63790" b="13719"/>
          <a:stretch/>
        </p:blipFill>
        <p:spPr>
          <a:xfrm>
            <a:off x="6684816" y="4362373"/>
            <a:ext cx="2202874" cy="1567810"/>
          </a:xfrm>
          <a:prstGeom prst="rect">
            <a:avLst/>
          </a:prstGeom>
        </p:spPr>
      </p:pic>
      <p:sp>
        <p:nvSpPr>
          <p:cNvPr id="13" name="Oval 12"/>
          <p:cNvSpPr/>
          <p:nvPr/>
        </p:nvSpPr>
        <p:spPr>
          <a:xfrm>
            <a:off x="6986154" y="3577869"/>
            <a:ext cx="187036" cy="187036"/>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p:nvSpPr>
        <p:spPr>
          <a:xfrm>
            <a:off x="2033156" y="3876603"/>
            <a:ext cx="187036" cy="187036"/>
          </a:xfrm>
          <a:prstGeom prst="ellips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p:cNvSpPr/>
          <p:nvPr/>
        </p:nvSpPr>
        <p:spPr>
          <a:xfrm>
            <a:off x="1264230" y="3577869"/>
            <a:ext cx="187036" cy="187036"/>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852922" y="6286018"/>
            <a:ext cx="6533135" cy="369332"/>
          </a:xfrm>
          <a:prstGeom prst="rect">
            <a:avLst/>
          </a:prstGeom>
          <a:noFill/>
        </p:spPr>
        <p:txBody>
          <a:bodyPr wrap="none" rtlCol="0">
            <a:spAutoFit/>
          </a:bodyPr>
          <a:lstStyle/>
          <a:p>
            <a:r>
              <a:rPr lang="en-US" dirty="0"/>
              <a:t>Hell, S.W., 2009. Microscopy and its focal switch. Nat Meth 6, 24-32.</a:t>
            </a:r>
          </a:p>
        </p:txBody>
      </p:sp>
    </p:spTree>
    <p:extLst>
      <p:ext uri="{BB962C8B-B14F-4D97-AF65-F5344CB8AC3E}">
        <p14:creationId xmlns:p14="http://schemas.microsoft.com/office/powerpoint/2010/main" val="17863269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a:t>Super-resolution microscopy</a:t>
            </a:r>
          </a:p>
        </p:txBody>
      </p:sp>
      <p:sp>
        <p:nvSpPr>
          <p:cNvPr id="3" name="Content Placeholder 2"/>
          <p:cNvSpPr>
            <a:spLocks noGrp="1"/>
          </p:cNvSpPr>
          <p:nvPr>
            <p:ph idx="1"/>
          </p:nvPr>
        </p:nvSpPr>
        <p:spPr/>
        <p:txBody>
          <a:bodyPr/>
          <a:lstStyle/>
          <a:p>
            <a:pPr marL="514350" indent="-514350">
              <a:buFont typeface="+mj-lt"/>
              <a:buAutoNum type="arabicPeriod"/>
            </a:pPr>
            <a:r>
              <a:rPr lang="en-US" dirty="0"/>
              <a:t>“True” super-resolution techniques</a:t>
            </a:r>
          </a:p>
          <a:p>
            <a:pPr lvl="1"/>
            <a:r>
              <a:rPr lang="en-US" dirty="0"/>
              <a:t>Subwavelength imaging</a:t>
            </a:r>
          </a:p>
          <a:p>
            <a:pPr lvl="1"/>
            <a:r>
              <a:rPr lang="en-US" dirty="0"/>
              <a:t>Capture information in evanescent waves</a:t>
            </a:r>
          </a:p>
          <a:p>
            <a:pPr marL="514350" indent="-514350">
              <a:buFont typeface="+mj-lt"/>
              <a:buAutoNum type="arabicPeriod"/>
            </a:pPr>
            <a:r>
              <a:rPr lang="en-US" dirty="0"/>
              <a:t>“Functional” super-resolution techniques</a:t>
            </a:r>
          </a:p>
          <a:p>
            <a:pPr marL="971550" lvl="1" indent="-514350">
              <a:buFont typeface="+mj-lt"/>
              <a:buAutoNum type="arabicPeriod"/>
            </a:pPr>
            <a:r>
              <a:rPr lang="en-US" dirty="0"/>
              <a:t>Deterministic</a:t>
            </a:r>
          </a:p>
          <a:p>
            <a:pPr lvl="2"/>
            <a:r>
              <a:rPr lang="en-US" dirty="0"/>
              <a:t>Exploit nonlinear responses of fluorophores</a:t>
            </a:r>
          </a:p>
          <a:p>
            <a:pPr marL="971550" lvl="1" indent="-514350">
              <a:buFont typeface="+mj-lt"/>
              <a:buAutoNum type="arabicPeriod"/>
            </a:pPr>
            <a:r>
              <a:rPr lang="en-US" dirty="0"/>
              <a:t>Stochastic</a:t>
            </a:r>
          </a:p>
          <a:p>
            <a:pPr lvl="2"/>
            <a:r>
              <a:rPr lang="en-US" dirty="0"/>
              <a:t>Exploit the complex temporal behaviors of fluorophores</a:t>
            </a:r>
          </a:p>
        </p:txBody>
      </p:sp>
    </p:spTree>
    <p:extLst>
      <p:ext uri="{BB962C8B-B14F-4D97-AF65-F5344CB8AC3E}">
        <p14:creationId xmlns:p14="http://schemas.microsoft.com/office/powerpoint/2010/main" val="39627912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a:t>“Functional” super-resolution techniques</a:t>
            </a:r>
          </a:p>
        </p:txBody>
      </p:sp>
      <p:sp>
        <p:nvSpPr>
          <p:cNvPr id="3" name="Content Placeholder 2"/>
          <p:cNvSpPr>
            <a:spLocks noGrp="1"/>
          </p:cNvSpPr>
          <p:nvPr>
            <p:ph idx="1"/>
          </p:nvPr>
        </p:nvSpPr>
        <p:spPr/>
        <p:txBody>
          <a:bodyPr/>
          <a:lstStyle/>
          <a:p>
            <a:pPr marL="514350" indent="-514350">
              <a:buFont typeface="+mj-lt"/>
              <a:buAutoNum type="arabicPeriod"/>
            </a:pPr>
            <a:r>
              <a:rPr lang="en-US" dirty="0"/>
              <a:t>Deterministic</a:t>
            </a:r>
          </a:p>
          <a:p>
            <a:pPr lvl="1"/>
            <a:r>
              <a:rPr lang="en-US" dirty="0"/>
              <a:t>Reversible Saturable (or Switchable) OpticaL Fluorescence Transitions (RESOLFT)</a:t>
            </a:r>
          </a:p>
          <a:p>
            <a:pPr lvl="2"/>
            <a:r>
              <a:rPr lang="en-US" dirty="0"/>
              <a:t>STimulated Emission Depletion (STED)</a:t>
            </a:r>
          </a:p>
          <a:p>
            <a:pPr lvl="2"/>
            <a:r>
              <a:rPr lang="en-US" dirty="0"/>
              <a:t>Ground State Depletion (GSD)</a:t>
            </a:r>
          </a:p>
          <a:p>
            <a:pPr marL="514350" indent="-514350">
              <a:buFont typeface="+mj-lt"/>
              <a:buAutoNum type="arabicPeriod"/>
            </a:pPr>
            <a:r>
              <a:rPr lang="en-US" dirty="0"/>
              <a:t>Stochastic</a:t>
            </a:r>
          </a:p>
          <a:p>
            <a:pPr lvl="1"/>
            <a:r>
              <a:rPr lang="en-US" dirty="0"/>
              <a:t>STochastic Optical Reconstruction Microscopy (STORM)</a:t>
            </a:r>
          </a:p>
          <a:p>
            <a:pPr lvl="1"/>
            <a:r>
              <a:rPr lang="en-US" dirty="0"/>
              <a:t>Photo Activated Localization Microscopy (PALM)</a:t>
            </a:r>
          </a:p>
          <a:p>
            <a:pPr lvl="1"/>
            <a:r>
              <a:rPr lang="en-US" dirty="0"/>
              <a:t>Fluorescence Photo-Activation Localization Microscopy (FPALM)</a:t>
            </a:r>
          </a:p>
        </p:txBody>
      </p:sp>
    </p:spTree>
    <p:extLst>
      <p:ext uri="{BB962C8B-B14F-4D97-AF65-F5344CB8AC3E}">
        <p14:creationId xmlns:p14="http://schemas.microsoft.com/office/powerpoint/2010/main" val="5651553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200" dirty="0"/>
              <a:t>Reversible </a:t>
            </a:r>
            <a:r>
              <a:rPr lang="en-US" sz="3200" dirty="0" err="1"/>
              <a:t>Saturable</a:t>
            </a:r>
            <a:r>
              <a:rPr lang="en-US" sz="3200" dirty="0"/>
              <a:t> (or Switchable) Optical Fluorescence Transitions (RESOLFT)</a:t>
            </a:r>
            <a:br>
              <a:rPr lang="en-US" sz="3200" dirty="0"/>
            </a:br>
            <a:endParaRPr lang="en-US" sz="3200" dirty="0"/>
          </a:p>
        </p:txBody>
      </p:sp>
      <p:sp>
        <p:nvSpPr>
          <p:cNvPr id="7" name="Content Placeholder 6"/>
          <p:cNvSpPr>
            <a:spLocks noGrp="1"/>
          </p:cNvSpPr>
          <p:nvPr>
            <p:ph sz="half" idx="1"/>
          </p:nvPr>
        </p:nvSpPr>
        <p:spPr>
          <a:xfrm>
            <a:off x="628650" y="1825625"/>
            <a:ext cx="1667741" cy="4351338"/>
          </a:xfrm>
        </p:spPr>
        <p:txBody>
          <a:bodyPr>
            <a:normAutofit/>
          </a:bodyPr>
          <a:lstStyle/>
          <a:p>
            <a:pPr marL="0" indent="0">
              <a:buNone/>
            </a:pPr>
            <a:r>
              <a:rPr lang="en-US" sz="2000" dirty="0"/>
              <a:t>Includes </a:t>
            </a:r>
          </a:p>
          <a:p>
            <a:r>
              <a:rPr lang="en-US" sz="2000" dirty="0">
                <a:solidFill>
                  <a:srgbClr val="00B050"/>
                </a:solidFill>
              </a:rPr>
              <a:t>STED</a:t>
            </a:r>
          </a:p>
          <a:p>
            <a:r>
              <a:rPr lang="en-US" sz="2000" dirty="0">
                <a:solidFill>
                  <a:schemeClr val="accent5">
                    <a:lumMod val="75000"/>
                  </a:schemeClr>
                </a:solidFill>
              </a:rPr>
              <a:t>GSD</a:t>
            </a:r>
          </a:p>
        </p:txBody>
      </p:sp>
      <p:pic>
        <p:nvPicPr>
          <p:cNvPr id="9" name="Content Placeholder 8"/>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2691053" y="1670034"/>
            <a:ext cx="5917815" cy="4662520"/>
          </a:xfrm>
        </p:spPr>
      </p:pic>
      <p:sp>
        <p:nvSpPr>
          <p:cNvPr id="10" name="Rectangle 9"/>
          <p:cNvSpPr/>
          <p:nvPr/>
        </p:nvSpPr>
        <p:spPr>
          <a:xfrm>
            <a:off x="8032173" y="6099464"/>
            <a:ext cx="633845" cy="28055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998136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WNOMINIMIZE" val="-1"/>
</p:tagLst>
</file>

<file path=ppt/tags/tag10.xml><?xml version="1.0" encoding="utf-8"?>
<p:tagLst xmlns:a="http://schemas.openxmlformats.org/drawingml/2006/main" xmlns:r="http://schemas.openxmlformats.org/officeDocument/2006/relationships" xmlns:p="http://schemas.openxmlformats.org/presentationml/2006/main">
  <p:tag name="TWNOMINIMIZE"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WNOMINIMIZE" val="-1"/>
</p:tagLst>
</file>

<file path=ppt/tags/tag13.xml><?xml version="1.0" encoding="utf-8"?>
<p:tagLst xmlns:a="http://schemas.openxmlformats.org/drawingml/2006/main" xmlns:r="http://schemas.openxmlformats.org/officeDocument/2006/relationships" xmlns:p="http://schemas.openxmlformats.org/presentationml/2006/main">
  <p:tag name="TWNOCDCHECK"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WNOMINIMIZE" val="-1"/>
</p:tagLst>
</file>

<file path=ppt/tags/tag16.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m1fka1\AppData\Local\Temp\articulate\presenter\imgtemp\5DhmOebf_files\slide0001_image001.jpg"/>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WNOMINIMIZE" val="-1"/>
</p:tagLst>
</file>

<file path=ppt/tags/tag19.xml><?xml version="1.0" encoding="utf-8"?>
<p:tagLst xmlns:a="http://schemas.openxmlformats.org/drawingml/2006/main" xmlns:r="http://schemas.openxmlformats.org/officeDocument/2006/relationships" xmlns:p="http://schemas.openxmlformats.org/presentationml/2006/main">
  <p:tag name="TWNOCDCHECK" val="-1"/>
</p:tagLst>
</file>

<file path=ppt/tags/tag2.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m1fka1\AppData\Local\Temp\articulate\presenter\imgtemp\0klxmbwV_files\slide0001_image001.png"/>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WNOMINIMIZE"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WNOCDCHECK"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WNOCDCHECK" val="-1"/>
</p:tagLst>
</file>

<file path=ppt/tags/tag3.xml><?xml version="1.0" encoding="utf-8"?>
<p:tagLst xmlns:a="http://schemas.openxmlformats.org/drawingml/2006/main" xmlns:r="http://schemas.openxmlformats.org/officeDocument/2006/relationships" xmlns:p="http://schemas.openxmlformats.org/presentationml/2006/main">
  <p:tag name="TWNOMINIMIZE"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m1fka1\AppData\Local\Temp\articulate\presenter\imgtemp\0klxmbwV_files\slide0001_image001.png"/>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OURCE_IMAGE" val="C:\Users\SIMONE~1\AppData\Local\Temp\articulate\presenter\imgtemp\l0zYJqIT-Dateien\slide0001_image001.png"/>
  <p:tag name="ARTICULATE_PUBLISH_MODE" val="2"/>
</p:tagLst>
</file>

<file path=ppt/tags/tag38.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39.xml><?xml version="1.0" encoding="utf-8"?>
<p:tagLst xmlns:a="http://schemas.openxmlformats.org/drawingml/2006/main" xmlns:r="http://schemas.openxmlformats.org/officeDocument/2006/relationships" xmlns:p="http://schemas.openxmlformats.org/presentationml/2006/main">
  <p:tag name="ARTICULATE_SOURCE_IMAGE" val="C:\Users\SIMONE~1\AppData\Local\Temp\articulate\presenter\imgtemp\l0zYJqIT-Dateien\slide0001_image001.png"/>
  <p:tag name="ARTICULATE_PUBLISH_MODE" val="2"/>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TWNOMINIMIZE" val="-1"/>
</p:tagLst>
</file>

<file path=ppt/tags/tag47.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m1fka1\AppData\Local\Temp\articulate\presenter\imgtemp\OwVbcWBZ_files\slide0001_image001.png"/>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TWNOMINIMIZE"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TWNOMINIMIZE" val="-1"/>
</p:tagLst>
</file>

<file path=ppt/tags/tag52.xml><?xml version="1.0" encoding="utf-8"?>
<p:tagLst xmlns:a="http://schemas.openxmlformats.org/drawingml/2006/main" xmlns:r="http://schemas.openxmlformats.org/officeDocument/2006/relationships" xmlns:p="http://schemas.openxmlformats.org/presentationml/2006/main">
  <p:tag name="TWNOCDCHECK"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TWNOMINIMIZE" val="-1"/>
</p:tagLst>
</file>

<file path=ppt/tags/tag55.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m1fka1\AppData\Local\Temp\articulate\presenter\imgtemp\5DhmOebf_files\slide0001_image001.jpg"/>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TWNOMINIMIZE" val="-1"/>
</p:tagLst>
</file>

<file path=ppt/tags/tag58.xml><?xml version="1.0" encoding="utf-8"?>
<p:tagLst xmlns:a="http://schemas.openxmlformats.org/drawingml/2006/main" xmlns:r="http://schemas.openxmlformats.org/officeDocument/2006/relationships" xmlns:p="http://schemas.openxmlformats.org/presentationml/2006/main">
  <p:tag name="TWNOCDCHECK"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TWNOMINIMIZE"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TWNOCDCHECK"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TWNOCDCHECK"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WNOMINIMIZE" val="-1"/>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m1fka1\AppData\Local\Temp\articulate\presenter\imgtemp\0klxmbwV_files\slide0001_image001.png"/>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ARTICULATE_SOURCE_IMAGE" val="C:\Users\SIMONE~1\AppData\Local\Temp\articulate\presenter\imgtemp\l0zYJqIT-Dateien\slide0001_image001.png"/>
  <p:tag name="ARTICULATE_PUBLISH_MODE" val="2"/>
</p:tagLst>
</file>

<file path=ppt/tags/tag77.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78.xml><?xml version="1.0" encoding="utf-8"?>
<p:tagLst xmlns:a="http://schemas.openxmlformats.org/drawingml/2006/main" xmlns:r="http://schemas.openxmlformats.org/officeDocument/2006/relationships" xmlns:p="http://schemas.openxmlformats.org/presentationml/2006/main">
  <p:tag name="ARTICULATE_SOURCE_IMAGE" val="C:\Users\SIMONE~1\AppData\Local\Temp\articulate\presenter\imgtemp\l0zYJqIT-Dateien\slide0001_image001.png"/>
  <p:tag name="ARTICULATE_PUBLISH_MODE" val="2"/>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m1fka1\AppData\Local\Temp\articulate\presenter\imgtemp\OwVbcWBZ_files\slide0001_image001.png"/>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TWNOMINIMIZE" val="-1"/>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6.xml><?xml version="1.0" encoding="utf-8"?>
<p:tagLst xmlns:a="http://schemas.openxmlformats.org/drawingml/2006/main" xmlns:r="http://schemas.openxmlformats.org/officeDocument/2006/relationships" xmlns:p="http://schemas.openxmlformats.org/presentationml/2006/main">
  <p:tag name="TWNOMINIMIZE"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arlzeiss">
  <a:themeElements>
    <a:clrScheme name="Custom 4">
      <a:dk1>
        <a:srgbClr val="000000"/>
      </a:dk1>
      <a:lt1>
        <a:srgbClr val="FFFFFF"/>
      </a:lt1>
      <a:dk2>
        <a:srgbClr val="000000"/>
      </a:dk2>
      <a:lt2>
        <a:srgbClr val="B2B2B2"/>
      </a:lt2>
      <a:accent1>
        <a:srgbClr val="3B76B1"/>
      </a:accent1>
      <a:accent2>
        <a:srgbClr val="0000BE"/>
      </a:accent2>
      <a:accent3>
        <a:srgbClr val="FFFFFF"/>
      </a:accent3>
      <a:accent4>
        <a:srgbClr val="000000"/>
      </a:accent4>
      <a:accent5>
        <a:srgbClr val="AFBDD5"/>
      </a:accent5>
      <a:accent6>
        <a:srgbClr val="0000AC"/>
      </a:accent6>
      <a:hlink>
        <a:srgbClr val="0000AC"/>
      </a:hlink>
      <a:folHlink>
        <a:srgbClr val="7777FF"/>
      </a:folHlink>
    </a:clrScheme>
    <a:fontScheme name="carlzeis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85000"/>
          </a:schemeClr>
        </a:solidFill>
        <a:ln w="3175" cap="flat" cmpd="sng" algn="ctr">
          <a:noFill/>
          <a:prstDash val="solid"/>
          <a:round/>
          <a:headEnd type="none" w="sm" len="sm"/>
          <a:tailEnd type="none" w="sm" len="sm"/>
        </a:ln>
        <a:effectLst/>
      </a:spPr>
      <a:bodyPr vert="horz" wrap="square" lIns="36000" tIns="36000" rIns="36000" bIns="36000" numCol="1" rtlCol="0"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1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600" b="0" i="0" u="none" strike="noStrike" cap="none" normalizeH="0" baseline="0" smtClean="0">
            <a:ln>
              <a:noFill/>
            </a:ln>
            <a:solidFill>
              <a:schemeClr val="tx1"/>
            </a:solidFill>
            <a:effectLst/>
            <a:latin typeface="Arial" charset="0"/>
          </a:defRPr>
        </a:defPPr>
      </a:lstStyle>
    </a:lnDef>
    <a:txDef>
      <a:spPr>
        <a:noFill/>
      </a:spPr>
      <a:bodyPr wrap="square" rtlCol="0">
        <a:noAutofit/>
      </a:bodyPr>
      <a:lstStyle>
        <a:defPPr>
          <a:defRPr dirty="0"/>
        </a:defPPr>
      </a:lstStyle>
    </a:txDef>
  </a:objectDefaults>
  <a:extraClrSchemeLst>
    <a:extraClrScheme>
      <a:clrScheme name="carlzeiss 1">
        <a:dk1>
          <a:srgbClr val="000000"/>
        </a:dk1>
        <a:lt1>
          <a:srgbClr val="FFFFFF"/>
        </a:lt1>
        <a:dk2>
          <a:srgbClr val="000000"/>
        </a:dk2>
        <a:lt2>
          <a:srgbClr val="B2B2B2"/>
        </a:lt2>
        <a:accent1>
          <a:srgbClr val="0000BE"/>
        </a:accent1>
        <a:accent2>
          <a:srgbClr val="EE9C00"/>
        </a:accent2>
        <a:accent3>
          <a:srgbClr val="FFFFFF"/>
        </a:accent3>
        <a:accent4>
          <a:srgbClr val="000000"/>
        </a:accent4>
        <a:accent5>
          <a:srgbClr val="AAAADB"/>
        </a:accent5>
        <a:accent6>
          <a:srgbClr val="D88D00"/>
        </a:accent6>
        <a:hlink>
          <a:srgbClr val="FF0028"/>
        </a:hlink>
        <a:folHlink>
          <a:srgbClr val="F2F2F2"/>
        </a:folHlink>
      </a:clrScheme>
      <a:clrMap bg1="lt1" tx1="dk1" bg2="lt2" tx2="dk2" accent1="accent1" accent2="accent2" accent3="accent3" accent4="accent4" accent5="accent5" accent6="accent6" hlink="hlink" folHlink="folHlink"/>
    </a:extraClrScheme>
    <a:extraClrScheme>
      <a:clrScheme name="carlzeiss 2">
        <a:dk1>
          <a:srgbClr val="000000"/>
        </a:dk1>
        <a:lt1>
          <a:srgbClr val="FFFFFF"/>
        </a:lt1>
        <a:dk2>
          <a:srgbClr val="000000"/>
        </a:dk2>
        <a:lt2>
          <a:srgbClr val="B2B2B2"/>
        </a:lt2>
        <a:accent1>
          <a:srgbClr val="3B76B1"/>
        </a:accent1>
        <a:accent2>
          <a:srgbClr val="0000BE"/>
        </a:accent2>
        <a:accent3>
          <a:srgbClr val="FFFFFF"/>
        </a:accent3>
        <a:accent4>
          <a:srgbClr val="000000"/>
        </a:accent4>
        <a:accent5>
          <a:srgbClr val="AFBDD5"/>
        </a:accent5>
        <a:accent6>
          <a:srgbClr val="0000AC"/>
        </a:accent6>
        <a:hlink>
          <a:srgbClr val="C2DEF6"/>
        </a:hlink>
        <a:folHlink>
          <a:srgbClr val="E5E5E5"/>
        </a:folHlink>
      </a:clrScheme>
      <a:clrMap bg1="lt1" tx1="dk1" bg2="lt2" tx2="dk2" accent1="accent1" accent2="accent2" accent3="accent3" accent4="accent4" accent5="accent5" accent6="accent6" hlink="hlink" folHlink="folHlink"/>
    </a:extraClrScheme>
    <a:extraClrScheme>
      <a:clrScheme name="carlzeiss 3">
        <a:dk1>
          <a:srgbClr val="000000"/>
        </a:dk1>
        <a:lt1>
          <a:srgbClr val="FFFFFF"/>
        </a:lt1>
        <a:dk2>
          <a:srgbClr val="000000"/>
        </a:dk2>
        <a:lt2>
          <a:srgbClr val="B2B2B2"/>
        </a:lt2>
        <a:accent1>
          <a:srgbClr val="F2F2F2"/>
        </a:accent1>
        <a:accent2>
          <a:srgbClr val="E5E5E5"/>
        </a:accent2>
        <a:accent3>
          <a:srgbClr val="FFFFFF"/>
        </a:accent3>
        <a:accent4>
          <a:srgbClr val="000000"/>
        </a:accent4>
        <a:accent5>
          <a:srgbClr val="F7F7F7"/>
        </a:accent5>
        <a:accent6>
          <a:srgbClr val="CFCFCF"/>
        </a:accent6>
        <a:hlink>
          <a:srgbClr val="C2DEF6"/>
        </a:hlink>
        <a:folHlink>
          <a:srgbClr val="3B76B1"/>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3_carlzeiss">
  <a:themeElements>
    <a:clrScheme name="carlzeiss 3">
      <a:dk1>
        <a:srgbClr val="000000"/>
      </a:dk1>
      <a:lt1>
        <a:srgbClr val="FFFFFF"/>
      </a:lt1>
      <a:dk2>
        <a:srgbClr val="000000"/>
      </a:dk2>
      <a:lt2>
        <a:srgbClr val="B2B2B2"/>
      </a:lt2>
      <a:accent1>
        <a:srgbClr val="F2F2F2"/>
      </a:accent1>
      <a:accent2>
        <a:srgbClr val="E5E5E5"/>
      </a:accent2>
      <a:accent3>
        <a:srgbClr val="FFFFFF"/>
      </a:accent3>
      <a:accent4>
        <a:srgbClr val="000000"/>
      </a:accent4>
      <a:accent5>
        <a:srgbClr val="F7F7F7"/>
      </a:accent5>
      <a:accent6>
        <a:srgbClr val="CFCFCF"/>
      </a:accent6>
      <a:hlink>
        <a:srgbClr val="C2DEF6"/>
      </a:hlink>
      <a:folHlink>
        <a:srgbClr val="3B76B1"/>
      </a:folHlink>
    </a:clrScheme>
    <a:fontScheme name="carlzeiss">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600" b="0" i="0" u="none" strike="noStrike" cap="none" normalizeH="0" baseline="0" smtClean="0">
            <a:ln>
              <a:noFill/>
            </a:ln>
            <a:solidFill>
              <a:schemeClr val="tx1"/>
            </a:solidFill>
            <a:effectLst/>
            <a:latin typeface="Arial" charset="0"/>
          </a:defRPr>
        </a:defPPr>
      </a:lstStyle>
    </a:lnDef>
  </a:objectDefaults>
  <a:extraClrSchemeLst>
    <a:extraClrScheme>
      <a:clrScheme name="carlzeiss 1">
        <a:dk1>
          <a:srgbClr val="000000"/>
        </a:dk1>
        <a:lt1>
          <a:srgbClr val="FFFFFF"/>
        </a:lt1>
        <a:dk2>
          <a:srgbClr val="000000"/>
        </a:dk2>
        <a:lt2>
          <a:srgbClr val="B2B2B2"/>
        </a:lt2>
        <a:accent1>
          <a:srgbClr val="0000BE"/>
        </a:accent1>
        <a:accent2>
          <a:srgbClr val="EE9C00"/>
        </a:accent2>
        <a:accent3>
          <a:srgbClr val="FFFFFF"/>
        </a:accent3>
        <a:accent4>
          <a:srgbClr val="000000"/>
        </a:accent4>
        <a:accent5>
          <a:srgbClr val="AAAADB"/>
        </a:accent5>
        <a:accent6>
          <a:srgbClr val="D88D00"/>
        </a:accent6>
        <a:hlink>
          <a:srgbClr val="FF0028"/>
        </a:hlink>
        <a:folHlink>
          <a:srgbClr val="F2F2F2"/>
        </a:folHlink>
      </a:clrScheme>
      <a:clrMap bg1="lt1" tx1="dk1" bg2="lt2" tx2="dk2" accent1="accent1" accent2="accent2" accent3="accent3" accent4="accent4" accent5="accent5" accent6="accent6" hlink="hlink" folHlink="folHlink"/>
    </a:extraClrScheme>
    <a:extraClrScheme>
      <a:clrScheme name="carlzeiss 2">
        <a:dk1>
          <a:srgbClr val="000000"/>
        </a:dk1>
        <a:lt1>
          <a:srgbClr val="FFFFFF"/>
        </a:lt1>
        <a:dk2>
          <a:srgbClr val="000000"/>
        </a:dk2>
        <a:lt2>
          <a:srgbClr val="B2B2B2"/>
        </a:lt2>
        <a:accent1>
          <a:srgbClr val="3B76B1"/>
        </a:accent1>
        <a:accent2>
          <a:srgbClr val="0000BE"/>
        </a:accent2>
        <a:accent3>
          <a:srgbClr val="FFFFFF"/>
        </a:accent3>
        <a:accent4>
          <a:srgbClr val="000000"/>
        </a:accent4>
        <a:accent5>
          <a:srgbClr val="AFBDD5"/>
        </a:accent5>
        <a:accent6>
          <a:srgbClr val="0000AC"/>
        </a:accent6>
        <a:hlink>
          <a:srgbClr val="C2DEF6"/>
        </a:hlink>
        <a:folHlink>
          <a:srgbClr val="E5E5E5"/>
        </a:folHlink>
      </a:clrScheme>
      <a:clrMap bg1="lt1" tx1="dk1" bg2="lt2" tx2="dk2" accent1="accent1" accent2="accent2" accent3="accent3" accent4="accent4" accent5="accent5" accent6="accent6" hlink="hlink" folHlink="folHlink"/>
    </a:extraClrScheme>
    <a:extraClrScheme>
      <a:clrScheme name="carlzeiss 3">
        <a:dk1>
          <a:srgbClr val="000000"/>
        </a:dk1>
        <a:lt1>
          <a:srgbClr val="FFFFFF"/>
        </a:lt1>
        <a:dk2>
          <a:srgbClr val="000000"/>
        </a:dk2>
        <a:lt2>
          <a:srgbClr val="B2B2B2"/>
        </a:lt2>
        <a:accent1>
          <a:srgbClr val="F2F2F2"/>
        </a:accent1>
        <a:accent2>
          <a:srgbClr val="E5E5E5"/>
        </a:accent2>
        <a:accent3>
          <a:srgbClr val="FFFFFF"/>
        </a:accent3>
        <a:accent4>
          <a:srgbClr val="000000"/>
        </a:accent4>
        <a:accent5>
          <a:srgbClr val="F7F7F7"/>
        </a:accent5>
        <a:accent6>
          <a:srgbClr val="CFCFCF"/>
        </a:accent6>
        <a:hlink>
          <a:srgbClr val="C2DEF6"/>
        </a:hlink>
        <a:folHlink>
          <a:srgbClr val="3B76B1"/>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PPT_Training_Template_21.05.2014">
  <a:themeElements>
    <a:clrScheme name="carlzeiss 3">
      <a:dk1>
        <a:srgbClr val="000000"/>
      </a:dk1>
      <a:lt1>
        <a:srgbClr val="FFFFFF"/>
      </a:lt1>
      <a:dk2>
        <a:srgbClr val="000000"/>
      </a:dk2>
      <a:lt2>
        <a:srgbClr val="B2B2B2"/>
      </a:lt2>
      <a:accent1>
        <a:srgbClr val="F2F2F2"/>
      </a:accent1>
      <a:accent2>
        <a:srgbClr val="E5E5E5"/>
      </a:accent2>
      <a:accent3>
        <a:srgbClr val="FFFFFF"/>
      </a:accent3>
      <a:accent4>
        <a:srgbClr val="000000"/>
      </a:accent4>
      <a:accent5>
        <a:srgbClr val="F7F7F7"/>
      </a:accent5>
      <a:accent6>
        <a:srgbClr val="CFCFCF"/>
      </a:accent6>
      <a:hlink>
        <a:srgbClr val="C2DEF6"/>
      </a:hlink>
      <a:folHlink>
        <a:srgbClr val="3B76B1"/>
      </a:folHlink>
    </a:clrScheme>
    <a:fontScheme name="carlzeis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85000"/>
          </a:schemeClr>
        </a:solidFill>
        <a:ln w="3175" cap="flat" cmpd="sng" algn="ctr">
          <a:noFill/>
          <a:prstDash val="solid"/>
          <a:round/>
          <a:headEnd type="none" w="sm" len="sm"/>
          <a:tailEnd type="none" w="sm" len="sm"/>
        </a:ln>
        <a:effectLst/>
      </a:spPr>
      <a:bodyPr vert="horz" wrap="square" lIns="36000" tIns="36000" rIns="36000" bIns="36000" numCol="1" rtlCol="0"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1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600" b="0" i="0" u="none" strike="noStrike" cap="none" normalizeH="0" baseline="0" smtClean="0">
            <a:ln>
              <a:noFill/>
            </a:ln>
            <a:solidFill>
              <a:schemeClr val="tx1"/>
            </a:solidFill>
            <a:effectLst/>
            <a:latin typeface="Arial" charset="0"/>
          </a:defRPr>
        </a:defPPr>
      </a:lstStyle>
    </a:lnDef>
    <a:txDef>
      <a:spPr>
        <a:noFill/>
      </a:spPr>
      <a:bodyPr wrap="square" rtlCol="0">
        <a:noAutofit/>
      </a:bodyPr>
      <a:lstStyle>
        <a:defPPr>
          <a:defRPr dirty="0"/>
        </a:defPPr>
      </a:lstStyle>
    </a:txDef>
  </a:objectDefaults>
  <a:extraClrSchemeLst>
    <a:extraClrScheme>
      <a:clrScheme name="carlzeiss 1">
        <a:dk1>
          <a:srgbClr val="000000"/>
        </a:dk1>
        <a:lt1>
          <a:srgbClr val="FFFFFF"/>
        </a:lt1>
        <a:dk2>
          <a:srgbClr val="000000"/>
        </a:dk2>
        <a:lt2>
          <a:srgbClr val="B2B2B2"/>
        </a:lt2>
        <a:accent1>
          <a:srgbClr val="0000BE"/>
        </a:accent1>
        <a:accent2>
          <a:srgbClr val="EE9C00"/>
        </a:accent2>
        <a:accent3>
          <a:srgbClr val="FFFFFF"/>
        </a:accent3>
        <a:accent4>
          <a:srgbClr val="000000"/>
        </a:accent4>
        <a:accent5>
          <a:srgbClr val="AAAADB"/>
        </a:accent5>
        <a:accent6>
          <a:srgbClr val="D88D00"/>
        </a:accent6>
        <a:hlink>
          <a:srgbClr val="FF0028"/>
        </a:hlink>
        <a:folHlink>
          <a:srgbClr val="F2F2F2"/>
        </a:folHlink>
      </a:clrScheme>
      <a:clrMap bg1="lt1" tx1="dk1" bg2="lt2" tx2="dk2" accent1="accent1" accent2="accent2" accent3="accent3" accent4="accent4" accent5="accent5" accent6="accent6" hlink="hlink" folHlink="folHlink"/>
    </a:extraClrScheme>
    <a:extraClrScheme>
      <a:clrScheme name="carlzeiss 2">
        <a:dk1>
          <a:srgbClr val="000000"/>
        </a:dk1>
        <a:lt1>
          <a:srgbClr val="FFFFFF"/>
        </a:lt1>
        <a:dk2>
          <a:srgbClr val="000000"/>
        </a:dk2>
        <a:lt2>
          <a:srgbClr val="B2B2B2"/>
        </a:lt2>
        <a:accent1>
          <a:srgbClr val="3B76B1"/>
        </a:accent1>
        <a:accent2>
          <a:srgbClr val="0000BE"/>
        </a:accent2>
        <a:accent3>
          <a:srgbClr val="FFFFFF"/>
        </a:accent3>
        <a:accent4>
          <a:srgbClr val="000000"/>
        </a:accent4>
        <a:accent5>
          <a:srgbClr val="AFBDD5"/>
        </a:accent5>
        <a:accent6>
          <a:srgbClr val="0000AC"/>
        </a:accent6>
        <a:hlink>
          <a:srgbClr val="C2DEF6"/>
        </a:hlink>
        <a:folHlink>
          <a:srgbClr val="E5E5E5"/>
        </a:folHlink>
      </a:clrScheme>
      <a:clrMap bg1="lt1" tx1="dk1" bg2="lt2" tx2="dk2" accent1="accent1" accent2="accent2" accent3="accent3" accent4="accent4" accent5="accent5" accent6="accent6" hlink="hlink" folHlink="folHlink"/>
    </a:extraClrScheme>
    <a:extraClrScheme>
      <a:clrScheme name="carlzeiss 3">
        <a:dk1>
          <a:srgbClr val="000000"/>
        </a:dk1>
        <a:lt1>
          <a:srgbClr val="FFFFFF"/>
        </a:lt1>
        <a:dk2>
          <a:srgbClr val="000000"/>
        </a:dk2>
        <a:lt2>
          <a:srgbClr val="B2B2B2"/>
        </a:lt2>
        <a:accent1>
          <a:srgbClr val="F2F2F2"/>
        </a:accent1>
        <a:accent2>
          <a:srgbClr val="E5E5E5"/>
        </a:accent2>
        <a:accent3>
          <a:srgbClr val="FFFFFF"/>
        </a:accent3>
        <a:accent4>
          <a:srgbClr val="000000"/>
        </a:accent4>
        <a:accent5>
          <a:srgbClr val="F7F7F7"/>
        </a:accent5>
        <a:accent6>
          <a:srgbClr val="CFCFCF"/>
        </a:accent6>
        <a:hlink>
          <a:srgbClr val="C2DEF6"/>
        </a:hlink>
        <a:folHlink>
          <a:srgbClr val="3B76B1"/>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PPT_Training_Template_21.05.2014">
  <a:themeElements>
    <a:clrScheme name="carlzeiss 3">
      <a:dk1>
        <a:srgbClr val="000000"/>
      </a:dk1>
      <a:lt1>
        <a:srgbClr val="FFFFFF"/>
      </a:lt1>
      <a:dk2>
        <a:srgbClr val="000000"/>
      </a:dk2>
      <a:lt2>
        <a:srgbClr val="B2B2B2"/>
      </a:lt2>
      <a:accent1>
        <a:srgbClr val="F2F2F2"/>
      </a:accent1>
      <a:accent2>
        <a:srgbClr val="E5E5E5"/>
      </a:accent2>
      <a:accent3>
        <a:srgbClr val="FFFFFF"/>
      </a:accent3>
      <a:accent4>
        <a:srgbClr val="000000"/>
      </a:accent4>
      <a:accent5>
        <a:srgbClr val="F7F7F7"/>
      </a:accent5>
      <a:accent6>
        <a:srgbClr val="CFCFCF"/>
      </a:accent6>
      <a:hlink>
        <a:srgbClr val="C2DEF6"/>
      </a:hlink>
      <a:folHlink>
        <a:srgbClr val="3B76B1"/>
      </a:folHlink>
    </a:clrScheme>
    <a:fontScheme name="carlzeis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85000"/>
          </a:schemeClr>
        </a:solidFill>
        <a:ln w="3175" cap="flat" cmpd="sng" algn="ctr">
          <a:noFill/>
          <a:prstDash val="solid"/>
          <a:round/>
          <a:headEnd type="none" w="sm" len="sm"/>
          <a:tailEnd type="none" w="sm" len="sm"/>
        </a:ln>
        <a:effectLst/>
      </a:spPr>
      <a:bodyPr vert="horz" wrap="square" lIns="36000" tIns="36000" rIns="36000" bIns="36000" numCol="1" rtlCol="0"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1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600" b="0" i="0" u="none" strike="noStrike" cap="none" normalizeH="0" baseline="0" smtClean="0">
            <a:ln>
              <a:noFill/>
            </a:ln>
            <a:solidFill>
              <a:schemeClr val="tx1"/>
            </a:solidFill>
            <a:effectLst/>
            <a:latin typeface="Arial" charset="0"/>
          </a:defRPr>
        </a:defPPr>
      </a:lstStyle>
    </a:lnDef>
    <a:txDef>
      <a:spPr>
        <a:noFill/>
      </a:spPr>
      <a:bodyPr wrap="square" rtlCol="0">
        <a:noAutofit/>
      </a:bodyPr>
      <a:lstStyle>
        <a:defPPr>
          <a:defRPr dirty="0"/>
        </a:defPPr>
      </a:lstStyle>
    </a:txDef>
  </a:objectDefaults>
  <a:extraClrSchemeLst>
    <a:extraClrScheme>
      <a:clrScheme name="carlzeiss 1">
        <a:dk1>
          <a:srgbClr val="000000"/>
        </a:dk1>
        <a:lt1>
          <a:srgbClr val="FFFFFF"/>
        </a:lt1>
        <a:dk2>
          <a:srgbClr val="000000"/>
        </a:dk2>
        <a:lt2>
          <a:srgbClr val="B2B2B2"/>
        </a:lt2>
        <a:accent1>
          <a:srgbClr val="0000BE"/>
        </a:accent1>
        <a:accent2>
          <a:srgbClr val="EE9C00"/>
        </a:accent2>
        <a:accent3>
          <a:srgbClr val="FFFFFF"/>
        </a:accent3>
        <a:accent4>
          <a:srgbClr val="000000"/>
        </a:accent4>
        <a:accent5>
          <a:srgbClr val="AAAADB"/>
        </a:accent5>
        <a:accent6>
          <a:srgbClr val="D88D00"/>
        </a:accent6>
        <a:hlink>
          <a:srgbClr val="FF0028"/>
        </a:hlink>
        <a:folHlink>
          <a:srgbClr val="F2F2F2"/>
        </a:folHlink>
      </a:clrScheme>
      <a:clrMap bg1="lt1" tx1="dk1" bg2="lt2" tx2="dk2" accent1="accent1" accent2="accent2" accent3="accent3" accent4="accent4" accent5="accent5" accent6="accent6" hlink="hlink" folHlink="folHlink"/>
    </a:extraClrScheme>
    <a:extraClrScheme>
      <a:clrScheme name="carlzeiss 2">
        <a:dk1>
          <a:srgbClr val="000000"/>
        </a:dk1>
        <a:lt1>
          <a:srgbClr val="FFFFFF"/>
        </a:lt1>
        <a:dk2>
          <a:srgbClr val="000000"/>
        </a:dk2>
        <a:lt2>
          <a:srgbClr val="B2B2B2"/>
        </a:lt2>
        <a:accent1>
          <a:srgbClr val="3B76B1"/>
        </a:accent1>
        <a:accent2>
          <a:srgbClr val="0000BE"/>
        </a:accent2>
        <a:accent3>
          <a:srgbClr val="FFFFFF"/>
        </a:accent3>
        <a:accent4>
          <a:srgbClr val="000000"/>
        </a:accent4>
        <a:accent5>
          <a:srgbClr val="AFBDD5"/>
        </a:accent5>
        <a:accent6>
          <a:srgbClr val="0000AC"/>
        </a:accent6>
        <a:hlink>
          <a:srgbClr val="C2DEF6"/>
        </a:hlink>
        <a:folHlink>
          <a:srgbClr val="E5E5E5"/>
        </a:folHlink>
      </a:clrScheme>
      <a:clrMap bg1="lt1" tx1="dk1" bg2="lt2" tx2="dk2" accent1="accent1" accent2="accent2" accent3="accent3" accent4="accent4" accent5="accent5" accent6="accent6" hlink="hlink" folHlink="folHlink"/>
    </a:extraClrScheme>
    <a:extraClrScheme>
      <a:clrScheme name="carlzeiss 3">
        <a:dk1>
          <a:srgbClr val="000000"/>
        </a:dk1>
        <a:lt1>
          <a:srgbClr val="FFFFFF"/>
        </a:lt1>
        <a:dk2>
          <a:srgbClr val="000000"/>
        </a:dk2>
        <a:lt2>
          <a:srgbClr val="B2B2B2"/>
        </a:lt2>
        <a:accent1>
          <a:srgbClr val="F2F2F2"/>
        </a:accent1>
        <a:accent2>
          <a:srgbClr val="E5E5E5"/>
        </a:accent2>
        <a:accent3>
          <a:srgbClr val="FFFFFF"/>
        </a:accent3>
        <a:accent4>
          <a:srgbClr val="000000"/>
        </a:accent4>
        <a:accent5>
          <a:srgbClr val="F7F7F7"/>
        </a:accent5>
        <a:accent6>
          <a:srgbClr val="CFCFCF"/>
        </a:accent6>
        <a:hlink>
          <a:srgbClr val="C2DEF6"/>
        </a:hlink>
        <a:folHlink>
          <a:srgbClr val="3B76B1"/>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_carlzeiss">
  <a:themeElements>
    <a:clrScheme name="carlzeiss 3">
      <a:dk1>
        <a:srgbClr val="000000"/>
      </a:dk1>
      <a:lt1>
        <a:srgbClr val="FFFFFF"/>
      </a:lt1>
      <a:dk2>
        <a:srgbClr val="000000"/>
      </a:dk2>
      <a:lt2>
        <a:srgbClr val="B2B2B2"/>
      </a:lt2>
      <a:accent1>
        <a:srgbClr val="F2F2F2"/>
      </a:accent1>
      <a:accent2>
        <a:srgbClr val="E5E5E5"/>
      </a:accent2>
      <a:accent3>
        <a:srgbClr val="FFFFFF"/>
      </a:accent3>
      <a:accent4>
        <a:srgbClr val="000000"/>
      </a:accent4>
      <a:accent5>
        <a:srgbClr val="F7F7F7"/>
      </a:accent5>
      <a:accent6>
        <a:srgbClr val="CFCFCF"/>
      </a:accent6>
      <a:hlink>
        <a:srgbClr val="C2DEF6"/>
      </a:hlink>
      <a:folHlink>
        <a:srgbClr val="3B76B1"/>
      </a:folHlink>
    </a:clrScheme>
    <a:fontScheme name="carlzeiss">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folHlink"/>
        </a:solidFill>
        <a:ln w="3175" cap="flat" cmpd="sng" algn="ctr">
          <a:solidFill>
            <a:schemeClr val="folHlink"/>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600" b="0" i="0" u="none" strike="noStrike" cap="none" normalizeH="0" baseline="0" smtClean="0">
            <a:ln>
              <a:noFill/>
            </a:ln>
            <a:solidFill>
              <a:schemeClr val="tx1"/>
            </a:solidFill>
            <a:effectLst/>
            <a:latin typeface="Arial" charset="0"/>
          </a:defRPr>
        </a:defPPr>
      </a:lstStyle>
    </a:lnDef>
  </a:objectDefaults>
  <a:extraClrSchemeLst>
    <a:extraClrScheme>
      <a:clrScheme name="carlzeiss 1">
        <a:dk1>
          <a:srgbClr val="000000"/>
        </a:dk1>
        <a:lt1>
          <a:srgbClr val="FFFFFF"/>
        </a:lt1>
        <a:dk2>
          <a:srgbClr val="000000"/>
        </a:dk2>
        <a:lt2>
          <a:srgbClr val="B2B2B2"/>
        </a:lt2>
        <a:accent1>
          <a:srgbClr val="0000BE"/>
        </a:accent1>
        <a:accent2>
          <a:srgbClr val="EE9C00"/>
        </a:accent2>
        <a:accent3>
          <a:srgbClr val="FFFFFF"/>
        </a:accent3>
        <a:accent4>
          <a:srgbClr val="000000"/>
        </a:accent4>
        <a:accent5>
          <a:srgbClr val="AAAADB"/>
        </a:accent5>
        <a:accent6>
          <a:srgbClr val="D88D00"/>
        </a:accent6>
        <a:hlink>
          <a:srgbClr val="FF0028"/>
        </a:hlink>
        <a:folHlink>
          <a:srgbClr val="F2F2F2"/>
        </a:folHlink>
      </a:clrScheme>
      <a:clrMap bg1="lt1" tx1="dk1" bg2="lt2" tx2="dk2" accent1="accent1" accent2="accent2" accent3="accent3" accent4="accent4" accent5="accent5" accent6="accent6" hlink="hlink" folHlink="folHlink"/>
    </a:extraClrScheme>
    <a:extraClrScheme>
      <a:clrScheme name="carlzeiss 2">
        <a:dk1>
          <a:srgbClr val="000000"/>
        </a:dk1>
        <a:lt1>
          <a:srgbClr val="FFFFFF"/>
        </a:lt1>
        <a:dk2>
          <a:srgbClr val="000000"/>
        </a:dk2>
        <a:lt2>
          <a:srgbClr val="B2B2B2"/>
        </a:lt2>
        <a:accent1>
          <a:srgbClr val="3B76B1"/>
        </a:accent1>
        <a:accent2>
          <a:srgbClr val="0000BE"/>
        </a:accent2>
        <a:accent3>
          <a:srgbClr val="FFFFFF"/>
        </a:accent3>
        <a:accent4>
          <a:srgbClr val="000000"/>
        </a:accent4>
        <a:accent5>
          <a:srgbClr val="AFBDD5"/>
        </a:accent5>
        <a:accent6>
          <a:srgbClr val="0000AC"/>
        </a:accent6>
        <a:hlink>
          <a:srgbClr val="C2DEF6"/>
        </a:hlink>
        <a:folHlink>
          <a:srgbClr val="E5E5E5"/>
        </a:folHlink>
      </a:clrScheme>
      <a:clrMap bg1="lt1" tx1="dk1" bg2="lt2" tx2="dk2" accent1="accent1" accent2="accent2" accent3="accent3" accent4="accent4" accent5="accent5" accent6="accent6" hlink="hlink" folHlink="folHlink"/>
    </a:extraClrScheme>
    <a:extraClrScheme>
      <a:clrScheme name="carlzeiss 3">
        <a:dk1>
          <a:srgbClr val="000000"/>
        </a:dk1>
        <a:lt1>
          <a:srgbClr val="FFFFFF"/>
        </a:lt1>
        <a:dk2>
          <a:srgbClr val="000000"/>
        </a:dk2>
        <a:lt2>
          <a:srgbClr val="B2B2B2"/>
        </a:lt2>
        <a:accent1>
          <a:srgbClr val="F2F2F2"/>
        </a:accent1>
        <a:accent2>
          <a:srgbClr val="E5E5E5"/>
        </a:accent2>
        <a:accent3>
          <a:srgbClr val="FFFFFF"/>
        </a:accent3>
        <a:accent4>
          <a:srgbClr val="000000"/>
        </a:accent4>
        <a:accent5>
          <a:srgbClr val="F7F7F7"/>
        </a:accent5>
        <a:accent6>
          <a:srgbClr val="CFCFCF"/>
        </a:accent6>
        <a:hlink>
          <a:srgbClr val="C2DEF6"/>
        </a:hlink>
        <a:folHlink>
          <a:srgbClr val="3B76B1"/>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F46216B-77A9-411A-B9D3-5023FCB70208}"/>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007</TotalTime>
  <Words>7840</Words>
  <Application>Microsoft Office PowerPoint</Application>
  <PresentationFormat>On-screen Show (4:3)</PresentationFormat>
  <Paragraphs>596</Paragraphs>
  <Slides>57</Slides>
  <Notes>37</Notes>
  <HiddenSlides>0</HiddenSlides>
  <MMClips>2</MMClips>
  <ScaleCrop>false</ScaleCrop>
  <HeadingPairs>
    <vt:vector size="8" baseType="variant">
      <vt:variant>
        <vt:lpstr>Fonts Used</vt:lpstr>
      </vt:variant>
      <vt:variant>
        <vt:i4>11</vt:i4>
      </vt:variant>
      <vt:variant>
        <vt:lpstr>Theme</vt:lpstr>
      </vt:variant>
      <vt:variant>
        <vt:i4>7</vt:i4>
      </vt:variant>
      <vt:variant>
        <vt:lpstr>Embedded OLE Servers</vt:lpstr>
      </vt:variant>
      <vt:variant>
        <vt:i4>4</vt:i4>
      </vt:variant>
      <vt:variant>
        <vt:lpstr>Slide Titles</vt:lpstr>
      </vt:variant>
      <vt:variant>
        <vt:i4>57</vt:i4>
      </vt:variant>
    </vt:vector>
  </HeadingPairs>
  <TitlesOfParts>
    <vt:vector size="79" baseType="lpstr">
      <vt:lpstr>Arial</vt:lpstr>
      <vt:lpstr>Arial Narrow</vt:lpstr>
      <vt:lpstr>Calibri</vt:lpstr>
      <vt:lpstr>Calibri Light</vt:lpstr>
      <vt:lpstr>Cambria Math</vt:lpstr>
      <vt:lpstr>Comic Sans MS</vt:lpstr>
      <vt:lpstr>Script MT Bold</vt:lpstr>
      <vt:lpstr>Segoe UI</vt:lpstr>
      <vt:lpstr>Segoe UI Light</vt:lpstr>
      <vt:lpstr>Times New Roman</vt:lpstr>
      <vt:lpstr>Wingdings</vt:lpstr>
      <vt:lpstr>1_Office Theme</vt:lpstr>
      <vt:lpstr>carlzeiss</vt:lpstr>
      <vt:lpstr>3_carlzeiss</vt:lpstr>
      <vt:lpstr>PPT_Training_Template_21.05.2014</vt:lpstr>
      <vt:lpstr>1_PPT_Training_Template_21.05.2014</vt:lpstr>
      <vt:lpstr>1_carlzeiss</vt:lpstr>
      <vt:lpstr>Office Theme</vt:lpstr>
      <vt:lpstr>think-cell Folie</vt:lpstr>
      <vt:lpstr>Chart</vt:lpstr>
      <vt:lpstr>Equation</vt:lpstr>
      <vt:lpstr>Formel</vt:lpstr>
      <vt:lpstr>Bi/BE 177: Principles of Modern Microscopy</vt:lpstr>
      <vt:lpstr>Lecture 16: Single molecule imaging technique (TIRFM) and Super-resolution microscopy  </vt:lpstr>
      <vt:lpstr>Questions about last lecture?</vt:lpstr>
      <vt:lpstr>Spatial Resolution of Biological Imaging Techniques</vt:lpstr>
      <vt:lpstr>Super-resolution microscopy</vt:lpstr>
      <vt:lpstr>Super-resolution microscopy</vt:lpstr>
      <vt:lpstr>Super-resolution microscopy</vt:lpstr>
      <vt:lpstr>“Functional” super-resolution techniques</vt:lpstr>
      <vt:lpstr>Reversible Saturable (or Switchable) Optical Fluorescence Transitions (RESOLFT) </vt:lpstr>
      <vt:lpstr>STED: STimulated Emission Depletion</vt:lpstr>
      <vt:lpstr>STED Microscopy means scanning a smaller focal spot across the sample</vt:lpstr>
      <vt:lpstr>Pulse timing:  Stimulated Emission Depletion - Fluorescence is depleted before it is emitted  </vt:lpstr>
      <vt:lpstr>“Functional” super-resolution techniques</vt:lpstr>
      <vt:lpstr>Single-molecule localization (SML) microscopy  Stochastic functional techniques</vt:lpstr>
      <vt:lpstr>Single-molecule localization microscopy  Stochastic functional techniques</vt:lpstr>
      <vt:lpstr>Single-molecule localization microscopy</vt:lpstr>
      <vt:lpstr>Each super-resolution techniques have pluses and minuses but all methods are improving </vt:lpstr>
      <vt:lpstr>Super-resolution requirements</vt:lpstr>
      <vt:lpstr>Comparing different super-resolution (SR) techniques  (200 nm normal)</vt:lpstr>
      <vt:lpstr>Super-resolution microscopy</vt:lpstr>
      <vt:lpstr>Remember overview of Optical sectioning Methods?</vt:lpstr>
      <vt:lpstr>Structured Illumination - The Principle</vt:lpstr>
      <vt:lpstr>Structured Illumination - The Principle</vt:lpstr>
      <vt:lpstr>Structured Illumination - The Principle</vt:lpstr>
      <vt:lpstr>Structured Illumination - The Contrast is the Key</vt:lpstr>
      <vt:lpstr>Structured Illumination Microscopy (SIM) Option for wide-field microscope</vt:lpstr>
      <vt:lpstr>Spatial Resolution of Biological Imaging Techniques</vt:lpstr>
      <vt:lpstr>Super-resolution structured illumination microscopy (SR-SIM)</vt:lpstr>
      <vt:lpstr>How does super-resolution SIM differ from normal SIM?</vt:lpstr>
      <vt:lpstr>Examples of SR-SIM images from Gustafsson</vt:lpstr>
      <vt:lpstr>3D SR-SIM uses SLM from Gustafsson (2011)</vt:lpstr>
      <vt:lpstr>SR-SIM can get even better with TIRF + high NA lens (1.7) + reversibly photoswitchable fluorescent protein</vt:lpstr>
      <vt:lpstr>SR-SIM can get even better with TIRF + high NA lens (1.7) + reversibly photoswitchable fluorescent protein</vt:lpstr>
      <vt:lpstr>Schermelleh, L., Heintzmann, R., Leonhardt, H., 2010. A guide to super-resolution fluorescence microscopy. The Journal of Cell Biology 190, 165-175. </vt:lpstr>
      <vt:lpstr>Zeiss Airyscan yet another means to achieve super-resolution</vt:lpstr>
      <vt:lpstr>Conventional scanning confocal and the 1 A.u. limit. PH = 1 A.u. is the standard setting for resolution.</vt:lpstr>
      <vt:lpstr>Scanning confocal and the 1 Airy unit pinhole “limit”. At PH &lt; 1 AU signal loss is larger than gain in resolution.</vt:lpstr>
      <vt:lpstr>Airyscan: PH ~ 0.2 A.u. scanning without loss. A single element improves resolution</vt:lpstr>
      <vt:lpstr>Airyscan Detection Unique 32 GaAsP-PMT design</vt:lpstr>
      <vt:lpstr>Airyscan: PH ~ 0.2 A.u. scanning without loss. A single element improves resolution</vt:lpstr>
      <vt:lpstr>Airyscan: PH ~ 0.2 A.u. scanning without loss. A single element – even if offset still improves resolution</vt:lpstr>
      <vt:lpstr>Airyscan: PH ~ 0.2 A.u. scanning without loss. Combining the data</vt:lpstr>
      <vt:lpstr>Airyscan: PH ~ 0.2 A.u. scanning without loss. With 32 detectors all photons are recorded and mapped at the same time</vt:lpstr>
      <vt:lpstr>ZEISS LSM 880 – Airyscan enhances resolution,  boosts SNR “...thereby allowing for a much more accurate quantification“ (Karlseder and Fitzpatrick, The Salk Institute, La Jolla, CA, USA)</vt:lpstr>
      <vt:lpstr>Homework 6: due 7 March.</vt:lpstr>
      <vt:lpstr>Homework 5</vt:lpstr>
      <vt:lpstr>Homework 5</vt:lpstr>
      <vt:lpstr>This example is based on an actual paper.</vt:lpstr>
      <vt:lpstr>Cyclops slow, Squint intermediate &amp; Lefty fast.</vt:lpstr>
      <vt:lpstr>2D versus 3D model.</vt:lpstr>
      <vt:lpstr>Why did they use FRAP instead of FCS?</vt:lpstr>
      <vt:lpstr>Why did they use FRAP instead of FCS?</vt:lpstr>
      <vt:lpstr>Paper to read</vt:lpstr>
      <vt:lpstr>Mesolens: low mag with high NA</vt:lpstr>
      <vt:lpstr>Mesolens: low mag with high NA</vt:lpstr>
      <vt:lpstr>Mesolens: low mag with high NA</vt:lpstr>
      <vt:lpstr>Mesolens: advantages and disadvantag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iology 177: Principles of Modern Microscopy</dc:title>
  <dc:creator>Andres Collazo</dc:creator>
  <cp:lastModifiedBy>Andres Collazo</cp:lastModifiedBy>
  <cp:revision>156</cp:revision>
  <dcterms:created xsi:type="dcterms:W3CDTF">2015-02-19T22:07:08Z</dcterms:created>
  <dcterms:modified xsi:type="dcterms:W3CDTF">2019-02-28T17:40:13Z</dcterms:modified>
</cp:coreProperties>
</file>